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4.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082" r:id="rId4"/>
    <p:sldMasterId id="2147484193" r:id="rId5"/>
    <p:sldMasterId id="2147484213" r:id="rId6"/>
    <p:sldMasterId id="2147484232" r:id="rId7"/>
    <p:sldMasterId id="2147484257" r:id="rId8"/>
  </p:sldMasterIdLst>
  <p:notesMasterIdLst>
    <p:notesMasterId r:id="rId41"/>
  </p:notesMasterIdLst>
  <p:handoutMasterIdLst>
    <p:handoutMasterId r:id="rId42"/>
  </p:handoutMasterIdLst>
  <p:sldIdLst>
    <p:sldId id="1135" r:id="rId9"/>
    <p:sldId id="1054" r:id="rId10"/>
    <p:sldId id="1238" r:id="rId11"/>
    <p:sldId id="1205" r:id="rId12"/>
    <p:sldId id="1199" r:id="rId13"/>
    <p:sldId id="1218" r:id="rId14"/>
    <p:sldId id="1214" r:id="rId15"/>
    <p:sldId id="1226" r:id="rId16"/>
    <p:sldId id="1203" r:id="rId17"/>
    <p:sldId id="1227" r:id="rId18"/>
    <p:sldId id="1228" r:id="rId19"/>
    <p:sldId id="1234" r:id="rId20"/>
    <p:sldId id="1235" r:id="rId21"/>
    <p:sldId id="1236" r:id="rId22"/>
    <p:sldId id="1237" r:id="rId23"/>
    <p:sldId id="1206" r:id="rId24"/>
    <p:sldId id="1229" r:id="rId25"/>
    <p:sldId id="1215" r:id="rId26"/>
    <p:sldId id="1230" r:id="rId27"/>
    <p:sldId id="1210" r:id="rId28"/>
    <p:sldId id="1216" r:id="rId29"/>
    <p:sldId id="1207" r:id="rId30"/>
    <p:sldId id="1224" r:id="rId31"/>
    <p:sldId id="1225" r:id="rId32"/>
    <p:sldId id="1208" r:id="rId33"/>
    <p:sldId id="1145" r:id="rId34"/>
    <p:sldId id="1144" r:id="rId35"/>
    <p:sldId id="1231" r:id="rId36"/>
    <p:sldId id="1232" r:id="rId37"/>
    <p:sldId id="1150" r:id="rId38"/>
    <p:sldId id="1239" r:id="rId39"/>
    <p:sldId id="1076" r:id="rId40"/>
  </p:sldIdLst>
  <p:sldSz cx="12436475" cy="6994525"/>
  <p:notesSz cx="6858000" cy="9144000"/>
  <p:embeddedFontLst>
    <p:embeddedFont>
      <p:font typeface="Segoe UI Light" panose="020B0502040204020203" pitchFamily="34" charset="0"/>
      <p:regular r:id="rId43"/>
      <p:italic r:id="rId44"/>
    </p:embeddedFont>
    <p:embeddedFont>
      <p:font typeface="Segoe UI" panose="020B0502040204020203" pitchFamily="34" charset="0"/>
      <p:regular r:id="rId45"/>
      <p:bold r:id="rId46"/>
      <p:italic r:id="rId47"/>
      <p:boldItalic r:id="rId48"/>
    </p:embeddedFont>
    <p:embeddedFont>
      <p:font typeface="Segoe" panose="020B0502040504020203" pitchFamily="34" charset="0"/>
      <p:regular r:id="rId49"/>
      <p:bold r:id="rId50"/>
      <p:italic r:id="rId51"/>
      <p:boldItalic r:id="rId52"/>
    </p:embeddedFont>
    <p:embeddedFont>
      <p:font typeface="Consolas" panose="020B0609020204030204" pitchFamily="49" charset="0"/>
      <p:regular r:id="rId53"/>
      <p:bold r:id="rId54"/>
      <p:italic r:id="rId55"/>
      <p:boldItalic r:id="rId56"/>
    </p:embeddedFont>
    <p:embeddedFont>
      <p:font typeface="Adobe Fan Heiti Std B" panose="020B0700000000000000" pitchFamily="34" charset="-128"/>
      <p:bold r:id="rId57"/>
    </p:embeddedFont>
  </p:embeddedFont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38"/>
            <p14:sldId id="1205"/>
            <p14:sldId id="1199"/>
            <p14:sldId id="1218"/>
            <p14:sldId id="1214"/>
            <p14:sldId id="1226"/>
            <p14:sldId id="1203"/>
            <p14:sldId id="1227"/>
            <p14:sldId id="1228"/>
            <p14:sldId id="1234"/>
            <p14:sldId id="1235"/>
            <p14:sldId id="1236"/>
            <p14:sldId id="1237"/>
            <p14:sldId id="1206"/>
            <p14:sldId id="1229"/>
            <p14:sldId id="1215"/>
            <p14:sldId id="1230"/>
            <p14:sldId id="1210"/>
            <p14:sldId id="1216"/>
            <p14:sldId id="1207"/>
            <p14:sldId id="1224"/>
            <p14:sldId id="1225"/>
            <p14:sldId id="1208"/>
          </p14:sldIdLst>
        </p14:section>
        <p14:section name="Special content" id="{6925D2A1-AD53-4951-AB34-79DFA02CD676}">
          <p14:sldIdLst>
            <p14:sldId id="1145"/>
            <p14:sldId id="1144"/>
            <p14:sldId id="1231"/>
            <p14:sldId id="1232"/>
            <p14:sldId id="1150"/>
            <p14:sldId id="1239"/>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0552" autoAdjust="0"/>
  </p:normalViewPr>
  <p:slideViewPr>
    <p:cSldViewPr snapToGrid="0">
      <p:cViewPr varScale="1">
        <p:scale>
          <a:sx n="89" d="100"/>
          <a:sy n="89" d="100"/>
        </p:scale>
        <p:origin x="1308" y="9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2952" y="-53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8" Type="http://schemas.openxmlformats.org/officeDocument/2006/relationships/slideMaster" Target="slideMasters/slideMaster5.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font" Target="fonts/font4.fntdata"/><Relationship Id="rId5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87E48F-896B-4544-B42D-9CD752093F24}" type="doc">
      <dgm:prSet loTypeId="urn:microsoft.com/office/officeart/2008/layout/VerticalCurvedList" loCatId="list" qsTypeId="urn:microsoft.com/office/officeart/2005/8/quickstyle/3d3" qsCatId="3D" csTypeId="urn:microsoft.com/office/officeart/2005/8/colors/accent1_2" csCatId="accent1" phldr="1"/>
      <dgm:spPr/>
      <dgm:t>
        <a:bodyPr/>
        <a:lstStyle/>
        <a:p>
          <a:endParaRPr lang="en-US"/>
        </a:p>
      </dgm:t>
    </dgm:pt>
    <dgm:pt modelId="{1CA8F674-4942-415A-BE5B-68F0D5FB7B40}">
      <dgm:prSet phldrT="[Text]"/>
      <dgm:spPr/>
      <dgm:t>
        <a:bodyPr/>
        <a:lstStyle/>
        <a:p>
          <a:r>
            <a:rPr lang="en-US" dirty="0" smtClean="0"/>
            <a:t>Govern Authentication</a:t>
          </a:r>
          <a:endParaRPr lang="en-US" dirty="0"/>
        </a:p>
      </dgm:t>
    </dgm:pt>
    <dgm:pt modelId="{953E8322-F3E5-4959-ABC2-6B46F3174561}" type="parTrans" cxnId="{0E6BBD10-DB26-4B1D-843C-CBD9D8E3DA6D}">
      <dgm:prSet/>
      <dgm:spPr/>
      <dgm:t>
        <a:bodyPr/>
        <a:lstStyle/>
        <a:p>
          <a:endParaRPr lang="en-US"/>
        </a:p>
      </dgm:t>
    </dgm:pt>
    <dgm:pt modelId="{75354427-524F-414B-A3F7-F956921F2910}" type="sibTrans" cxnId="{0E6BBD10-DB26-4B1D-843C-CBD9D8E3DA6D}">
      <dgm:prSet/>
      <dgm:spPr/>
      <dgm:t>
        <a:bodyPr/>
        <a:lstStyle/>
        <a:p>
          <a:endParaRPr lang="en-US"/>
        </a:p>
      </dgm:t>
    </dgm:pt>
    <dgm:pt modelId="{8C803190-F3E6-4E96-A3CD-AC377293F997}">
      <dgm:prSet phldrT="[Text]"/>
      <dgm:spPr/>
      <dgm:t>
        <a:bodyPr/>
        <a:lstStyle/>
        <a:p>
          <a:r>
            <a:rPr lang="en-US" dirty="0" smtClean="0"/>
            <a:t>Govern Authorization</a:t>
          </a:r>
          <a:endParaRPr lang="en-US" dirty="0"/>
        </a:p>
      </dgm:t>
    </dgm:pt>
    <dgm:pt modelId="{2F3A0996-3665-41C4-AD36-FD165FF8C2E3}" type="parTrans" cxnId="{ECF3A050-ECD6-4AF7-9883-42720BCC037E}">
      <dgm:prSet/>
      <dgm:spPr/>
      <dgm:t>
        <a:bodyPr/>
        <a:lstStyle/>
        <a:p>
          <a:endParaRPr lang="en-US"/>
        </a:p>
      </dgm:t>
    </dgm:pt>
    <dgm:pt modelId="{56298785-8A93-4BA4-93BE-353A9D06811F}" type="sibTrans" cxnId="{ECF3A050-ECD6-4AF7-9883-42720BCC037E}">
      <dgm:prSet/>
      <dgm:spPr/>
      <dgm:t>
        <a:bodyPr/>
        <a:lstStyle/>
        <a:p>
          <a:endParaRPr lang="en-US"/>
        </a:p>
      </dgm:t>
    </dgm:pt>
    <dgm:pt modelId="{7B4BD5ED-BF51-4AD5-888A-CF43E57BA1F1}">
      <dgm:prSet phldrT="[Text]"/>
      <dgm:spPr/>
      <dgm:t>
        <a:bodyPr/>
        <a:lstStyle/>
        <a:p>
          <a:r>
            <a:rPr lang="en-US" dirty="0" smtClean="0"/>
            <a:t>Protect User Accounts</a:t>
          </a:r>
          <a:endParaRPr lang="en-US" dirty="0"/>
        </a:p>
      </dgm:t>
    </dgm:pt>
    <dgm:pt modelId="{6CFCED84-1571-4FA8-9FE7-1E04F8342393}" type="parTrans" cxnId="{FB8B2C7C-E2B2-4825-AF54-75BD1EBE051F}">
      <dgm:prSet/>
      <dgm:spPr/>
      <dgm:t>
        <a:bodyPr/>
        <a:lstStyle/>
        <a:p>
          <a:endParaRPr lang="en-US"/>
        </a:p>
      </dgm:t>
    </dgm:pt>
    <dgm:pt modelId="{308987AA-C77A-47FD-9EAC-0386EADD3426}" type="sibTrans" cxnId="{FB8B2C7C-E2B2-4825-AF54-75BD1EBE051F}">
      <dgm:prSet/>
      <dgm:spPr/>
      <dgm:t>
        <a:bodyPr/>
        <a:lstStyle/>
        <a:p>
          <a:endParaRPr lang="en-US"/>
        </a:p>
      </dgm:t>
    </dgm:pt>
    <dgm:pt modelId="{DB065C49-874C-4C6F-B5DC-6A52144A36AA}">
      <dgm:prSet phldrT="[Text]"/>
      <dgm:spPr/>
      <dgm:t>
        <a:bodyPr/>
        <a:lstStyle/>
        <a:p>
          <a:r>
            <a:rPr lang="en-US" dirty="0" smtClean="0"/>
            <a:t>Protect User Devices</a:t>
          </a:r>
          <a:endParaRPr lang="en-US" dirty="0"/>
        </a:p>
      </dgm:t>
    </dgm:pt>
    <dgm:pt modelId="{015DC8BB-80AC-4827-89DB-851C27545BDA}" type="parTrans" cxnId="{6DA38548-DD2F-499E-8C22-2EB8A004E5AC}">
      <dgm:prSet/>
      <dgm:spPr/>
      <dgm:t>
        <a:bodyPr/>
        <a:lstStyle/>
        <a:p>
          <a:endParaRPr lang="en-US"/>
        </a:p>
      </dgm:t>
    </dgm:pt>
    <dgm:pt modelId="{10A19CCF-CEAC-4C3B-9BB2-C981FF9FE358}" type="sibTrans" cxnId="{6DA38548-DD2F-499E-8C22-2EB8A004E5AC}">
      <dgm:prSet/>
      <dgm:spPr/>
      <dgm:t>
        <a:bodyPr/>
        <a:lstStyle/>
        <a:p>
          <a:endParaRPr lang="en-US"/>
        </a:p>
      </dgm:t>
    </dgm:pt>
    <dgm:pt modelId="{850B0E2B-8612-4170-AA40-94C0DF0519F2}" type="pres">
      <dgm:prSet presAssocID="{D187E48F-896B-4544-B42D-9CD752093F24}" presName="Name0" presStyleCnt="0">
        <dgm:presLayoutVars>
          <dgm:chMax val="7"/>
          <dgm:chPref val="7"/>
          <dgm:dir/>
        </dgm:presLayoutVars>
      </dgm:prSet>
      <dgm:spPr/>
      <dgm:t>
        <a:bodyPr/>
        <a:lstStyle/>
        <a:p>
          <a:endParaRPr lang="en-US"/>
        </a:p>
      </dgm:t>
    </dgm:pt>
    <dgm:pt modelId="{AB2AFA58-BBEA-491A-B904-0EB1D5130C90}" type="pres">
      <dgm:prSet presAssocID="{D187E48F-896B-4544-B42D-9CD752093F24}" presName="Name1" presStyleCnt="0"/>
      <dgm:spPr/>
      <dgm:t>
        <a:bodyPr/>
        <a:lstStyle/>
        <a:p>
          <a:endParaRPr lang="en-US"/>
        </a:p>
      </dgm:t>
    </dgm:pt>
    <dgm:pt modelId="{0A2C79DB-F67E-4806-A8A2-D384F073F2B3}" type="pres">
      <dgm:prSet presAssocID="{D187E48F-896B-4544-B42D-9CD752093F24}" presName="cycle" presStyleCnt="0"/>
      <dgm:spPr/>
      <dgm:t>
        <a:bodyPr/>
        <a:lstStyle/>
        <a:p>
          <a:endParaRPr lang="en-US"/>
        </a:p>
      </dgm:t>
    </dgm:pt>
    <dgm:pt modelId="{8B778FD9-BCC2-4452-AC79-CA766C31932F}" type="pres">
      <dgm:prSet presAssocID="{D187E48F-896B-4544-B42D-9CD752093F24}" presName="srcNode" presStyleLbl="node1" presStyleIdx="0" presStyleCnt="4"/>
      <dgm:spPr/>
      <dgm:t>
        <a:bodyPr/>
        <a:lstStyle/>
        <a:p>
          <a:endParaRPr lang="en-US"/>
        </a:p>
      </dgm:t>
    </dgm:pt>
    <dgm:pt modelId="{51295269-E22C-4D5E-A60B-BE040604999E}" type="pres">
      <dgm:prSet presAssocID="{D187E48F-896B-4544-B42D-9CD752093F24}" presName="conn" presStyleLbl="parChTrans1D2" presStyleIdx="0" presStyleCnt="1"/>
      <dgm:spPr/>
      <dgm:t>
        <a:bodyPr/>
        <a:lstStyle/>
        <a:p>
          <a:endParaRPr lang="en-US"/>
        </a:p>
      </dgm:t>
    </dgm:pt>
    <dgm:pt modelId="{9BF655AD-C80F-494B-A2CE-9326ED1B4C41}" type="pres">
      <dgm:prSet presAssocID="{D187E48F-896B-4544-B42D-9CD752093F24}" presName="extraNode" presStyleLbl="node1" presStyleIdx="0" presStyleCnt="4"/>
      <dgm:spPr/>
      <dgm:t>
        <a:bodyPr/>
        <a:lstStyle/>
        <a:p>
          <a:endParaRPr lang="en-US"/>
        </a:p>
      </dgm:t>
    </dgm:pt>
    <dgm:pt modelId="{23A454B0-6F57-487E-92FD-98A7398F83C8}" type="pres">
      <dgm:prSet presAssocID="{D187E48F-896B-4544-B42D-9CD752093F24}" presName="dstNode" presStyleLbl="node1" presStyleIdx="0" presStyleCnt="4"/>
      <dgm:spPr/>
      <dgm:t>
        <a:bodyPr/>
        <a:lstStyle/>
        <a:p>
          <a:endParaRPr lang="en-US"/>
        </a:p>
      </dgm:t>
    </dgm:pt>
    <dgm:pt modelId="{7A0E5C3F-FF49-4776-ACB7-71638C4C01D8}" type="pres">
      <dgm:prSet presAssocID="{1CA8F674-4942-415A-BE5B-68F0D5FB7B40}" presName="text_1" presStyleLbl="node1" presStyleIdx="0" presStyleCnt="4">
        <dgm:presLayoutVars>
          <dgm:bulletEnabled val="1"/>
        </dgm:presLayoutVars>
      </dgm:prSet>
      <dgm:spPr/>
      <dgm:t>
        <a:bodyPr/>
        <a:lstStyle/>
        <a:p>
          <a:endParaRPr lang="en-US"/>
        </a:p>
      </dgm:t>
    </dgm:pt>
    <dgm:pt modelId="{7CBE746D-9F38-4676-BE65-1E6DA3E40231}" type="pres">
      <dgm:prSet presAssocID="{1CA8F674-4942-415A-BE5B-68F0D5FB7B40}" presName="accent_1" presStyleCnt="0"/>
      <dgm:spPr/>
      <dgm:t>
        <a:bodyPr/>
        <a:lstStyle/>
        <a:p>
          <a:endParaRPr lang="en-US"/>
        </a:p>
      </dgm:t>
    </dgm:pt>
    <dgm:pt modelId="{1F675B0F-EC30-4A4F-9069-DB1C9BD9849F}" type="pres">
      <dgm:prSet presAssocID="{1CA8F674-4942-415A-BE5B-68F0D5FB7B40}" presName="accentRepeatNode" presStyleLbl="solidFgAcc1" presStyleIdx="0" presStyleCnt="4"/>
      <dgm:spPr/>
      <dgm:t>
        <a:bodyPr/>
        <a:lstStyle/>
        <a:p>
          <a:endParaRPr lang="en-US"/>
        </a:p>
      </dgm:t>
    </dgm:pt>
    <dgm:pt modelId="{D79A3820-364A-4B73-AD9F-F655EA54E8ED}" type="pres">
      <dgm:prSet presAssocID="{8C803190-F3E6-4E96-A3CD-AC377293F997}" presName="text_2" presStyleLbl="node1" presStyleIdx="1" presStyleCnt="4">
        <dgm:presLayoutVars>
          <dgm:bulletEnabled val="1"/>
        </dgm:presLayoutVars>
      </dgm:prSet>
      <dgm:spPr/>
      <dgm:t>
        <a:bodyPr/>
        <a:lstStyle/>
        <a:p>
          <a:endParaRPr lang="en-US"/>
        </a:p>
      </dgm:t>
    </dgm:pt>
    <dgm:pt modelId="{037155D1-03F8-4833-A1B8-EB7B3EF17BEF}" type="pres">
      <dgm:prSet presAssocID="{8C803190-F3E6-4E96-A3CD-AC377293F997}" presName="accent_2" presStyleCnt="0"/>
      <dgm:spPr/>
      <dgm:t>
        <a:bodyPr/>
        <a:lstStyle/>
        <a:p>
          <a:endParaRPr lang="en-US"/>
        </a:p>
      </dgm:t>
    </dgm:pt>
    <dgm:pt modelId="{AEFCE9F7-BFC4-403A-A274-F3294CCF4853}" type="pres">
      <dgm:prSet presAssocID="{8C803190-F3E6-4E96-A3CD-AC377293F997}" presName="accentRepeatNode" presStyleLbl="solidFgAcc1" presStyleIdx="1" presStyleCnt="4"/>
      <dgm:spPr/>
      <dgm:t>
        <a:bodyPr/>
        <a:lstStyle/>
        <a:p>
          <a:endParaRPr lang="en-US"/>
        </a:p>
      </dgm:t>
    </dgm:pt>
    <dgm:pt modelId="{F5C391B5-3BB1-4D38-B2C2-C7409FA9624E}" type="pres">
      <dgm:prSet presAssocID="{7B4BD5ED-BF51-4AD5-888A-CF43E57BA1F1}" presName="text_3" presStyleLbl="node1" presStyleIdx="2" presStyleCnt="4">
        <dgm:presLayoutVars>
          <dgm:bulletEnabled val="1"/>
        </dgm:presLayoutVars>
      </dgm:prSet>
      <dgm:spPr/>
      <dgm:t>
        <a:bodyPr/>
        <a:lstStyle/>
        <a:p>
          <a:endParaRPr lang="en-US"/>
        </a:p>
      </dgm:t>
    </dgm:pt>
    <dgm:pt modelId="{637578B8-F98A-4761-8286-BA23715ED2AC}" type="pres">
      <dgm:prSet presAssocID="{7B4BD5ED-BF51-4AD5-888A-CF43E57BA1F1}" presName="accent_3" presStyleCnt="0"/>
      <dgm:spPr/>
      <dgm:t>
        <a:bodyPr/>
        <a:lstStyle/>
        <a:p>
          <a:endParaRPr lang="en-US"/>
        </a:p>
      </dgm:t>
    </dgm:pt>
    <dgm:pt modelId="{8DBF4AD3-E39A-41CC-B7DA-458D51804AF2}" type="pres">
      <dgm:prSet presAssocID="{7B4BD5ED-BF51-4AD5-888A-CF43E57BA1F1}" presName="accentRepeatNode" presStyleLbl="solidFgAcc1" presStyleIdx="2" presStyleCnt="4"/>
      <dgm:spPr/>
      <dgm:t>
        <a:bodyPr/>
        <a:lstStyle/>
        <a:p>
          <a:endParaRPr lang="en-US"/>
        </a:p>
      </dgm:t>
    </dgm:pt>
    <dgm:pt modelId="{23C6E20F-A6D9-43FD-B836-68BA295C513A}" type="pres">
      <dgm:prSet presAssocID="{DB065C49-874C-4C6F-B5DC-6A52144A36AA}" presName="text_4" presStyleLbl="node1" presStyleIdx="3" presStyleCnt="4">
        <dgm:presLayoutVars>
          <dgm:bulletEnabled val="1"/>
        </dgm:presLayoutVars>
      </dgm:prSet>
      <dgm:spPr/>
      <dgm:t>
        <a:bodyPr/>
        <a:lstStyle/>
        <a:p>
          <a:endParaRPr lang="en-US"/>
        </a:p>
      </dgm:t>
    </dgm:pt>
    <dgm:pt modelId="{FD24B8CE-E0F1-4CEC-B5AB-08314BB63C04}" type="pres">
      <dgm:prSet presAssocID="{DB065C49-874C-4C6F-B5DC-6A52144A36AA}" presName="accent_4" presStyleCnt="0"/>
      <dgm:spPr/>
      <dgm:t>
        <a:bodyPr/>
        <a:lstStyle/>
        <a:p>
          <a:endParaRPr lang="en-US"/>
        </a:p>
      </dgm:t>
    </dgm:pt>
    <dgm:pt modelId="{4AC560D1-5BF7-47FE-BC67-FE5DA86512AF}" type="pres">
      <dgm:prSet presAssocID="{DB065C49-874C-4C6F-B5DC-6A52144A36AA}" presName="accentRepeatNode" presStyleLbl="solidFgAcc1" presStyleIdx="3" presStyleCnt="4"/>
      <dgm:spPr/>
      <dgm:t>
        <a:bodyPr/>
        <a:lstStyle/>
        <a:p>
          <a:endParaRPr lang="en-US"/>
        </a:p>
      </dgm:t>
    </dgm:pt>
  </dgm:ptLst>
  <dgm:cxnLst>
    <dgm:cxn modelId="{E42451A6-6ADF-4AE0-9A71-D55F0F015886}" type="presOf" srcId="{DB065C49-874C-4C6F-B5DC-6A52144A36AA}" destId="{23C6E20F-A6D9-43FD-B836-68BA295C513A}" srcOrd="0" destOrd="0" presId="urn:microsoft.com/office/officeart/2008/layout/VerticalCurvedList"/>
    <dgm:cxn modelId="{C1054096-BF04-4D39-9B17-CECBCB290F9B}" type="presOf" srcId="{8C803190-F3E6-4E96-A3CD-AC377293F997}" destId="{D79A3820-364A-4B73-AD9F-F655EA54E8ED}" srcOrd="0" destOrd="0" presId="urn:microsoft.com/office/officeart/2008/layout/VerticalCurvedList"/>
    <dgm:cxn modelId="{FB8B2C7C-E2B2-4825-AF54-75BD1EBE051F}" srcId="{D187E48F-896B-4544-B42D-9CD752093F24}" destId="{7B4BD5ED-BF51-4AD5-888A-CF43E57BA1F1}" srcOrd="2" destOrd="0" parTransId="{6CFCED84-1571-4FA8-9FE7-1E04F8342393}" sibTransId="{308987AA-C77A-47FD-9EAC-0386EADD3426}"/>
    <dgm:cxn modelId="{9B1180E5-C677-42BF-AB3B-5FB58A6C149C}" type="presOf" srcId="{1CA8F674-4942-415A-BE5B-68F0D5FB7B40}" destId="{7A0E5C3F-FF49-4776-ACB7-71638C4C01D8}" srcOrd="0" destOrd="0" presId="urn:microsoft.com/office/officeart/2008/layout/VerticalCurvedList"/>
    <dgm:cxn modelId="{69142541-DE60-4F29-9358-BBA275E38912}" type="presOf" srcId="{7B4BD5ED-BF51-4AD5-888A-CF43E57BA1F1}" destId="{F5C391B5-3BB1-4D38-B2C2-C7409FA9624E}" srcOrd="0" destOrd="0" presId="urn:microsoft.com/office/officeart/2008/layout/VerticalCurvedList"/>
    <dgm:cxn modelId="{ECF3A050-ECD6-4AF7-9883-42720BCC037E}" srcId="{D187E48F-896B-4544-B42D-9CD752093F24}" destId="{8C803190-F3E6-4E96-A3CD-AC377293F997}" srcOrd="1" destOrd="0" parTransId="{2F3A0996-3665-41C4-AD36-FD165FF8C2E3}" sibTransId="{56298785-8A93-4BA4-93BE-353A9D06811F}"/>
    <dgm:cxn modelId="{35201DE7-87E1-4DD1-8BB4-210658547EBA}" type="presOf" srcId="{75354427-524F-414B-A3F7-F956921F2910}" destId="{51295269-E22C-4D5E-A60B-BE040604999E}" srcOrd="0" destOrd="0" presId="urn:microsoft.com/office/officeart/2008/layout/VerticalCurvedList"/>
    <dgm:cxn modelId="{6DA38548-DD2F-499E-8C22-2EB8A004E5AC}" srcId="{D187E48F-896B-4544-B42D-9CD752093F24}" destId="{DB065C49-874C-4C6F-B5DC-6A52144A36AA}" srcOrd="3" destOrd="0" parTransId="{015DC8BB-80AC-4827-89DB-851C27545BDA}" sibTransId="{10A19CCF-CEAC-4C3B-9BB2-C981FF9FE358}"/>
    <dgm:cxn modelId="{7D8EACCE-B7B6-4D82-B753-0D79AE90C0F5}" type="presOf" srcId="{D187E48F-896B-4544-B42D-9CD752093F24}" destId="{850B0E2B-8612-4170-AA40-94C0DF0519F2}" srcOrd="0" destOrd="0" presId="urn:microsoft.com/office/officeart/2008/layout/VerticalCurvedList"/>
    <dgm:cxn modelId="{0E6BBD10-DB26-4B1D-843C-CBD9D8E3DA6D}" srcId="{D187E48F-896B-4544-B42D-9CD752093F24}" destId="{1CA8F674-4942-415A-BE5B-68F0D5FB7B40}" srcOrd="0" destOrd="0" parTransId="{953E8322-F3E5-4959-ABC2-6B46F3174561}" sibTransId="{75354427-524F-414B-A3F7-F956921F2910}"/>
    <dgm:cxn modelId="{7286241C-D5FD-4BAD-8F74-C315669D30F1}" type="presParOf" srcId="{850B0E2B-8612-4170-AA40-94C0DF0519F2}" destId="{AB2AFA58-BBEA-491A-B904-0EB1D5130C90}" srcOrd="0" destOrd="0" presId="urn:microsoft.com/office/officeart/2008/layout/VerticalCurvedList"/>
    <dgm:cxn modelId="{524A4FCE-18F0-4A46-977B-EF8E4D80436D}" type="presParOf" srcId="{AB2AFA58-BBEA-491A-B904-0EB1D5130C90}" destId="{0A2C79DB-F67E-4806-A8A2-D384F073F2B3}" srcOrd="0" destOrd="0" presId="urn:microsoft.com/office/officeart/2008/layout/VerticalCurvedList"/>
    <dgm:cxn modelId="{986AC447-AD03-47F7-8CDF-54E194DFF1C0}" type="presParOf" srcId="{0A2C79DB-F67E-4806-A8A2-D384F073F2B3}" destId="{8B778FD9-BCC2-4452-AC79-CA766C31932F}" srcOrd="0" destOrd="0" presId="urn:microsoft.com/office/officeart/2008/layout/VerticalCurvedList"/>
    <dgm:cxn modelId="{F6D9C2E1-B999-413F-B053-AA86D718DAAA}" type="presParOf" srcId="{0A2C79DB-F67E-4806-A8A2-D384F073F2B3}" destId="{51295269-E22C-4D5E-A60B-BE040604999E}" srcOrd="1" destOrd="0" presId="urn:microsoft.com/office/officeart/2008/layout/VerticalCurvedList"/>
    <dgm:cxn modelId="{285A4295-9FB4-427E-84D2-34FAB5FA4418}" type="presParOf" srcId="{0A2C79DB-F67E-4806-A8A2-D384F073F2B3}" destId="{9BF655AD-C80F-494B-A2CE-9326ED1B4C41}" srcOrd="2" destOrd="0" presId="urn:microsoft.com/office/officeart/2008/layout/VerticalCurvedList"/>
    <dgm:cxn modelId="{90921149-6CF3-4E91-9FCA-4F8ACF0DC7AD}" type="presParOf" srcId="{0A2C79DB-F67E-4806-A8A2-D384F073F2B3}" destId="{23A454B0-6F57-487E-92FD-98A7398F83C8}" srcOrd="3" destOrd="0" presId="urn:microsoft.com/office/officeart/2008/layout/VerticalCurvedList"/>
    <dgm:cxn modelId="{089296D9-31D6-478D-9687-2C70DB99B83C}" type="presParOf" srcId="{AB2AFA58-BBEA-491A-B904-0EB1D5130C90}" destId="{7A0E5C3F-FF49-4776-ACB7-71638C4C01D8}" srcOrd="1" destOrd="0" presId="urn:microsoft.com/office/officeart/2008/layout/VerticalCurvedList"/>
    <dgm:cxn modelId="{0ED52054-FFB1-4B94-8FB9-5890E21B0CED}" type="presParOf" srcId="{AB2AFA58-BBEA-491A-B904-0EB1D5130C90}" destId="{7CBE746D-9F38-4676-BE65-1E6DA3E40231}" srcOrd="2" destOrd="0" presId="urn:microsoft.com/office/officeart/2008/layout/VerticalCurvedList"/>
    <dgm:cxn modelId="{1EE0F18A-D6EE-4B19-9B5B-BF0BDED009B7}" type="presParOf" srcId="{7CBE746D-9F38-4676-BE65-1E6DA3E40231}" destId="{1F675B0F-EC30-4A4F-9069-DB1C9BD9849F}" srcOrd="0" destOrd="0" presId="urn:microsoft.com/office/officeart/2008/layout/VerticalCurvedList"/>
    <dgm:cxn modelId="{8E4A2241-1661-476A-A774-764F0E3FFCED}" type="presParOf" srcId="{AB2AFA58-BBEA-491A-B904-0EB1D5130C90}" destId="{D79A3820-364A-4B73-AD9F-F655EA54E8ED}" srcOrd="3" destOrd="0" presId="urn:microsoft.com/office/officeart/2008/layout/VerticalCurvedList"/>
    <dgm:cxn modelId="{133195FF-C90B-4059-B685-34FCEAF2F7F8}" type="presParOf" srcId="{AB2AFA58-BBEA-491A-B904-0EB1D5130C90}" destId="{037155D1-03F8-4833-A1B8-EB7B3EF17BEF}" srcOrd="4" destOrd="0" presId="urn:microsoft.com/office/officeart/2008/layout/VerticalCurvedList"/>
    <dgm:cxn modelId="{660700CE-0762-4606-AB17-DF05E5EFB3C6}" type="presParOf" srcId="{037155D1-03F8-4833-A1B8-EB7B3EF17BEF}" destId="{AEFCE9F7-BFC4-403A-A274-F3294CCF4853}" srcOrd="0" destOrd="0" presId="urn:microsoft.com/office/officeart/2008/layout/VerticalCurvedList"/>
    <dgm:cxn modelId="{654F00DF-C4FE-45B1-AB9F-15515DDEF2AE}" type="presParOf" srcId="{AB2AFA58-BBEA-491A-B904-0EB1D5130C90}" destId="{F5C391B5-3BB1-4D38-B2C2-C7409FA9624E}" srcOrd="5" destOrd="0" presId="urn:microsoft.com/office/officeart/2008/layout/VerticalCurvedList"/>
    <dgm:cxn modelId="{6636BD6A-EAE1-4079-99A3-902ABF078BB5}" type="presParOf" srcId="{AB2AFA58-BBEA-491A-B904-0EB1D5130C90}" destId="{637578B8-F98A-4761-8286-BA23715ED2AC}" srcOrd="6" destOrd="0" presId="urn:microsoft.com/office/officeart/2008/layout/VerticalCurvedList"/>
    <dgm:cxn modelId="{2A882006-854C-482D-BA0B-14B5C788F645}" type="presParOf" srcId="{637578B8-F98A-4761-8286-BA23715ED2AC}" destId="{8DBF4AD3-E39A-41CC-B7DA-458D51804AF2}" srcOrd="0" destOrd="0" presId="urn:microsoft.com/office/officeart/2008/layout/VerticalCurvedList"/>
    <dgm:cxn modelId="{A6243CA2-B9EC-4F20-80B8-DBA7A079EACD}" type="presParOf" srcId="{AB2AFA58-BBEA-491A-B904-0EB1D5130C90}" destId="{23C6E20F-A6D9-43FD-B836-68BA295C513A}" srcOrd="7" destOrd="0" presId="urn:microsoft.com/office/officeart/2008/layout/VerticalCurvedList"/>
    <dgm:cxn modelId="{9B7FEA90-8F25-4598-892E-97DD74607521}" type="presParOf" srcId="{AB2AFA58-BBEA-491A-B904-0EB1D5130C90}" destId="{FD24B8CE-E0F1-4CEC-B5AB-08314BB63C04}" srcOrd="8" destOrd="0" presId="urn:microsoft.com/office/officeart/2008/layout/VerticalCurvedList"/>
    <dgm:cxn modelId="{6B8A7CD6-9B2F-4602-AB09-DD0001395971}" type="presParOf" srcId="{FD24B8CE-E0F1-4CEC-B5AB-08314BB63C04}" destId="{4AC560D1-5BF7-47FE-BC67-FE5DA86512AF}"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1F727B-37F9-4098-AACA-AFAB9EED28C9}" type="doc">
      <dgm:prSet loTypeId="urn:microsoft.com/office/officeart/2005/8/layout/vList2" loCatId="list" qsTypeId="urn:microsoft.com/office/officeart/2005/8/quickstyle/3d1" qsCatId="3D" csTypeId="urn:microsoft.com/office/officeart/2005/8/colors/accent1_2" csCatId="accent1" phldr="1"/>
      <dgm:spPr/>
      <dgm:t>
        <a:bodyPr/>
        <a:lstStyle/>
        <a:p>
          <a:endParaRPr lang="en-US"/>
        </a:p>
      </dgm:t>
    </dgm:pt>
    <dgm:pt modelId="{26662FE3-C71F-4C4C-A43F-B47E1BE5F4F0}">
      <dgm:prSet/>
      <dgm:spPr/>
      <dgm:t>
        <a:bodyPr/>
        <a:lstStyle/>
        <a:p>
          <a:pPr rtl="0"/>
          <a:r>
            <a:rPr lang="en-US" dirty="0" smtClean="0"/>
            <a:t>Primary Authentication</a:t>
          </a:r>
          <a:endParaRPr lang="en-US" dirty="0"/>
        </a:p>
      </dgm:t>
    </dgm:pt>
    <dgm:pt modelId="{0AC76A07-0289-45A1-9DB6-9CF8E71CA788}" type="parTrans" cxnId="{79E41EF4-811B-4A0A-ADA5-4BDF47020E37}">
      <dgm:prSet/>
      <dgm:spPr/>
      <dgm:t>
        <a:bodyPr/>
        <a:lstStyle/>
        <a:p>
          <a:endParaRPr lang="en-US"/>
        </a:p>
      </dgm:t>
    </dgm:pt>
    <dgm:pt modelId="{9B3A28A3-B84D-4F90-8888-3E050B381274}" type="sibTrans" cxnId="{79E41EF4-811B-4A0A-ADA5-4BDF47020E37}">
      <dgm:prSet/>
      <dgm:spPr/>
      <dgm:t>
        <a:bodyPr/>
        <a:lstStyle/>
        <a:p>
          <a:endParaRPr lang="en-US"/>
        </a:p>
      </dgm:t>
    </dgm:pt>
    <dgm:pt modelId="{D1F6E0DA-BA23-46E4-9EE9-5FF568709259}">
      <dgm:prSet/>
      <dgm:spPr/>
      <dgm:t>
        <a:bodyPr/>
        <a:lstStyle/>
        <a:p>
          <a:pPr rtl="0"/>
          <a:r>
            <a:rPr lang="en-US" dirty="0" smtClean="0"/>
            <a:t>Governs all applications that trust ADFS</a:t>
          </a:r>
          <a:endParaRPr lang="en-US" dirty="0"/>
        </a:p>
      </dgm:t>
    </dgm:pt>
    <dgm:pt modelId="{893E530F-DAFB-4628-ADAC-FCFDE6AE97AC}" type="parTrans" cxnId="{9F30E6F0-4259-4123-AD51-E70ED58A8765}">
      <dgm:prSet/>
      <dgm:spPr/>
      <dgm:t>
        <a:bodyPr/>
        <a:lstStyle/>
        <a:p>
          <a:endParaRPr lang="en-US"/>
        </a:p>
      </dgm:t>
    </dgm:pt>
    <dgm:pt modelId="{50FB4689-D8B3-4A68-B212-A92D4F1A68D0}" type="sibTrans" cxnId="{9F30E6F0-4259-4123-AD51-E70ED58A8765}">
      <dgm:prSet/>
      <dgm:spPr/>
      <dgm:t>
        <a:bodyPr/>
        <a:lstStyle/>
        <a:p>
          <a:endParaRPr lang="en-US"/>
        </a:p>
      </dgm:t>
    </dgm:pt>
    <dgm:pt modelId="{0AC9F70E-809B-4813-91FE-83D6B2351BF8}">
      <dgm:prSet/>
      <dgm:spPr/>
      <dgm:t>
        <a:bodyPr/>
        <a:lstStyle/>
        <a:p>
          <a:pPr rtl="0"/>
          <a:r>
            <a:rPr lang="en-US" dirty="0" smtClean="0"/>
            <a:t>Extranet </a:t>
          </a:r>
          <a:r>
            <a:rPr lang="en-US" dirty="0" err="1" smtClean="0"/>
            <a:t>Vs</a:t>
          </a:r>
          <a:r>
            <a:rPr lang="en-US" dirty="0" smtClean="0"/>
            <a:t> Intranet Differentiation</a:t>
          </a:r>
          <a:endParaRPr lang="en-US" dirty="0"/>
        </a:p>
      </dgm:t>
    </dgm:pt>
    <dgm:pt modelId="{B4AB4343-0E61-4BF3-807D-17A02D004D12}" type="parTrans" cxnId="{D9D5791A-C84D-4341-83C6-2A4259BE180A}">
      <dgm:prSet/>
      <dgm:spPr/>
      <dgm:t>
        <a:bodyPr/>
        <a:lstStyle/>
        <a:p>
          <a:endParaRPr lang="en-US"/>
        </a:p>
      </dgm:t>
    </dgm:pt>
    <dgm:pt modelId="{94058E03-C232-4F70-83A5-0279D2592F84}" type="sibTrans" cxnId="{D9D5791A-C84D-4341-83C6-2A4259BE180A}">
      <dgm:prSet/>
      <dgm:spPr/>
      <dgm:t>
        <a:bodyPr/>
        <a:lstStyle/>
        <a:p>
          <a:endParaRPr lang="en-US"/>
        </a:p>
      </dgm:t>
    </dgm:pt>
    <dgm:pt modelId="{7600E356-29F2-4F6C-8915-05C3809547E2}">
      <dgm:prSet/>
      <dgm:spPr/>
      <dgm:t>
        <a:bodyPr/>
        <a:lstStyle/>
        <a:p>
          <a:pPr rtl="0"/>
          <a:r>
            <a:rPr lang="en-US" dirty="0" smtClean="0"/>
            <a:t>WIA fallback to forms for enhanced user experience in intranet</a:t>
          </a:r>
          <a:endParaRPr lang="en-US" dirty="0"/>
        </a:p>
      </dgm:t>
    </dgm:pt>
    <dgm:pt modelId="{715D3C72-71F0-4E66-8AD2-BD8D41F7A815}" type="parTrans" cxnId="{FAEA56E8-E0A0-459F-BD7A-985EC8579568}">
      <dgm:prSet/>
      <dgm:spPr/>
      <dgm:t>
        <a:bodyPr/>
        <a:lstStyle/>
        <a:p>
          <a:endParaRPr lang="en-US"/>
        </a:p>
      </dgm:t>
    </dgm:pt>
    <dgm:pt modelId="{52D743E4-6F11-4436-9D1A-FAD6A613784D}" type="sibTrans" cxnId="{FAEA56E8-E0A0-459F-BD7A-985EC8579568}">
      <dgm:prSet/>
      <dgm:spPr/>
      <dgm:t>
        <a:bodyPr/>
        <a:lstStyle/>
        <a:p>
          <a:endParaRPr lang="en-US"/>
        </a:p>
      </dgm:t>
    </dgm:pt>
    <dgm:pt modelId="{7F1D18F1-8B23-4235-A543-08F4A93B746B}">
      <dgm:prSet/>
      <dgm:spPr/>
      <dgm:t>
        <a:bodyPr/>
        <a:lstStyle/>
        <a:p>
          <a:pPr rtl="0"/>
          <a:r>
            <a:rPr lang="en-US" smtClean="0"/>
            <a:t>Device Authentication</a:t>
          </a:r>
          <a:endParaRPr lang="en-US"/>
        </a:p>
      </dgm:t>
    </dgm:pt>
    <dgm:pt modelId="{4E2AEA81-2931-4388-9CEE-04FBC4738C12}" type="parTrans" cxnId="{A04C1140-5F34-497E-B0F2-790FABF59064}">
      <dgm:prSet/>
      <dgm:spPr/>
      <dgm:t>
        <a:bodyPr/>
        <a:lstStyle/>
        <a:p>
          <a:endParaRPr lang="en-US"/>
        </a:p>
      </dgm:t>
    </dgm:pt>
    <dgm:pt modelId="{D1A27ED9-612A-4370-8E2C-8A5CE2630574}" type="sibTrans" cxnId="{A04C1140-5F34-497E-B0F2-790FABF59064}">
      <dgm:prSet/>
      <dgm:spPr/>
      <dgm:t>
        <a:bodyPr/>
        <a:lstStyle/>
        <a:p>
          <a:endParaRPr lang="en-US"/>
        </a:p>
      </dgm:t>
    </dgm:pt>
    <dgm:pt modelId="{57A4ACD2-2D6E-4815-8292-1F3C313D7843}">
      <dgm:prSet/>
      <dgm:spPr/>
      <dgm:t>
        <a:bodyPr/>
        <a:lstStyle/>
        <a:p>
          <a:pPr rtl="0"/>
          <a:r>
            <a:rPr lang="en-US" dirty="0" smtClean="0"/>
            <a:t>Always validated against the directory information in AD</a:t>
          </a:r>
          <a:endParaRPr lang="en-US" dirty="0"/>
        </a:p>
      </dgm:t>
    </dgm:pt>
    <dgm:pt modelId="{568815A5-F7BD-41B7-BE33-546385D5C1E4}" type="parTrans" cxnId="{EF1D60B4-9AA3-438C-B8BC-678C704BAEEE}">
      <dgm:prSet/>
      <dgm:spPr/>
      <dgm:t>
        <a:bodyPr/>
        <a:lstStyle/>
        <a:p>
          <a:endParaRPr lang="en-US"/>
        </a:p>
      </dgm:t>
    </dgm:pt>
    <dgm:pt modelId="{CE703BD1-8F8E-4832-AB60-99CE8CFB25B6}" type="sibTrans" cxnId="{EF1D60B4-9AA3-438C-B8BC-678C704BAEEE}">
      <dgm:prSet/>
      <dgm:spPr/>
      <dgm:t>
        <a:bodyPr/>
        <a:lstStyle/>
        <a:p>
          <a:endParaRPr lang="en-US"/>
        </a:p>
      </dgm:t>
    </dgm:pt>
    <dgm:pt modelId="{B4ADA2DC-DEF4-4B51-ADD5-4985139FD9CF}">
      <dgm:prSet/>
      <dgm:spPr/>
      <dgm:t>
        <a:bodyPr/>
        <a:lstStyle/>
        <a:p>
          <a:pPr rtl="0"/>
          <a:r>
            <a:rPr lang="en-US" smtClean="0"/>
            <a:t>Force Authentication for sensitive apps</a:t>
          </a:r>
          <a:endParaRPr lang="en-US"/>
        </a:p>
      </dgm:t>
    </dgm:pt>
    <dgm:pt modelId="{62462F47-FEAB-413E-B1A0-6B1DEE6AF804}" type="parTrans" cxnId="{DDCAF03A-7766-4341-96A5-461F99FDAC13}">
      <dgm:prSet/>
      <dgm:spPr/>
      <dgm:t>
        <a:bodyPr/>
        <a:lstStyle/>
        <a:p>
          <a:endParaRPr lang="en-US"/>
        </a:p>
      </dgm:t>
    </dgm:pt>
    <dgm:pt modelId="{7C0CACA3-3547-4CD7-9CCB-0470DFB6CD91}" type="sibTrans" cxnId="{DDCAF03A-7766-4341-96A5-461F99FDAC13}">
      <dgm:prSet/>
      <dgm:spPr/>
      <dgm:t>
        <a:bodyPr/>
        <a:lstStyle/>
        <a:p>
          <a:endParaRPr lang="en-US"/>
        </a:p>
      </dgm:t>
    </dgm:pt>
    <dgm:pt modelId="{68A2A66F-A35D-4F3C-9DD8-D249B02C5A61}">
      <dgm:prSet/>
      <dgm:spPr/>
      <dgm:t>
        <a:bodyPr/>
        <a:lstStyle/>
        <a:p>
          <a:pPr rtl="0"/>
          <a:r>
            <a:rPr lang="en-US" dirty="0" smtClean="0"/>
            <a:t>Authentication types are limited to what is supported by Active Directory</a:t>
          </a:r>
          <a:endParaRPr lang="en-US" dirty="0"/>
        </a:p>
      </dgm:t>
    </dgm:pt>
    <dgm:pt modelId="{B46A8BF2-1791-4B75-9B47-1D69CFF65944}" type="parTrans" cxnId="{5F7ADDD7-1B93-404C-9E9D-894C19E743FB}">
      <dgm:prSet/>
      <dgm:spPr/>
      <dgm:t>
        <a:bodyPr/>
        <a:lstStyle/>
        <a:p>
          <a:endParaRPr lang="en-US"/>
        </a:p>
      </dgm:t>
    </dgm:pt>
    <dgm:pt modelId="{BF66EE37-6E21-494F-AEB5-4717EA0F1B2B}" type="sibTrans" cxnId="{5F7ADDD7-1B93-404C-9E9D-894C19E743FB}">
      <dgm:prSet/>
      <dgm:spPr/>
      <dgm:t>
        <a:bodyPr/>
        <a:lstStyle/>
        <a:p>
          <a:endParaRPr lang="en-US"/>
        </a:p>
      </dgm:t>
    </dgm:pt>
    <dgm:pt modelId="{DDAD9C54-BE59-421C-8251-64645596ACAD}" type="pres">
      <dgm:prSet presAssocID="{C61F727B-37F9-4098-AACA-AFAB9EED28C9}" presName="linear" presStyleCnt="0">
        <dgm:presLayoutVars>
          <dgm:animLvl val="lvl"/>
          <dgm:resizeHandles val="exact"/>
        </dgm:presLayoutVars>
      </dgm:prSet>
      <dgm:spPr/>
      <dgm:t>
        <a:bodyPr/>
        <a:lstStyle/>
        <a:p>
          <a:endParaRPr lang="en-US"/>
        </a:p>
      </dgm:t>
    </dgm:pt>
    <dgm:pt modelId="{FEFB8D6D-BBA2-4097-9F50-14196B8363F5}" type="pres">
      <dgm:prSet presAssocID="{26662FE3-C71F-4C4C-A43F-B47E1BE5F4F0}" presName="parentText" presStyleLbl="node1" presStyleIdx="0" presStyleCnt="3">
        <dgm:presLayoutVars>
          <dgm:chMax val="0"/>
          <dgm:bulletEnabled val="1"/>
        </dgm:presLayoutVars>
      </dgm:prSet>
      <dgm:spPr/>
      <dgm:t>
        <a:bodyPr/>
        <a:lstStyle/>
        <a:p>
          <a:endParaRPr lang="en-US"/>
        </a:p>
      </dgm:t>
    </dgm:pt>
    <dgm:pt modelId="{C082BCAC-0342-4597-9A96-9A27A55F0322}" type="pres">
      <dgm:prSet presAssocID="{26662FE3-C71F-4C4C-A43F-B47E1BE5F4F0}" presName="childText" presStyleLbl="revTx" presStyleIdx="0" presStyleCnt="2">
        <dgm:presLayoutVars>
          <dgm:bulletEnabled val="1"/>
        </dgm:presLayoutVars>
      </dgm:prSet>
      <dgm:spPr/>
      <dgm:t>
        <a:bodyPr/>
        <a:lstStyle/>
        <a:p>
          <a:endParaRPr lang="en-US"/>
        </a:p>
      </dgm:t>
    </dgm:pt>
    <dgm:pt modelId="{7DD97BAE-EAC2-4850-8714-1433AFC717B2}" type="pres">
      <dgm:prSet presAssocID="{7F1D18F1-8B23-4235-A543-08F4A93B746B}" presName="parentText" presStyleLbl="node1" presStyleIdx="1" presStyleCnt="3">
        <dgm:presLayoutVars>
          <dgm:chMax val="0"/>
          <dgm:bulletEnabled val="1"/>
        </dgm:presLayoutVars>
      </dgm:prSet>
      <dgm:spPr/>
      <dgm:t>
        <a:bodyPr/>
        <a:lstStyle/>
        <a:p>
          <a:endParaRPr lang="en-US"/>
        </a:p>
      </dgm:t>
    </dgm:pt>
    <dgm:pt modelId="{8412941D-9E4E-4B4D-B6F4-E403206E8A34}" type="pres">
      <dgm:prSet presAssocID="{7F1D18F1-8B23-4235-A543-08F4A93B746B}" presName="childText" presStyleLbl="revTx" presStyleIdx="1" presStyleCnt="2">
        <dgm:presLayoutVars>
          <dgm:bulletEnabled val="1"/>
        </dgm:presLayoutVars>
      </dgm:prSet>
      <dgm:spPr/>
      <dgm:t>
        <a:bodyPr/>
        <a:lstStyle/>
        <a:p>
          <a:endParaRPr lang="en-US"/>
        </a:p>
      </dgm:t>
    </dgm:pt>
    <dgm:pt modelId="{EF712673-A540-4F9F-BC25-B893C748A431}" type="pres">
      <dgm:prSet presAssocID="{B4ADA2DC-DEF4-4B51-ADD5-4985139FD9CF}" presName="parentText" presStyleLbl="node1" presStyleIdx="2" presStyleCnt="3">
        <dgm:presLayoutVars>
          <dgm:chMax val="0"/>
          <dgm:bulletEnabled val="1"/>
        </dgm:presLayoutVars>
      </dgm:prSet>
      <dgm:spPr/>
      <dgm:t>
        <a:bodyPr/>
        <a:lstStyle/>
        <a:p>
          <a:endParaRPr lang="en-US"/>
        </a:p>
      </dgm:t>
    </dgm:pt>
  </dgm:ptLst>
  <dgm:cxnLst>
    <dgm:cxn modelId="{5F7ADDD7-1B93-404C-9E9D-894C19E743FB}" srcId="{26662FE3-C71F-4C4C-A43F-B47E1BE5F4F0}" destId="{68A2A66F-A35D-4F3C-9DD8-D249B02C5A61}" srcOrd="3" destOrd="0" parTransId="{B46A8BF2-1791-4B75-9B47-1D69CFF65944}" sibTransId="{BF66EE37-6E21-494F-AEB5-4717EA0F1B2B}"/>
    <dgm:cxn modelId="{50B9CF92-7CDF-4431-A15C-2DF251E32924}" type="presOf" srcId="{7600E356-29F2-4F6C-8915-05C3809547E2}" destId="{C082BCAC-0342-4597-9A96-9A27A55F0322}" srcOrd="0" destOrd="2" presId="urn:microsoft.com/office/officeart/2005/8/layout/vList2"/>
    <dgm:cxn modelId="{D7839AF4-2979-43D9-88A2-045B1E7635DE}" type="presOf" srcId="{B4ADA2DC-DEF4-4B51-ADD5-4985139FD9CF}" destId="{EF712673-A540-4F9F-BC25-B893C748A431}" srcOrd="0" destOrd="0" presId="urn:microsoft.com/office/officeart/2005/8/layout/vList2"/>
    <dgm:cxn modelId="{8F863B78-C330-4647-868E-3B05011CB4F5}" type="presOf" srcId="{D1F6E0DA-BA23-46E4-9EE9-5FF568709259}" destId="{C082BCAC-0342-4597-9A96-9A27A55F0322}" srcOrd="0" destOrd="0" presId="urn:microsoft.com/office/officeart/2005/8/layout/vList2"/>
    <dgm:cxn modelId="{A04C1140-5F34-497E-B0F2-790FABF59064}" srcId="{C61F727B-37F9-4098-AACA-AFAB9EED28C9}" destId="{7F1D18F1-8B23-4235-A543-08F4A93B746B}" srcOrd="1" destOrd="0" parTransId="{4E2AEA81-2931-4388-9CEE-04FBC4738C12}" sibTransId="{D1A27ED9-612A-4370-8E2C-8A5CE2630574}"/>
    <dgm:cxn modelId="{DDCAF03A-7766-4341-96A5-461F99FDAC13}" srcId="{C61F727B-37F9-4098-AACA-AFAB9EED28C9}" destId="{B4ADA2DC-DEF4-4B51-ADD5-4985139FD9CF}" srcOrd="2" destOrd="0" parTransId="{62462F47-FEAB-413E-B1A0-6B1DEE6AF804}" sibTransId="{7C0CACA3-3547-4CD7-9CCB-0470DFB6CD91}"/>
    <dgm:cxn modelId="{79E41EF4-811B-4A0A-ADA5-4BDF47020E37}" srcId="{C61F727B-37F9-4098-AACA-AFAB9EED28C9}" destId="{26662FE3-C71F-4C4C-A43F-B47E1BE5F4F0}" srcOrd="0" destOrd="0" parTransId="{0AC76A07-0289-45A1-9DB6-9CF8E71CA788}" sibTransId="{9B3A28A3-B84D-4F90-8888-3E050B381274}"/>
    <dgm:cxn modelId="{321E4518-1863-43B5-B075-8FA064646985}" type="presOf" srcId="{0AC9F70E-809B-4813-91FE-83D6B2351BF8}" destId="{C082BCAC-0342-4597-9A96-9A27A55F0322}" srcOrd="0" destOrd="1" presId="urn:microsoft.com/office/officeart/2005/8/layout/vList2"/>
    <dgm:cxn modelId="{D9D5791A-C84D-4341-83C6-2A4259BE180A}" srcId="{26662FE3-C71F-4C4C-A43F-B47E1BE5F4F0}" destId="{0AC9F70E-809B-4813-91FE-83D6B2351BF8}" srcOrd="1" destOrd="0" parTransId="{B4AB4343-0E61-4BF3-807D-17A02D004D12}" sibTransId="{94058E03-C232-4F70-83A5-0279D2592F84}"/>
    <dgm:cxn modelId="{FAEA56E8-E0A0-459F-BD7A-985EC8579568}" srcId="{26662FE3-C71F-4C4C-A43F-B47E1BE5F4F0}" destId="{7600E356-29F2-4F6C-8915-05C3809547E2}" srcOrd="2" destOrd="0" parTransId="{715D3C72-71F0-4E66-8AD2-BD8D41F7A815}" sibTransId="{52D743E4-6F11-4436-9D1A-FAD6A613784D}"/>
    <dgm:cxn modelId="{77301CFF-D082-4D37-85AD-9ACABA2EEC51}" type="presOf" srcId="{57A4ACD2-2D6E-4815-8292-1F3C313D7843}" destId="{8412941D-9E4E-4B4D-B6F4-E403206E8A34}" srcOrd="0" destOrd="0" presId="urn:microsoft.com/office/officeart/2005/8/layout/vList2"/>
    <dgm:cxn modelId="{EF1D60B4-9AA3-438C-B8BC-678C704BAEEE}" srcId="{7F1D18F1-8B23-4235-A543-08F4A93B746B}" destId="{57A4ACD2-2D6E-4815-8292-1F3C313D7843}" srcOrd="0" destOrd="0" parTransId="{568815A5-F7BD-41B7-BE33-546385D5C1E4}" sibTransId="{CE703BD1-8F8E-4832-AB60-99CE8CFB25B6}"/>
    <dgm:cxn modelId="{9F30E6F0-4259-4123-AD51-E70ED58A8765}" srcId="{26662FE3-C71F-4C4C-A43F-B47E1BE5F4F0}" destId="{D1F6E0DA-BA23-46E4-9EE9-5FF568709259}" srcOrd="0" destOrd="0" parTransId="{893E530F-DAFB-4628-ADAC-FCFDE6AE97AC}" sibTransId="{50FB4689-D8B3-4A68-B212-A92D4F1A68D0}"/>
    <dgm:cxn modelId="{C4468A59-62C9-4A34-9F93-CBAE18F71C23}" type="presOf" srcId="{7F1D18F1-8B23-4235-A543-08F4A93B746B}" destId="{7DD97BAE-EAC2-4850-8714-1433AFC717B2}" srcOrd="0" destOrd="0" presId="urn:microsoft.com/office/officeart/2005/8/layout/vList2"/>
    <dgm:cxn modelId="{25FB0ADF-3B5F-4E4D-8203-7E6D15FF2F5E}" type="presOf" srcId="{26662FE3-C71F-4C4C-A43F-B47E1BE5F4F0}" destId="{FEFB8D6D-BBA2-4097-9F50-14196B8363F5}" srcOrd="0" destOrd="0" presId="urn:microsoft.com/office/officeart/2005/8/layout/vList2"/>
    <dgm:cxn modelId="{C360A040-7346-4F4B-9F8A-14711492819E}" type="presOf" srcId="{C61F727B-37F9-4098-AACA-AFAB9EED28C9}" destId="{DDAD9C54-BE59-421C-8251-64645596ACAD}" srcOrd="0" destOrd="0" presId="urn:microsoft.com/office/officeart/2005/8/layout/vList2"/>
    <dgm:cxn modelId="{6766C4E0-732F-4646-9CFE-49681B78DA57}" type="presOf" srcId="{68A2A66F-A35D-4F3C-9DD8-D249B02C5A61}" destId="{C082BCAC-0342-4597-9A96-9A27A55F0322}" srcOrd="0" destOrd="3" presId="urn:microsoft.com/office/officeart/2005/8/layout/vList2"/>
    <dgm:cxn modelId="{D4809051-C94F-4A58-A66F-21FC0C529B6B}" type="presParOf" srcId="{DDAD9C54-BE59-421C-8251-64645596ACAD}" destId="{FEFB8D6D-BBA2-4097-9F50-14196B8363F5}" srcOrd="0" destOrd="0" presId="urn:microsoft.com/office/officeart/2005/8/layout/vList2"/>
    <dgm:cxn modelId="{0163E356-F332-4104-A087-7ABACF5E3DDB}" type="presParOf" srcId="{DDAD9C54-BE59-421C-8251-64645596ACAD}" destId="{C082BCAC-0342-4597-9A96-9A27A55F0322}" srcOrd="1" destOrd="0" presId="urn:microsoft.com/office/officeart/2005/8/layout/vList2"/>
    <dgm:cxn modelId="{8E73E30B-927E-4A63-92F9-062C8551DFFB}" type="presParOf" srcId="{DDAD9C54-BE59-421C-8251-64645596ACAD}" destId="{7DD97BAE-EAC2-4850-8714-1433AFC717B2}" srcOrd="2" destOrd="0" presId="urn:microsoft.com/office/officeart/2005/8/layout/vList2"/>
    <dgm:cxn modelId="{03C9844E-CFA2-49E5-B2B6-33B18CB1570E}" type="presParOf" srcId="{DDAD9C54-BE59-421C-8251-64645596ACAD}" destId="{8412941D-9E4E-4B4D-B6F4-E403206E8A34}" srcOrd="3" destOrd="0" presId="urn:microsoft.com/office/officeart/2005/8/layout/vList2"/>
    <dgm:cxn modelId="{3B9C5EDE-D1C8-4818-BFEC-B4E54C047C4C}" type="presParOf" srcId="{DDAD9C54-BE59-421C-8251-64645596ACAD}" destId="{EF712673-A540-4F9F-BC25-B893C748A431}"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A54AD59-CE70-4397-8852-7748AA602766}"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US"/>
        </a:p>
      </dgm:t>
    </dgm:pt>
    <dgm:pt modelId="{7DEFDD2C-5B84-4581-946A-7EBACD0F170A}">
      <dgm:prSet/>
      <dgm:spPr/>
      <dgm:t>
        <a:bodyPr/>
        <a:lstStyle/>
        <a:p>
          <a:pPr rtl="0"/>
          <a:r>
            <a:rPr lang="en-US" dirty="0" smtClean="0"/>
            <a:t>Additional Authentication (MFA) Triggers</a:t>
          </a:r>
          <a:endParaRPr lang="en-US" dirty="0"/>
        </a:p>
      </dgm:t>
    </dgm:pt>
    <dgm:pt modelId="{267DABCE-7E97-40B8-9918-471792A6C759}" type="parTrans" cxnId="{56F4312B-FA53-40DA-9394-274EDF158C9D}">
      <dgm:prSet/>
      <dgm:spPr/>
      <dgm:t>
        <a:bodyPr/>
        <a:lstStyle/>
        <a:p>
          <a:endParaRPr lang="en-US"/>
        </a:p>
      </dgm:t>
    </dgm:pt>
    <dgm:pt modelId="{3376FE2F-C684-4EAF-BD3A-0C79D18C7101}" type="sibTrans" cxnId="{56F4312B-FA53-40DA-9394-274EDF158C9D}">
      <dgm:prSet/>
      <dgm:spPr/>
      <dgm:t>
        <a:bodyPr/>
        <a:lstStyle/>
        <a:p>
          <a:endParaRPr lang="en-US"/>
        </a:p>
      </dgm:t>
    </dgm:pt>
    <dgm:pt modelId="{14C4AB98-68FB-46DE-9443-9D0C3A620912}">
      <dgm:prSet/>
      <dgm:spPr/>
      <dgm:t>
        <a:bodyPr/>
        <a:lstStyle/>
        <a:p>
          <a:pPr rtl="0"/>
          <a:r>
            <a:rPr lang="en-US" smtClean="0"/>
            <a:t>Can be applied only for your sensitive applications</a:t>
          </a:r>
          <a:endParaRPr lang="en-US"/>
        </a:p>
      </dgm:t>
    </dgm:pt>
    <dgm:pt modelId="{32A121B1-906C-48A0-A7CD-F6CFFF9AC1A8}" type="parTrans" cxnId="{1BD8458B-220A-457B-BBFB-7CF933C5C013}">
      <dgm:prSet/>
      <dgm:spPr/>
      <dgm:t>
        <a:bodyPr/>
        <a:lstStyle/>
        <a:p>
          <a:endParaRPr lang="en-US"/>
        </a:p>
      </dgm:t>
    </dgm:pt>
    <dgm:pt modelId="{73F6869B-84BA-4B9E-A47B-1B86E925E695}" type="sibTrans" cxnId="{1BD8458B-220A-457B-BBFB-7CF933C5C013}">
      <dgm:prSet/>
      <dgm:spPr/>
      <dgm:t>
        <a:bodyPr/>
        <a:lstStyle/>
        <a:p>
          <a:endParaRPr lang="en-US"/>
        </a:p>
      </dgm:t>
    </dgm:pt>
    <dgm:pt modelId="{0A8198C4-8BD1-46DF-A38D-095892D53C78}">
      <dgm:prSet/>
      <dgm:spPr/>
      <dgm:t>
        <a:bodyPr/>
        <a:lstStyle/>
        <a:p>
          <a:pPr rtl="0"/>
          <a:r>
            <a:rPr lang="en-US" dirty="0" smtClean="0"/>
            <a:t>Policy can be triggered based on user, device &amp; location context. </a:t>
          </a:r>
          <a:r>
            <a:rPr lang="en-US" i="1" dirty="0" smtClean="0">
              <a:solidFill>
                <a:srgbClr val="FFC000"/>
              </a:solidFill>
            </a:rPr>
            <a:t>“Only trigger additional authentication if…”</a:t>
          </a:r>
          <a:endParaRPr lang="en-US" dirty="0">
            <a:solidFill>
              <a:srgbClr val="FFC000"/>
            </a:solidFill>
          </a:endParaRPr>
        </a:p>
      </dgm:t>
    </dgm:pt>
    <dgm:pt modelId="{45094AF4-9880-457F-B8FD-9E914CA76CC5}" type="parTrans" cxnId="{04B181C4-7347-44EA-B4B5-E131622FA09E}">
      <dgm:prSet/>
      <dgm:spPr/>
      <dgm:t>
        <a:bodyPr/>
        <a:lstStyle/>
        <a:p>
          <a:endParaRPr lang="en-US"/>
        </a:p>
      </dgm:t>
    </dgm:pt>
    <dgm:pt modelId="{6C8D35AE-C2A4-4F0F-9277-8605DDF93610}" type="sibTrans" cxnId="{04B181C4-7347-44EA-B4B5-E131622FA09E}">
      <dgm:prSet/>
      <dgm:spPr/>
      <dgm:t>
        <a:bodyPr/>
        <a:lstStyle/>
        <a:p>
          <a:endParaRPr lang="en-US"/>
        </a:p>
      </dgm:t>
    </dgm:pt>
    <dgm:pt modelId="{3CAB57A1-FBED-4EA0-B1E3-53B784B6D807}">
      <dgm:prSet/>
      <dgm:spPr/>
      <dgm:t>
        <a:bodyPr/>
        <a:lstStyle/>
        <a:p>
          <a:pPr rtl="0"/>
          <a:r>
            <a:rPr lang="en-US" i="1" dirty="0" smtClean="0">
              <a:solidFill>
                <a:srgbClr val="FFC000"/>
              </a:solidFill>
            </a:rPr>
            <a:t>“…my users are coming from the extranet”</a:t>
          </a:r>
          <a:endParaRPr lang="en-US" dirty="0">
            <a:solidFill>
              <a:srgbClr val="FFC000"/>
            </a:solidFill>
          </a:endParaRPr>
        </a:p>
      </dgm:t>
    </dgm:pt>
    <dgm:pt modelId="{68B845CA-DB6E-4B2D-90E2-73F248B8A06E}" type="parTrans" cxnId="{3AF50B47-E985-468F-BF1F-C08AC1FF2C3A}">
      <dgm:prSet/>
      <dgm:spPr/>
      <dgm:t>
        <a:bodyPr/>
        <a:lstStyle/>
        <a:p>
          <a:endParaRPr lang="en-US"/>
        </a:p>
      </dgm:t>
    </dgm:pt>
    <dgm:pt modelId="{87BFACBE-0D51-4EFF-A4D4-A9DD718E2F1F}" type="sibTrans" cxnId="{3AF50B47-E985-468F-BF1F-C08AC1FF2C3A}">
      <dgm:prSet/>
      <dgm:spPr/>
      <dgm:t>
        <a:bodyPr/>
        <a:lstStyle/>
        <a:p>
          <a:endParaRPr lang="en-US"/>
        </a:p>
      </dgm:t>
    </dgm:pt>
    <dgm:pt modelId="{F2E5C2C3-BC08-49CF-90E6-DD86F5D447C4}">
      <dgm:prSet/>
      <dgm:spPr/>
      <dgm:t>
        <a:bodyPr/>
        <a:lstStyle/>
        <a:p>
          <a:pPr rtl="0"/>
          <a:r>
            <a:rPr lang="en-US" i="1" dirty="0" smtClean="0">
              <a:solidFill>
                <a:srgbClr val="FFC000"/>
              </a:solidFill>
            </a:rPr>
            <a:t>“…the user is part of the application administrators group”</a:t>
          </a:r>
          <a:endParaRPr lang="en-US" dirty="0">
            <a:solidFill>
              <a:srgbClr val="FFC000"/>
            </a:solidFill>
          </a:endParaRPr>
        </a:p>
      </dgm:t>
    </dgm:pt>
    <dgm:pt modelId="{907F2E5F-0BC8-4A42-A81C-5DFA75AFA14A}" type="parTrans" cxnId="{BD42447C-7B56-4371-8BC6-864E8A554124}">
      <dgm:prSet/>
      <dgm:spPr/>
      <dgm:t>
        <a:bodyPr/>
        <a:lstStyle/>
        <a:p>
          <a:endParaRPr lang="en-US"/>
        </a:p>
      </dgm:t>
    </dgm:pt>
    <dgm:pt modelId="{140FF2A0-A44B-462D-8A75-56A0208603F1}" type="sibTrans" cxnId="{BD42447C-7B56-4371-8BC6-864E8A554124}">
      <dgm:prSet/>
      <dgm:spPr/>
      <dgm:t>
        <a:bodyPr/>
        <a:lstStyle/>
        <a:p>
          <a:endParaRPr lang="en-US"/>
        </a:p>
      </dgm:t>
    </dgm:pt>
    <dgm:pt modelId="{401430C2-16FA-4ED6-AE7C-244AF73A0E68}">
      <dgm:prSet/>
      <dgm:spPr/>
      <dgm:t>
        <a:bodyPr/>
        <a:lstStyle/>
        <a:p>
          <a:pPr rtl="0"/>
          <a:r>
            <a:rPr lang="en-US" i="1" dirty="0" smtClean="0">
              <a:solidFill>
                <a:srgbClr val="FFC000"/>
              </a:solidFill>
            </a:rPr>
            <a:t>“…the user is accessing from a non workplace joined device”</a:t>
          </a:r>
          <a:endParaRPr lang="en-US" dirty="0">
            <a:solidFill>
              <a:srgbClr val="FFC000"/>
            </a:solidFill>
          </a:endParaRPr>
        </a:p>
      </dgm:t>
    </dgm:pt>
    <dgm:pt modelId="{273524C1-78F6-4A32-8041-BAA6BC01497D}" type="parTrans" cxnId="{38217E72-5478-47C8-BC1A-B4483FDC8397}">
      <dgm:prSet/>
      <dgm:spPr/>
      <dgm:t>
        <a:bodyPr/>
        <a:lstStyle/>
        <a:p>
          <a:endParaRPr lang="en-US"/>
        </a:p>
      </dgm:t>
    </dgm:pt>
    <dgm:pt modelId="{745C1126-6F26-4C08-BC13-0DFA34036311}" type="sibTrans" cxnId="{38217E72-5478-47C8-BC1A-B4483FDC8397}">
      <dgm:prSet/>
      <dgm:spPr/>
      <dgm:t>
        <a:bodyPr/>
        <a:lstStyle/>
        <a:p>
          <a:endParaRPr lang="en-US"/>
        </a:p>
      </dgm:t>
    </dgm:pt>
    <dgm:pt modelId="{CAC42265-0C90-4337-9EC7-50358E371D5D}">
      <dgm:prSet/>
      <dgm:spPr/>
      <dgm:t>
        <a:bodyPr/>
        <a:lstStyle/>
        <a:p>
          <a:pPr rtl="0"/>
          <a:r>
            <a:rPr lang="en-US" dirty="0" smtClean="0"/>
            <a:t>Can also be applied for all applications to support broad organization policies</a:t>
          </a:r>
          <a:endParaRPr lang="en-US" dirty="0"/>
        </a:p>
      </dgm:t>
    </dgm:pt>
    <dgm:pt modelId="{CDA83E86-2072-4CFC-B0DB-C64635B035B2}" type="parTrans" cxnId="{64F5A593-999E-426D-BB13-9C4DD0898CBA}">
      <dgm:prSet/>
      <dgm:spPr/>
      <dgm:t>
        <a:bodyPr/>
        <a:lstStyle/>
        <a:p>
          <a:endParaRPr lang="en-US"/>
        </a:p>
      </dgm:t>
    </dgm:pt>
    <dgm:pt modelId="{D97C6305-CBC6-4B7A-A2E0-3013420A1FA7}" type="sibTrans" cxnId="{64F5A593-999E-426D-BB13-9C4DD0898CBA}">
      <dgm:prSet/>
      <dgm:spPr/>
      <dgm:t>
        <a:bodyPr/>
        <a:lstStyle/>
        <a:p>
          <a:endParaRPr lang="en-US"/>
        </a:p>
      </dgm:t>
    </dgm:pt>
    <dgm:pt modelId="{768DA01F-C996-4624-9ACF-78011B9AF53B}">
      <dgm:prSet/>
      <dgm:spPr/>
      <dgm:t>
        <a:bodyPr/>
        <a:lstStyle/>
        <a:p>
          <a:pPr rtl="0"/>
          <a:r>
            <a:rPr lang="en-US" smtClean="0"/>
            <a:t>In-Box Support for X509 Certificate Authentication (e.g. “Smart Cards”) </a:t>
          </a:r>
          <a:endParaRPr lang="en-US"/>
        </a:p>
      </dgm:t>
    </dgm:pt>
    <dgm:pt modelId="{7AA6C281-6466-4165-8109-9D762EE86FEE}" type="parTrans" cxnId="{BDF5F79D-AF0E-4CC1-A9FD-6B822937DD89}">
      <dgm:prSet/>
      <dgm:spPr/>
      <dgm:t>
        <a:bodyPr/>
        <a:lstStyle/>
        <a:p>
          <a:endParaRPr lang="en-US"/>
        </a:p>
      </dgm:t>
    </dgm:pt>
    <dgm:pt modelId="{6D0B8148-FF50-49B5-B24E-51391063CC65}" type="sibTrans" cxnId="{BDF5F79D-AF0E-4CC1-A9FD-6B822937DD89}">
      <dgm:prSet/>
      <dgm:spPr/>
      <dgm:t>
        <a:bodyPr/>
        <a:lstStyle/>
        <a:p>
          <a:endParaRPr lang="en-US"/>
        </a:p>
      </dgm:t>
    </dgm:pt>
    <dgm:pt modelId="{5ECEED8A-6B42-4E04-AB15-B3B8C3D030AD}" type="pres">
      <dgm:prSet presAssocID="{0A54AD59-CE70-4397-8852-7748AA602766}" presName="linear" presStyleCnt="0">
        <dgm:presLayoutVars>
          <dgm:animLvl val="lvl"/>
          <dgm:resizeHandles val="exact"/>
        </dgm:presLayoutVars>
      </dgm:prSet>
      <dgm:spPr/>
      <dgm:t>
        <a:bodyPr/>
        <a:lstStyle/>
        <a:p>
          <a:endParaRPr lang="en-US"/>
        </a:p>
      </dgm:t>
    </dgm:pt>
    <dgm:pt modelId="{37B15F2B-2568-4989-9B60-65E144D89CAA}" type="pres">
      <dgm:prSet presAssocID="{7DEFDD2C-5B84-4581-946A-7EBACD0F170A}" presName="parentText" presStyleLbl="node1" presStyleIdx="0" presStyleCnt="1">
        <dgm:presLayoutVars>
          <dgm:chMax val="0"/>
          <dgm:bulletEnabled val="1"/>
        </dgm:presLayoutVars>
      </dgm:prSet>
      <dgm:spPr/>
      <dgm:t>
        <a:bodyPr/>
        <a:lstStyle/>
        <a:p>
          <a:endParaRPr lang="en-US"/>
        </a:p>
      </dgm:t>
    </dgm:pt>
    <dgm:pt modelId="{71B2571F-BA7E-43DE-872F-32D2AAF32CDB}" type="pres">
      <dgm:prSet presAssocID="{7DEFDD2C-5B84-4581-946A-7EBACD0F170A}" presName="childText" presStyleLbl="revTx" presStyleIdx="0" presStyleCnt="1">
        <dgm:presLayoutVars>
          <dgm:bulletEnabled val="1"/>
        </dgm:presLayoutVars>
      </dgm:prSet>
      <dgm:spPr/>
      <dgm:t>
        <a:bodyPr/>
        <a:lstStyle/>
        <a:p>
          <a:endParaRPr lang="en-US"/>
        </a:p>
      </dgm:t>
    </dgm:pt>
  </dgm:ptLst>
  <dgm:cxnLst>
    <dgm:cxn modelId="{E6CB1146-AEC9-4A62-84FD-62277D09D270}" type="presOf" srcId="{F2E5C2C3-BC08-49CF-90E6-DD86F5D447C4}" destId="{71B2571F-BA7E-43DE-872F-32D2AAF32CDB}" srcOrd="0" destOrd="3" presId="urn:microsoft.com/office/officeart/2005/8/layout/vList2"/>
    <dgm:cxn modelId="{1FCBC019-7C66-4CF4-B5D0-B32FBC3F84D6}" type="presOf" srcId="{401430C2-16FA-4ED6-AE7C-244AF73A0E68}" destId="{71B2571F-BA7E-43DE-872F-32D2AAF32CDB}" srcOrd="0" destOrd="4" presId="urn:microsoft.com/office/officeart/2005/8/layout/vList2"/>
    <dgm:cxn modelId="{38217E72-5478-47C8-BC1A-B4483FDC8397}" srcId="{0A8198C4-8BD1-46DF-A38D-095892D53C78}" destId="{401430C2-16FA-4ED6-AE7C-244AF73A0E68}" srcOrd="2" destOrd="0" parTransId="{273524C1-78F6-4A32-8041-BAA6BC01497D}" sibTransId="{745C1126-6F26-4C08-BC13-0DFA34036311}"/>
    <dgm:cxn modelId="{BDF5F79D-AF0E-4CC1-A9FD-6B822937DD89}" srcId="{7DEFDD2C-5B84-4581-946A-7EBACD0F170A}" destId="{768DA01F-C996-4624-9ACF-78011B9AF53B}" srcOrd="3" destOrd="0" parTransId="{7AA6C281-6466-4165-8109-9D762EE86FEE}" sibTransId="{6D0B8148-FF50-49B5-B24E-51391063CC65}"/>
    <dgm:cxn modelId="{DEA3C8A0-6734-4F08-88D2-2B9CC495C9BD}" type="presOf" srcId="{3CAB57A1-FBED-4EA0-B1E3-53B784B6D807}" destId="{71B2571F-BA7E-43DE-872F-32D2AAF32CDB}" srcOrd="0" destOrd="2" presId="urn:microsoft.com/office/officeart/2005/8/layout/vList2"/>
    <dgm:cxn modelId="{56F4312B-FA53-40DA-9394-274EDF158C9D}" srcId="{0A54AD59-CE70-4397-8852-7748AA602766}" destId="{7DEFDD2C-5B84-4581-946A-7EBACD0F170A}" srcOrd="0" destOrd="0" parTransId="{267DABCE-7E97-40B8-9918-471792A6C759}" sibTransId="{3376FE2F-C684-4EAF-BD3A-0C79D18C7101}"/>
    <dgm:cxn modelId="{6E31A8BE-E1EC-4962-8FFA-B00C70A93E0B}" type="presOf" srcId="{CAC42265-0C90-4337-9EC7-50358E371D5D}" destId="{71B2571F-BA7E-43DE-872F-32D2AAF32CDB}" srcOrd="0" destOrd="5" presId="urn:microsoft.com/office/officeart/2005/8/layout/vList2"/>
    <dgm:cxn modelId="{1BD8458B-220A-457B-BBFB-7CF933C5C013}" srcId="{7DEFDD2C-5B84-4581-946A-7EBACD0F170A}" destId="{14C4AB98-68FB-46DE-9443-9D0C3A620912}" srcOrd="0" destOrd="0" parTransId="{32A121B1-906C-48A0-A7CD-F6CFFF9AC1A8}" sibTransId="{73F6869B-84BA-4B9E-A47B-1B86E925E695}"/>
    <dgm:cxn modelId="{3AF50B47-E985-468F-BF1F-C08AC1FF2C3A}" srcId="{0A8198C4-8BD1-46DF-A38D-095892D53C78}" destId="{3CAB57A1-FBED-4EA0-B1E3-53B784B6D807}" srcOrd="0" destOrd="0" parTransId="{68B845CA-DB6E-4B2D-90E2-73F248B8A06E}" sibTransId="{87BFACBE-0D51-4EFF-A4D4-A9DD718E2F1F}"/>
    <dgm:cxn modelId="{BD42447C-7B56-4371-8BC6-864E8A554124}" srcId="{0A8198C4-8BD1-46DF-A38D-095892D53C78}" destId="{F2E5C2C3-BC08-49CF-90E6-DD86F5D447C4}" srcOrd="1" destOrd="0" parTransId="{907F2E5F-0BC8-4A42-A81C-5DFA75AFA14A}" sibTransId="{140FF2A0-A44B-462D-8A75-56A0208603F1}"/>
    <dgm:cxn modelId="{64F5A593-999E-426D-BB13-9C4DD0898CBA}" srcId="{7DEFDD2C-5B84-4581-946A-7EBACD0F170A}" destId="{CAC42265-0C90-4337-9EC7-50358E371D5D}" srcOrd="2" destOrd="0" parTransId="{CDA83E86-2072-4CFC-B0DB-C64635B035B2}" sibTransId="{D97C6305-CBC6-4B7A-A2E0-3013420A1FA7}"/>
    <dgm:cxn modelId="{7D3731FC-A2FE-45BC-8DC6-B4A867D1EEA5}" type="presOf" srcId="{14C4AB98-68FB-46DE-9443-9D0C3A620912}" destId="{71B2571F-BA7E-43DE-872F-32D2AAF32CDB}" srcOrd="0" destOrd="0" presId="urn:microsoft.com/office/officeart/2005/8/layout/vList2"/>
    <dgm:cxn modelId="{6FF77A63-8ABB-4EB0-8B97-24B0CEEC33A7}" type="presOf" srcId="{0A8198C4-8BD1-46DF-A38D-095892D53C78}" destId="{71B2571F-BA7E-43DE-872F-32D2AAF32CDB}" srcOrd="0" destOrd="1" presId="urn:microsoft.com/office/officeart/2005/8/layout/vList2"/>
    <dgm:cxn modelId="{04B181C4-7347-44EA-B4B5-E131622FA09E}" srcId="{7DEFDD2C-5B84-4581-946A-7EBACD0F170A}" destId="{0A8198C4-8BD1-46DF-A38D-095892D53C78}" srcOrd="1" destOrd="0" parTransId="{45094AF4-9880-457F-B8FD-9E914CA76CC5}" sibTransId="{6C8D35AE-C2A4-4F0F-9277-8605DDF93610}"/>
    <dgm:cxn modelId="{ADD0EB35-357C-47D4-9191-170430504E54}" type="presOf" srcId="{768DA01F-C996-4624-9ACF-78011B9AF53B}" destId="{71B2571F-BA7E-43DE-872F-32D2AAF32CDB}" srcOrd="0" destOrd="6" presId="urn:microsoft.com/office/officeart/2005/8/layout/vList2"/>
    <dgm:cxn modelId="{DA3E81D6-2A43-429D-9FC3-29F5D07CFD41}" type="presOf" srcId="{7DEFDD2C-5B84-4581-946A-7EBACD0F170A}" destId="{37B15F2B-2568-4989-9B60-65E144D89CAA}" srcOrd="0" destOrd="0" presId="urn:microsoft.com/office/officeart/2005/8/layout/vList2"/>
    <dgm:cxn modelId="{48C0C159-4FA6-48BE-9FE3-39B1C444F58C}" type="presOf" srcId="{0A54AD59-CE70-4397-8852-7748AA602766}" destId="{5ECEED8A-6B42-4E04-AB15-B3B8C3D030AD}" srcOrd="0" destOrd="0" presId="urn:microsoft.com/office/officeart/2005/8/layout/vList2"/>
    <dgm:cxn modelId="{37F0879E-9D23-4428-86AC-EE69CDDE62CA}" type="presParOf" srcId="{5ECEED8A-6B42-4E04-AB15-B3B8C3D030AD}" destId="{37B15F2B-2568-4989-9B60-65E144D89CAA}" srcOrd="0" destOrd="0" presId="urn:microsoft.com/office/officeart/2005/8/layout/vList2"/>
    <dgm:cxn modelId="{6F57E0A8-D2AC-4F85-8BA4-6BD8DC30AE7D}" type="presParOf" srcId="{5ECEED8A-6B42-4E04-AB15-B3B8C3D030AD}" destId="{71B2571F-BA7E-43DE-872F-32D2AAF32CDB}"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AB77EAA-EADD-4F79-8D23-B831238B260D}"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US"/>
        </a:p>
      </dgm:t>
    </dgm:pt>
    <dgm:pt modelId="{577B4E97-1484-4E97-A7E5-E537D741188D}">
      <dgm:prSet/>
      <dgm:spPr/>
      <dgm:t>
        <a:bodyPr/>
        <a:lstStyle/>
        <a:p>
          <a:pPr rtl="0"/>
          <a:r>
            <a:rPr lang="en-US" dirty="0" smtClean="0"/>
            <a:t>Extensible Additional Authentication</a:t>
          </a:r>
          <a:endParaRPr lang="en-US" dirty="0"/>
        </a:p>
      </dgm:t>
    </dgm:pt>
    <dgm:pt modelId="{2F85E0A9-A18D-4F77-8DEC-C0D2EB46D524}" type="parTrans" cxnId="{699577B6-0EB6-451F-901F-1799B6177DCB}">
      <dgm:prSet/>
      <dgm:spPr/>
      <dgm:t>
        <a:bodyPr/>
        <a:lstStyle/>
        <a:p>
          <a:endParaRPr lang="en-US"/>
        </a:p>
      </dgm:t>
    </dgm:pt>
    <dgm:pt modelId="{349C1EDE-296F-4433-8BA5-425146181B73}" type="sibTrans" cxnId="{699577B6-0EB6-451F-901F-1799B6177DCB}">
      <dgm:prSet/>
      <dgm:spPr/>
      <dgm:t>
        <a:bodyPr/>
        <a:lstStyle/>
        <a:p>
          <a:endParaRPr lang="en-US"/>
        </a:p>
      </dgm:t>
    </dgm:pt>
    <dgm:pt modelId="{4C9239EC-0ED2-411F-8F42-0C67FDDD37E7}">
      <dgm:prSet/>
      <dgm:spPr/>
      <dgm:t>
        <a:bodyPr/>
        <a:lstStyle/>
        <a:p>
          <a:pPr rtl="0"/>
          <a:r>
            <a:rPr lang="en-US" smtClean="0"/>
            <a:t>Framework to support web credential collection from any 3</a:t>
          </a:r>
          <a:r>
            <a:rPr lang="en-US" baseline="30000" smtClean="0"/>
            <a:t>rd</a:t>
          </a:r>
          <a:r>
            <a:rPr lang="en-US" smtClean="0"/>
            <a:t> party MFA provider (e.g. Phone based or OTP based MFA systems)</a:t>
          </a:r>
          <a:endParaRPr lang="en-US"/>
        </a:p>
      </dgm:t>
    </dgm:pt>
    <dgm:pt modelId="{83ED126B-B8D6-487F-8F2A-9C6DF93B35A2}" type="parTrans" cxnId="{A1CC3F55-DCBD-4FA0-A591-44C754555BB1}">
      <dgm:prSet/>
      <dgm:spPr/>
      <dgm:t>
        <a:bodyPr/>
        <a:lstStyle/>
        <a:p>
          <a:endParaRPr lang="en-US"/>
        </a:p>
      </dgm:t>
    </dgm:pt>
    <dgm:pt modelId="{9A327A54-FC0D-4EC0-808D-9BD3F112BEE1}" type="sibTrans" cxnId="{A1CC3F55-DCBD-4FA0-A591-44C754555BB1}">
      <dgm:prSet/>
      <dgm:spPr/>
      <dgm:t>
        <a:bodyPr/>
        <a:lstStyle/>
        <a:p>
          <a:endParaRPr lang="en-US"/>
        </a:p>
      </dgm:t>
    </dgm:pt>
    <dgm:pt modelId="{C80B8A69-B263-4FF8-8668-7BCF587D5ACB}">
      <dgm:prSet/>
      <dgm:spPr/>
      <dgm:t>
        <a:bodyPr/>
        <a:lstStyle/>
        <a:p>
          <a:pPr rtl="0"/>
          <a:r>
            <a:rPr lang="en-US" dirty="0" smtClean="0"/>
            <a:t>Supports challenge response interaction</a:t>
          </a:r>
          <a:endParaRPr lang="en-US" dirty="0"/>
        </a:p>
      </dgm:t>
    </dgm:pt>
    <dgm:pt modelId="{EEA5FD48-6FB8-4CE6-B1DB-C71AD8E8FBFB}" type="parTrans" cxnId="{AC5C4029-73E6-4A32-8F2A-4ABCB5867D15}">
      <dgm:prSet/>
      <dgm:spPr/>
      <dgm:t>
        <a:bodyPr/>
        <a:lstStyle/>
        <a:p>
          <a:endParaRPr lang="en-US"/>
        </a:p>
      </dgm:t>
    </dgm:pt>
    <dgm:pt modelId="{03E07420-62EC-4819-BA71-1C4D90CFE7D6}" type="sibTrans" cxnId="{AC5C4029-73E6-4A32-8F2A-4ABCB5867D15}">
      <dgm:prSet/>
      <dgm:spPr/>
      <dgm:t>
        <a:bodyPr/>
        <a:lstStyle/>
        <a:p>
          <a:endParaRPr lang="en-US"/>
        </a:p>
      </dgm:t>
    </dgm:pt>
    <dgm:pt modelId="{813E7C0C-988A-4994-9298-EDF96BBE75B8}">
      <dgm:prSet/>
      <dgm:spPr/>
      <dgm:t>
        <a:bodyPr/>
        <a:lstStyle/>
        <a:p>
          <a:pPr rtl="0"/>
          <a:r>
            <a:rPr lang="en-US" dirty="0" smtClean="0"/>
            <a:t>Sign-in experience is consistent with the rest of ADFS sign-in pages</a:t>
          </a:r>
          <a:endParaRPr lang="en-US" dirty="0"/>
        </a:p>
      </dgm:t>
    </dgm:pt>
    <dgm:pt modelId="{E1921B8E-C887-45C4-80F6-B12F30E8A555}" type="parTrans" cxnId="{034083FA-D62A-4A26-9095-D178CE27605C}">
      <dgm:prSet/>
      <dgm:spPr/>
      <dgm:t>
        <a:bodyPr/>
        <a:lstStyle/>
        <a:p>
          <a:endParaRPr lang="en-US"/>
        </a:p>
      </dgm:t>
    </dgm:pt>
    <dgm:pt modelId="{CEFFEF7A-053C-4FF3-A9B2-9A18E20A6D26}" type="sibTrans" cxnId="{034083FA-D62A-4A26-9095-D178CE27605C}">
      <dgm:prSet/>
      <dgm:spPr/>
      <dgm:t>
        <a:bodyPr/>
        <a:lstStyle/>
        <a:p>
          <a:endParaRPr lang="en-US"/>
        </a:p>
      </dgm:t>
    </dgm:pt>
    <dgm:pt modelId="{F1C23155-6AA0-4EF0-92E6-5A04715E2740}">
      <dgm:prSet/>
      <dgm:spPr/>
      <dgm:t>
        <a:bodyPr/>
        <a:lstStyle/>
        <a:p>
          <a:pPr rtl="0"/>
          <a:r>
            <a:rPr lang="en-US" dirty="0" smtClean="0"/>
            <a:t>3</a:t>
          </a:r>
          <a:r>
            <a:rPr lang="en-US" baseline="30000" dirty="0" smtClean="0"/>
            <a:t>rd</a:t>
          </a:r>
          <a:r>
            <a:rPr lang="en-US" dirty="0" smtClean="0"/>
            <a:t> party MFA providers can add provide additional data to the Authentication Context</a:t>
          </a:r>
          <a:endParaRPr lang="en-US" dirty="0"/>
        </a:p>
      </dgm:t>
    </dgm:pt>
    <dgm:pt modelId="{7EEC54C2-8879-4557-B80C-B80AA6831C42}" type="parTrans" cxnId="{65D5171F-0C5D-4190-B662-FC55797065E0}">
      <dgm:prSet/>
      <dgm:spPr/>
      <dgm:t>
        <a:bodyPr/>
        <a:lstStyle/>
        <a:p>
          <a:endParaRPr lang="en-US"/>
        </a:p>
      </dgm:t>
    </dgm:pt>
    <dgm:pt modelId="{52A6A5A8-C8AF-470B-8106-6C36408266E0}" type="sibTrans" cxnId="{65D5171F-0C5D-4190-B662-FC55797065E0}">
      <dgm:prSet/>
      <dgm:spPr/>
      <dgm:t>
        <a:bodyPr/>
        <a:lstStyle/>
        <a:p>
          <a:endParaRPr lang="en-US"/>
        </a:p>
      </dgm:t>
    </dgm:pt>
    <dgm:pt modelId="{9FAAA8F0-04FC-41B7-84AB-77251E554FAA}" type="pres">
      <dgm:prSet presAssocID="{DAB77EAA-EADD-4F79-8D23-B831238B260D}" presName="linear" presStyleCnt="0">
        <dgm:presLayoutVars>
          <dgm:animLvl val="lvl"/>
          <dgm:resizeHandles val="exact"/>
        </dgm:presLayoutVars>
      </dgm:prSet>
      <dgm:spPr/>
      <dgm:t>
        <a:bodyPr/>
        <a:lstStyle/>
        <a:p>
          <a:endParaRPr lang="en-US"/>
        </a:p>
      </dgm:t>
    </dgm:pt>
    <dgm:pt modelId="{413625C3-41AB-4046-9C5D-ED00CE072799}" type="pres">
      <dgm:prSet presAssocID="{577B4E97-1484-4E97-A7E5-E537D741188D}" presName="parentText" presStyleLbl="node1" presStyleIdx="0" presStyleCnt="1">
        <dgm:presLayoutVars>
          <dgm:chMax val="0"/>
          <dgm:bulletEnabled val="1"/>
        </dgm:presLayoutVars>
      </dgm:prSet>
      <dgm:spPr/>
      <dgm:t>
        <a:bodyPr/>
        <a:lstStyle/>
        <a:p>
          <a:endParaRPr lang="en-US"/>
        </a:p>
      </dgm:t>
    </dgm:pt>
    <dgm:pt modelId="{700A3B2E-E6FE-4BB4-B8F4-296440A820C0}" type="pres">
      <dgm:prSet presAssocID="{577B4E97-1484-4E97-A7E5-E537D741188D}" presName="childText" presStyleLbl="revTx" presStyleIdx="0" presStyleCnt="1">
        <dgm:presLayoutVars>
          <dgm:bulletEnabled val="1"/>
        </dgm:presLayoutVars>
      </dgm:prSet>
      <dgm:spPr/>
      <dgm:t>
        <a:bodyPr/>
        <a:lstStyle/>
        <a:p>
          <a:endParaRPr lang="en-US"/>
        </a:p>
      </dgm:t>
    </dgm:pt>
  </dgm:ptLst>
  <dgm:cxnLst>
    <dgm:cxn modelId="{034083FA-D62A-4A26-9095-D178CE27605C}" srcId="{577B4E97-1484-4E97-A7E5-E537D741188D}" destId="{813E7C0C-988A-4994-9298-EDF96BBE75B8}" srcOrd="2" destOrd="0" parTransId="{E1921B8E-C887-45C4-80F6-B12F30E8A555}" sibTransId="{CEFFEF7A-053C-4FF3-A9B2-9A18E20A6D26}"/>
    <dgm:cxn modelId="{AC5C4029-73E6-4A32-8F2A-4ABCB5867D15}" srcId="{577B4E97-1484-4E97-A7E5-E537D741188D}" destId="{C80B8A69-B263-4FF8-8668-7BCF587D5ACB}" srcOrd="1" destOrd="0" parTransId="{EEA5FD48-6FB8-4CE6-B1DB-C71AD8E8FBFB}" sibTransId="{03E07420-62EC-4819-BA71-1C4D90CFE7D6}"/>
    <dgm:cxn modelId="{65D5171F-0C5D-4190-B662-FC55797065E0}" srcId="{577B4E97-1484-4E97-A7E5-E537D741188D}" destId="{F1C23155-6AA0-4EF0-92E6-5A04715E2740}" srcOrd="3" destOrd="0" parTransId="{7EEC54C2-8879-4557-B80C-B80AA6831C42}" sibTransId="{52A6A5A8-C8AF-470B-8106-6C36408266E0}"/>
    <dgm:cxn modelId="{B735B87B-342D-4418-BBBF-3BD3AF9A7DB2}" type="presOf" srcId="{813E7C0C-988A-4994-9298-EDF96BBE75B8}" destId="{700A3B2E-E6FE-4BB4-B8F4-296440A820C0}" srcOrd="0" destOrd="2" presId="urn:microsoft.com/office/officeart/2005/8/layout/vList2"/>
    <dgm:cxn modelId="{19663667-D9A3-438C-A8F6-22EB25E7C0E8}" type="presOf" srcId="{577B4E97-1484-4E97-A7E5-E537D741188D}" destId="{413625C3-41AB-4046-9C5D-ED00CE072799}" srcOrd="0" destOrd="0" presId="urn:microsoft.com/office/officeart/2005/8/layout/vList2"/>
    <dgm:cxn modelId="{A82F7BB9-CE67-4B31-8121-551E940F4D21}" type="presOf" srcId="{DAB77EAA-EADD-4F79-8D23-B831238B260D}" destId="{9FAAA8F0-04FC-41B7-84AB-77251E554FAA}" srcOrd="0" destOrd="0" presId="urn:microsoft.com/office/officeart/2005/8/layout/vList2"/>
    <dgm:cxn modelId="{DA1AEF57-4B92-46B0-A570-33370C04DE58}" type="presOf" srcId="{F1C23155-6AA0-4EF0-92E6-5A04715E2740}" destId="{700A3B2E-E6FE-4BB4-B8F4-296440A820C0}" srcOrd="0" destOrd="3" presId="urn:microsoft.com/office/officeart/2005/8/layout/vList2"/>
    <dgm:cxn modelId="{99F45D89-1679-4DD1-A23B-39D4F80F23C6}" type="presOf" srcId="{4C9239EC-0ED2-411F-8F42-0C67FDDD37E7}" destId="{700A3B2E-E6FE-4BB4-B8F4-296440A820C0}" srcOrd="0" destOrd="0" presId="urn:microsoft.com/office/officeart/2005/8/layout/vList2"/>
    <dgm:cxn modelId="{C3FD4DB7-CB81-4FB7-AA56-17E07B532B93}" type="presOf" srcId="{C80B8A69-B263-4FF8-8668-7BCF587D5ACB}" destId="{700A3B2E-E6FE-4BB4-B8F4-296440A820C0}" srcOrd="0" destOrd="1" presId="urn:microsoft.com/office/officeart/2005/8/layout/vList2"/>
    <dgm:cxn modelId="{699577B6-0EB6-451F-901F-1799B6177DCB}" srcId="{DAB77EAA-EADD-4F79-8D23-B831238B260D}" destId="{577B4E97-1484-4E97-A7E5-E537D741188D}" srcOrd="0" destOrd="0" parTransId="{2F85E0A9-A18D-4F77-8DEC-C0D2EB46D524}" sibTransId="{349C1EDE-296F-4433-8BA5-425146181B73}"/>
    <dgm:cxn modelId="{A1CC3F55-DCBD-4FA0-A591-44C754555BB1}" srcId="{577B4E97-1484-4E97-A7E5-E537D741188D}" destId="{4C9239EC-0ED2-411F-8F42-0C67FDDD37E7}" srcOrd="0" destOrd="0" parTransId="{83ED126B-B8D6-487F-8F2A-9C6DF93B35A2}" sibTransId="{9A327A54-FC0D-4EC0-808D-9BD3F112BEE1}"/>
    <dgm:cxn modelId="{893C2C02-3780-41F5-A464-69D6E6DF3202}" type="presParOf" srcId="{9FAAA8F0-04FC-41B7-84AB-77251E554FAA}" destId="{413625C3-41AB-4046-9C5D-ED00CE072799}" srcOrd="0" destOrd="0" presId="urn:microsoft.com/office/officeart/2005/8/layout/vList2"/>
    <dgm:cxn modelId="{B087A2BE-D940-4E57-9A49-E14357764CE6}" type="presParOf" srcId="{9FAAA8F0-04FC-41B7-84AB-77251E554FAA}" destId="{700A3B2E-E6FE-4BB4-B8F4-296440A820C0}"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FB391B4-CAC1-41EF-92CB-655C9B5D9AD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CF30FFB-8C23-4DBC-A389-A0DEEC97973E}">
      <dgm:prSet/>
      <dgm:spPr/>
      <dgm:t>
        <a:bodyPr/>
        <a:lstStyle/>
        <a:p>
          <a:pPr rtl="0"/>
          <a:r>
            <a:rPr lang="en-US" dirty="0" smtClean="0"/>
            <a:t>Per-application Authorization policies </a:t>
          </a:r>
          <a:endParaRPr lang="en-US" dirty="0"/>
        </a:p>
      </dgm:t>
    </dgm:pt>
    <dgm:pt modelId="{78366DA1-2A80-4E16-B7E8-B286CBCB6786}" type="parTrans" cxnId="{9FA4414B-BD58-410A-8759-2B783940081A}">
      <dgm:prSet/>
      <dgm:spPr/>
      <dgm:t>
        <a:bodyPr/>
        <a:lstStyle/>
        <a:p>
          <a:endParaRPr lang="en-US"/>
        </a:p>
      </dgm:t>
    </dgm:pt>
    <dgm:pt modelId="{06710962-7C88-431F-A777-116E5D49262E}" type="sibTrans" cxnId="{9FA4414B-BD58-410A-8759-2B783940081A}">
      <dgm:prSet/>
      <dgm:spPr/>
      <dgm:t>
        <a:bodyPr/>
        <a:lstStyle/>
        <a:p>
          <a:endParaRPr lang="en-US"/>
        </a:p>
      </dgm:t>
    </dgm:pt>
    <dgm:pt modelId="{26386873-DBF6-4CB2-B5E6-9C64058D2CC8}">
      <dgm:prSet custT="1"/>
      <dgm:spPr/>
      <dgm:t>
        <a:bodyPr/>
        <a:lstStyle/>
        <a:p>
          <a:pPr rtl="0"/>
          <a:r>
            <a:rPr lang="en-US" sz="2400" dirty="0" smtClean="0"/>
            <a:t>Permit/deny access to applications based on user, device &amp; network location. Examples are</a:t>
          </a:r>
          <a:endParaRPr lang="en-US" sz="2400" dirty="0"/>
        </a:p>
      </dgm:t>
    </dgm:pt>
    <dgm:pt modelId="{E3713623-D773-4BDF-ADE9-EAB2E2BAD405}" type="parTrans" cxnId="{95E60FDE-777C-492A-8597-E8837A7E957D}">
      <dgm:prSet/>
      <dgm:spPr/>
      <dgm:t>
        <a:bodyPr/>
        <a:lstStyle/>
        <a:p>
          <a:endParaRPr lang="en-US"/>
        </a:p>
      </dgm:t>
    </dgm:pt>
    <dgm:pt modelId="{4279DCED-F623-45B3-A329-C32E0454F151}" type="sibTrans" cxnId="{95E60FDE-777C-492A-8597-E8837A7E957D}">
      <dgm:prSet/>
      <dgm:spPr/>
      <dgm:t>
        <a:bodyPr/>
        <a:lstStyle/>
        <a:p>
          <a:endParaRPr lang="en-US"/>
        </a:p>
      </dgm:t>
    </dgm:pt>
    <dgm:pt modelId="{C7134FDE-4A37-490E-95A2-DB589C36D803}">
      <dgm:prSet custT="1"/>
      <dgm:spPr/>
      <dgm:t>
        <a:bodyPr/>
        <a:lstStyle/>
        <a:p>
          <a:pPr rtl="0"/>
          <a:r>
            <a:rPr lang="en-US" sz="2400" i="1" dirty="0" smtClean="0">
              <a:solidFill>
                <a:srgbClr val="FFC000"/>
              </a:solidFill>
            </a:rPr>
            <a:t>“Allow only </a:t>
          </a:r>
          <a:r>
            <a:rPr lang="en-US" sz="2400" i="1" u="sng" dirty="0" smtClean="0">
              <a:solidFill>
                <a:srgbClr val="FFC000"/>
              </a:solidFill>
            </a:rPr>
            <a:t>workplace joined devices </a:t>
          </a:r>
          <a:r>
            <a:rPr lang="en-US" sz="2400" i="1" dirty="0" smtClean="0">
              <a:solidFill>
                <a:srgbClr val="FFC000"/>
              </a:solidFill>
            </a:rPr>
            <a:t>when connecting from the </a:t>
          </a:r>
          <a:r>
            <a:rPr lang="en-US" sz="2400" i="1" u="sng" dirty="0" smtClean="0">
              <a:solidFill>
                <a:srgbClr val="FFC000"/>
              </a:solidFill>
            </a:rPr>
            <a:t>extranet</a:t>
          </a:r>
          <a:r>
            <a:rPr lang="en-US" sz="2400" i="1" dirty="0" smtClean="0">
              <a:solidFill>
                <a:srgbClr val="FFC000"/>
              </a:solidFill>
            </a:rPr>
            <a:t> to this </a:t>
          </a:r>
          <a:r>
            <a:rPr lang="en-US" sz="2400" i="1" u="sng" dirty="0" smtClean="0">
              <a:solidFill>
                <a:srgbClr val="FFC000"/>
              </a:solidFill>
            </a:rPr>
            <a:t>application</a:t>
          </a:r>
          <a:r>
            <a:rPr lang="en-US" sz="2400" i="1" dirty="0" smtClean="0">
              <a:solidFill>
                <a:srgbClr val="FFC000"/>
              </a:solidFill>
            </a:rPr>
            <a:t>”</a:t>
          </a:r>
          <a:endParaRPr lang="en-US" sz="2400" dirty="0">
            <a:solidFill>
              <a:srgbClr val="FFC000"/>
            </a:solidFill>
          </a:endParaRPr>
        </a:p>
      </dgm:t>
    </dgm:pt>
    <dgm:pt modelId="{E78333B3-C5AD-4777-84DD-05C273009192}" type="parTrans" cxnId="{BDCAEB46-42E3-4594-AC98-E39AC856BFFE}">
      <dgm:prSet/>
      <dgm:spPr/>
      <dgm:t>
        <a:bodyPr/>
        <a:lstStyle/>
        <a:p>
          <a:endParaRPr lang="en-US"/>
        </a:p>
      </dgm:t>
    </dgm:pt>
    <dgm:pt modelId="{54C4D0CE-245B-42DD-9C49-3D92EC26C280}" type="sibTrans" cxnId="{BDCAEB46-42E3-4594-AC98-E39AC856BFFE}">
      <dgm:prSet/>
      <dgm:spPr/>
      <dgm:t>
        <a:bodyPr/>
        <a:lstStyle/>
        <a:p>
          <a:endParaRPr lang="en-US"/>
        </a:p>
      </dgm:t>
    </dgm:pt>
    <dgm:pt modelId="{3AC213C8-B29C-4354-B608-7C0114DC4BF4}">
      <dgm:prSet custT="1"/>
      <dgm:spPr/>
      <dgm:t>
        <a:bodyPr/>
        <a:lstStyle/>
        <a:p>
          <a:pPr rtl="0"/>
          <a:r>
            <a:rPr lang="en-US" sz="2400" i="1" dirty="0" smtClean="0">
              <a:solidFill>
                <a:srgbClr val="FFC000"/>
              </a:solidFill>
            </a:rPr>
            <a:t>“Allow only </a:t>
          </a:r>
          <a:r>
            <a:rPr lang="en-US" sz="2400" i="1" u="sng" dirty="0" smtClean="0">
              <a:solidFill>
                <a:srgbClr val="FFC000"/>
              </a:solidFill>
            </a:rPr>
            <a:t>users belonging to a security group </a:t>
          </a:r>
          <a:r>
            <a:rPr lang="en-US" sz="2400" i="1" dirty="0" smtClean="0">
              <a:solidFill>
                <a:srgbClr val="FFC000"/>
              </a:solidFill>
            </a:rPr>
            <a:t>when connecting from the </a:t>
          </a:r>
          <a:r>
            <a:rPr lang="en-US" sz="2400" i="1" u="sng" dirty="0" smtClean="0">
              <a:solidFill>
                <a:srgbClr val="FFC000"/>
              </a:solidFill>
            </a:rPr>
            <a:t>extranet</a:t>
          </a:r>
          <a:r>
            <a:rPr lang="en-US" sz="2400" i="1" dirty="0" smtClean="0">
              <a:solidFill>
                <a:srgbClr val="FFC000"/>
              </a:solidFill>
            </a:rPr>
            <a:t> to this application”</a:t>
          </a:r>
          <a:endParaRPr lang="en-US" sz="2400" dirty="0">
            <a:solidFill>
              <a:srgbClr val="FFC000"/>
            </a:solidFill>
          </a:endParaRPr>
        </a:p>
      </dgm:t>
    </dgm:pt>
    <dgm:pt modelId="{3E340E34-9A0F-4700-A7C3-2341BD4B3213}" type="parTrans" cxnId="{6CF73DBB-EC70-4C81-97AA-76973E4612C1}">
      <dgm:prSet/>
      <dgm:spPr/>
      <dgm:t>
        <a:bodyPr/>
        <a:lstStyle/>
        <a:p>
          <a:endParaRPr lang="en-US"/>
        </a:p>
      </dgm:t>
    </dgm:pt>
    <dgm:pt modelId="{121BA02A-02C4-4117-8433-FDFBA8834D95}" type="sibTrans" cxnId="{6CF73DBB-EC70-4C81-97AA-76973E4612C1}">
      <dgm:prSet/>
      <dgm:spPr/>
      <dgm:t>
        <a:bodyPr/>
        <a:lstStyle/>
        <a:p>
          <a:endParaRPr lang="en-US"/>
        </a:p>
      </dgm:t>
    </dgm:pt>
    <dgm:pt modelId="{2457F2B4-4551-43FD-AF92-4EDBC7F1D158}">
      <dgm:prSet/>
      <dgm:spPr/>
      <dgm:t>
        <a:bodyPr/>
        <a:lstStyle/>
        <a:p>
          <a:pPr rtl="0"/>
          <a:r>
            <a:rPr lang="en-US" smtClean="0"/>
            <a:t>Customized Access Denied Messages </a:t>
          </a:r>
          <a:endParaRPr lang="en-US"/>
        </a:p>
      </dgm:t>
    </dgm:pt>
    <dgm:pt modelId="{83EB6883-5BB9-42E2-B2DD-7B2F34457274}" type="parTrans" cxnId="{3A0ECF7B-3910-4FBB-975E-DE4F7619EB64}">
      <dgm:prSet/>
      <dgm:spPr/>
      <dgm:t>
        <a:bodyPr/>
        <a:lstStyle/>
        <a:p>
          <a:endParaRPr lang="en-US"/>
        </a:p>
      </dgm:t>
    </dgm:pt>
    <dgm:pt modelId="{EE54B610-C0CB-42F0-A784-F0AD741DC6A1}" type="sibTrans" cxnId="{3A0ECF7B-3910-4FBB-975E-DE4F7619EB64}">
      <dgm:prSet/>
      <dgm:spPr/>
      <dgm:t>
        <a:bodyPr/>
        <a:lstStyle/>
        <a:p>
          <a:endParaRPr lang="en-US"/>
        </a:p>
      </dgm:t>
    </dgm:pt>
    <dgm:pt modelId="{8D9CB89B-79E0-4710-B2DF-342A05990012}">
      <dgm:prSet custT="1"/>
      <dgm:spPr/>
      <dgm:t>
        <a:bodyPr/>
        <a:lstStyle/>
        <a:p>
          <a:pPr rtl="0"/>
          <a:r>
            <a:rPr lang="en-US" sz="2800" dirty="0" smtClean="0"/>
            <a:t>Customized on a per-application basis</a:t>
          </a:r>
          <a:endParaRPr lang="en-US" sz="2800" dirty="0"/>
        </a:p>
      </dgm:t>
    </dgm:pt>
    <dgm:pt modelId="{46D92FE6-63C7-470D-A3FB-C65CA4575695}" type="parTrans" cxnId="{C34A5F4F-9071-4FB8-8877-88AA5563D031}">
      <dgm:prSet/>
      <dgm:spPr/>
      <dgm:t>
        <a:bodyPr/>
        <a:lstStyle/>
        <a:p>
          <a:endParaRPr lang="en-US"/>
        </a:p>
      </dgm:t>
    </dgm:pt>
    <dgm:pt modelId="{A33B9FFC-A967-4F03-9290-1935E3121236}" type="sibTrans" cxnId="{C34A5F4F-9071-4FB8-8877-88AA5563D031}">
      <dgm:prSet/>
      <dgm:spPr/>
      <dgm:t>
        <a:bodyPr/>
        <a:lstStyle/>
        <a:p>
          <a:endParaRPr lang="en-US"/>
        </a:p>
      </dgm:t>
    </dgm:pt>
    <dgm:pt modelId="{911F7AF8-53A3-4CD0-A6EE-E6C0092A2B70}" type="pres">
      <dgm:prSet presAssocID="{2FB391B4-CAC1-41EF-92CB-655C9B5D9AD6}" presName="linear" presStyleCnt="0">
        <dgm:presLayoutVars>
          <dgm:animLvl val="lvl"/>
          <dgm:resizeHandles val="exact"/>
        </dgm:presLayoutVars>
      </dgm:prSet>
      <dgm:spPr/>
      <dgm:t>
        <a:bodyPr/>
        <a:lstStyle/>
        <a:p>
          <a:endParaRPr lang="en-US"/>
        </a:p>
      </dgm:t>
    </dgm:pt>
    <dgm:pt modelId="{4A98BA80-7238-4BF9-B49C-C2A06C37198D}" type="pres">
      <dgm:prSet presAssocID="{CCF30FFB-8C23-4DBC-A389-A0DEEC97973E}" presName="parentText" presStyleLbl="node1" presStyleIdx="0" presStyleCnt="2">
        <dgm:presLayoutVars>
          <dgm:chMax val="0"/>
          <dgm:bulletEnabled val="1"/>
        </dgm:presLayoutVars>
      </dgm:prSet>
      <dgm:spPr/>
      <dgm:t>
        <a:bodyPr/>
        <a:lstStyle/>
        <a:p>
          <a:endParaRPr lang="en-US"/>
        </a:p>
      </dgm:t>
    </dgm:pt>
    <dgm:pt modelId="{6353AC66-106E-4BB8-98F1-6796CACA854D}" type="pres">
      <dgm:prSet presAssocID="{CCF30FFB-8C23-4DBC-A389-A0DEEC97973E}" presName="childText" presStyleLbl="revTx" presStyleIdx="0" presStyleCnt="2">
        <dgm:presLayoutVars>
          <dgm:bulletEnabled val="1"/>
        </dgm:presLayoutVars>
      </dgm:prSet>
      <dgm:spPr/>
      <dgm:t>
        <a:bodyPr/>
        <a:lstStyle/>
        <a:p>
          <a:endParaRPr lang="en-US"/>
        </a:p>
      </dgm:t>
    </dgm:pt>
    <dgm:pt modelId="{30972BF5-AEFB-4923-9E63-EFC53F70D7BD}" type="pres">
      <dgm:prSet presAssocID="{2457F2B4-4551-43FD-AF92-4EDBC7F1D158}" presName="parentText" presStyleLbl="node1" presStyleIdx="1" presStyleCnt="2">
        <dgm:presLayoutVars>
          <dgm:chMax val="0"/>
          <dgm:bulletEnabled val="1"/>
        </dgm:presLayoutVars>
      </dgm:prSet>
      <dgm:spPr/>
      <dgm:t>
        <a:bodyPr/>
        <a:lstStyle/>
        <a:p>
          <a:endParaRPr lang="en-US"/>
        </a:p>
      </dgm:t>
    </dgm:pt>
    <dgm:pt modelId="{58E3235C-EC74-4D3F-A81A-5BA36DC7536C}" type="pres">
      <dgm:prSet presAssocID="{2457F2B4-4551-43FD-AF92-4EDBC7F1D158}" presName="childText" presStyleLbl="revTx" presStyleIdx="1" presStyleCnt="2">
        <dgm:presLayoutVars>
          <dgm:bulletEnabled val="1"/>
        </dgm:presLayoutVars>
      </dgm:prSet>
      <dgm:spPr/>
      <dgm:t>
        <a:bodyPr/>
        <a:lstStyle/>
        <a:p>
          <a:endParaRPr lang="en-US"/>
        </a:p>
      </dgm:t>
    </dgm:pt>
  </dgm:ptLst>
  <dgm:cxnLst>
    <dgm:cxn modelId="{95E60FDE-777C-492A-8597-E8837A7E957D}" srcId="{CCF30FFB-8C23-4DBC-A389-A0DEEC97973E}" destId="{26386873-DBF6-4CB2-B5E6-9C64058D2CC8}" srcOrd="0" destOrd="0" parTransId="{E3713623-D773-4BDF-ADE9-EAB2E2BAD405}" sibTransId="{4279DCED-F623-45B3-A329-C32E0454F151}"/>
    <dgm:cxn modelId="{AC42B1B1-01E8-480E-8400-D991B9439DDE}" type="presOf" srcId="{2FB391B4-CAC1-41EF-92CB-655C9B5D9AD6}" destId="{911F7AF8-53A3-4CD0-A6EE-E6C0092A2B70}" srcOrd="0" destOrd="0" presId="urn:microsoft.com/office/officeart/2005/8/layout/vList2"/>
    <dgm:cxn modelId="{9D007FE1-3CCF-4879-BE03-A8C7CC93928A}" type="presOf" srcId="{8D9CB89B-79E0-4710-B2DF-342A05990012}" destId="{58E3235C-EC74-4D3F-A81A-5BA36DC7536C}" srcOrd="0" destOrd="0" presId="urn:microsoft.com/office/officeart/2005/8/layout/vList2"/>
    <dgm:cxn modelId="{4941FC08-0B55-4D84-8862-90D5867DB11A}" type="presOf" srcId="{2457F2B4-4551-43FD-AF92-4EDBC7F1D158}" destId="{30972BF5-AEFB-4923-9E63-EFC53F70D7BD}" srcOrd="0" destOrd="0" presId="urn:microsoft.com/office/officeart/2005/8/layout/vList2"/>
    <dgm:cxn modelId="{635BD91B-8607-4ADA-BC20-0442211B8FAE}" type="presOf" srcId="{CCF30FFB-8C23-4DBC-A389-A0DEEC97973E}" destId="{4A98BA80-7238-4BF9-B49C-C2A06C37198D}" srcOrd="0" destOrd="0" presId="urn:microsoft.com/office/officeart/2005/8/layout/vList2"/>
    <dgm:cxn modelId="{6CF73DBB-EC70-4C81-97AA-76973E4612C1}" srcId="{26386873-DBF6-4CB2-B5E6-9C64058D2CC8}" destId="{3AC213C8-B29C-4354-B608-7C0114DC4BF4}" srcOrd="1" destOrd="0" parTransId="{3E340E34-9A0F-4700-A7C3-2341BD4B3213}" sibTransId="{121BA02A-02C4-4117-8433-FDFBA8834D95}"/>
    <dgm:cxn modelId="{BDCAEB46-42E3-4594-AC98-E39AC856BFFE}" srcId="{26386873-DBF6-4CB2-B5E6-9C64058D2CC8}" destId="{C7134FDE-4A37-490E-95A2-DB589C36D803}" srcOrd="0" destOrd="0" parTransId="{E78333B3-C5AD-4777-84DD-05C273009192}" sibTransId="{54C4D0CE-245B-42DD-9C49-3D92EC26C280}"/>
    <dgm:cxn modelId="{9FA4414B-BD58-410A-8759-2B783940081A}" srcId="{2FB391B4-CAC1-41EF-92CB-655C9B5D9AD6}" destId="{CCF30FFB-8C23-4DBC-A389-A0DEEC97973E}" srcOrd="0" destOrd="0" parTransId="{78366DA1-2A80-4E16-B7E8-B286CBCB6786}" sibTransId="{06710962-7C88-431F-A777-116E5D49262E}"/>
    <dgm:cxn modelId="{9B5E9DA1-E97E-4C0F-B119-E555AF367A9E}" type="presOf" srcId="{3AC213C8-B29C-4354-B608-7C0114DC4BF4}" destId="{6353AC66-106E-4BB8-98F1-6796CACA854D}" srcOrd="0" destOrd="2" presId="urn:microsoft.com/office/officeart/2005/8/layout/vList2"/>
    <dgm:cxn modelId="{E0061CC4-64F5-42C7-B1C3-EAF85CB60940}" type="presOf" srcId="{C7134FDE-4A37-490E-95A2-DB589C36D803}" destId="{6353AC66-106E-4BB8-98F1-6796CACA854D}" srcOrd="0" destOrd="1" presId="urn:microsoft.com/office/officeart/2005/8/layout/vList2"/>
    <dgm:cxn modelId="{8C5BF723-6268-45E1-B8A0-EDC407D35C7A}" type="presOf" srcId="{26386873-DBF6-4CB2-B5E6-9C64058D2CC8}" destId="{6353AC66-106E-4BB8-98F1-6796CACA854D}" srcOrd="0" destOrd="0" presId="urn:microsoft.com/office/officeart/2005/8/layout/vList2"/>
    <dgm:cxn modelId="{3A0ECF7B-3910-4FBB-975E-DE4F7619EB64}" srcId="{2FB391B4-CAC1-41EF-92CB-655C9B5D9AD6}" destId="{2457F2B4-4551-43FD-AF92-4EDBC7F1D158}" srcOrd="1" destOrd="0" parTransId="{83EB6883-5BB9-42E2-B2DD-7B2F34457274}" sibTransId="{EE54B610-C0CB-42F0-A784-F0AD741DC6A1}"/>
    <dgm:cxn modelId="{C34A5F4F-9071-4FB8-8877-88AA5563D031}" srcId="{2457F2B4-4551-43FD-AF92-4EDBC7F1D158}" destId="{8D9CB89B-79E0-4710-B2DF-342A05990012}" srcOrd="0" destOrd="0" parTransId="{46D92FE6-63C7-470D-A3FB-C65CA4575695}" sibTransId="{A33B9FFC-A967-4F03-9290-1935E3121236}"/>
    <dgm:cxn modelId="{45F2E640-5CD8-42C2-B9D5-83DFC78492D8}" type="presParOf" srcId="{911F7AF8-53A3-4CD0-A6EE-E6C0092A2B70}" destId="{4A98BA80-7238-4BF9-B49C-C2A06C37198D}" srcOrd="0" destOrd="0" presId="urn:microsoft.com/office/officeart/2005/8/layout/vList2"/>
    <dgm:cxn modelId="{82BD086C-D149-46C6-8B16-A9BCDBA8CF7F}" type="presParOf" srcId="{911F7AF8-53A3-4CD0-A6EE-E6C0092A2B70}" destId="{6353AC66-106E-4BB8-98F1-6796CACA854D}" srcOrd="1" destOrd="0" presId="urn:microsoft.com/office/officeart/2005/8/layout/vList2"/>
    <dgm:cxn modelId="{61726CEF-8F0A-471F-A4AE-3D2ABA45AD38}" type="presParOf" srcId="{911F7AF8-53A3-4CD0-A6EE-E6C0092A2B70}" destId="{30972BF5-AEFB-4923-9E63-EFC53F70D7BD}" srcOrd="2" destOrd="0" presId="urn:microsoft.com/office/officeart/2005/8/layout/vList2"/>
    <dgm:cxn modelId="{E1E31763-B9CD-4A28-94CE-3D08F0151460}" type="presParOf" srcId="{911F7AF8-53A3-4CD0-A6EE-E6C0092A2B70}" destId="{58E3235C-EC74-4D3F-A81A-5BA36DC7536C}"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8/2013 8:1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8/2013 8:13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8/2013 8:1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8/2013 8:1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2525587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6</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8/2013 8:14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99789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7</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8/2013 8:14 A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solidFill>
                  <a:prstClr val="black"/>
                </a:solidFill>
              </a:rPr>
              <a:pPr/>
              <a:t>28</a:t>
            </a:fld>
            <a:endParaRPr lang="en-US" dirty="0">
              <a:solidFill>
                <a:prstClr val="black"/>
              </a:solidFill>
            </a:endParaRPr>
          </a:p>
        </p:txBody>
      </p:sp>
      <p:sp>
        <p:nvSpPr>
          <p:cNvPr id="12" name="Date Placeholder 11"/>
          <p:cNvSpPr>
            <a:spLocks noGrp="1"/>
          </p:cNvSpPr>
          <p:nvPr>
            <p:ph type="dt" idx="14"/>
          </p:nvPr>
        </p:nvSpPr>
        <p:spPr/>
        <p:txBody>
          <a:bodyPr/>
          <a:lstStyle/>
          <a:p>
            <a:fld id="{64DAA8B1-71E0-4ED8-9A80-C398012240B1}" type="datetime8">
              <a:rPr lang="en-US" smtClean="0">
                <a:solidFill>
                  <a:prstClr val="black"/>
                </a:solidFill>
              </a:rPr>
              <a:pPr/>
              <a:t>6/28/2013 8:14 AM</a:t>
            </a:fld>
            <a:endParaRPr lang="en-US" dirty="0">
              <a:solidFill>
                <a:prstClr val="black"/>
              </a:solidFill>
            </a:endParaRPr>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gradFill>
                <a:gsLst>
                  <a:gs pos="1250">
                    <a:prstClr val="black"/>
                  </a:gs>
                  <a:gs pos="100000">
                    <a:prstClr val="black"/>
                  </a:gs>
                </a:gsLst>
                <a:lin ang="5400000" scaled="0"/>
              </a:gradFill>
            </a:endParaRPr>
          </a:p>
        </p:txBody>
      </p:sp>
    </p:spTree>
    <p:extLst>
      <p:ext uri="{BB962C8B-B14F-4D97-AF65-F5344CB8AC3E}">
        <p14:creationId xmlns:p14="http://schemas.microsoft.com/office/powerpoint/2010/main" val="12214904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14645581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8/2013 8:14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0</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8/2013 8:1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759199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8/2013 8:14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8/2013 8:13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System Center Marketing</a:t>
            </a:r>
            <a:endParaRPr lang="en-US" dirty="0" smtClean="0">
              <a:solidFill>
                <a:prstClr val="black"/>
              </a:solidFill>
            </a:endParaRPr>
          </a:p>
        </p:txBody>
      </p:sp>
      <p:sp>
        <p:nvSpPr>
          <p:cNvPr id="5" name="Footer Placeholder 4"/>
          <p:cNvSpPr>
            <a:spLocks noGrp="1"/>
          </p:cNvSpPr>
          <p:nvPr>
            <p:ph type="ftr" sz="quarter" idx="11"/>
          </p:nvPr>
        </p:nvSpPr>
        <p:spPr/>
        <p:txBody>
          <a:bodyPr/>
          <a:lstStyle/>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861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A4072DC-4D4A-44A6-9718-D6EFA394B02B}" type="datetime1">
              <a:rPr lang="en-US" smtClean="0">
                <a:solidFill>
                  <a:prstClr val="black"/>
                </a:solidFill>
              </a:rPr>
              <a:pPr/>
              <a:t>6/28/2013</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8766380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8/2013 8:1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31294418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2708786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40053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998659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gradFill>
                  <a:gsLst>
                    <a:gs pos="1250">
                      <a:prstClr val="black"/>
                    </a:gs>
                    <a:gs pos="100000">
                      <a:prstClr val="black"/>
                    </a:gs>
                  </a:gsLst>
                  <a:lin ang="5400000" scaled="0"/>
                </a:gradFill>
              </a:rPr>
              <a:t>TechEd 2013</a:t>
            </a:r>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8/2013 8:14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80390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4120051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5260309"/>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32427838"/>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933546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7010726"/>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8824427"/>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6216487"/>
      </p:ext>
    </p:extLst>
  </p:cSld>
  <p:clrMapOvr>
    <a:masterClrMapping/>
  </p:clrMapOvr>
  <p:transition>
    <p:fade/>
  </p:transition>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5726474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14022301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34994116"/>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09552" y="513797"/>
            <a:ext cx="11428171" cy="742628"/>
          </a:xfrm>
        </p:spPr>
        <p:txBody>
          <a:bodyPr vert="horz" lIns="0" tIns="0" rIns="0" bIns="0" rtlCol="0">
            <a:noAutofit/>
          </a:bodyPr>
          <a:lstStyle>
            <a:lvl1pPr>
              <a:defRPr lang="en-US" sz="4899" dirty="0" smtClean="0"/>
            </a:lvl1pPr>
          </a:lstStyle>
          <a:p>
            <a:pPr lvl="0"/>
            <a:r>
              <a:rPr lang="en-US" dirty="0" smtClean="0"/>
              <a:t>Click to edit Master text styles</a:t>
            </a:r>
          </a:p>
        </p:txBody>
      </p:sp>
    </p:spTree>
    <p:extLst>
      <p:ext uri="{BB962C8B-B14F-4D97-AF65-F5344CB8AC3E}">
        <p14:creationId xmlns:p14="http://schemas.microsoft.com/office/powerpoint/2010/main" val="246937681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41" y="482565"/>
            <a:ext cx="1646237" cy="351905"/>
          </a:xfrm>
          <a:prstGeom prst="rect">
            <a:avLst/>
          </a:prstGeom>
        </p:spPr>
      </p:pic>
    </p:spTree>
    <p:extLst>
      <p:ext uri="{BB962C8B-B14F-4D97-AF65-F5344CB8AC3E}">
        <p14:creationId xmlns:p14="http://schemas.microsoft.com/office/powerpoint/2010/main" val="61267146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7"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7"/>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5" y="2125678"/>
            <a:ext cx="9143936" cy="1828786"/>
          </a:xfrm>
          <a:noFill/>
        </p:spPr>
        <p:txBody>
          <a:bodyPr lIns="143378" tIns="89612" rIns="143378" bIns="89612" anchor="t" anchorCtr="0"/>
          <a:lstStyle>
            <a:lvl1pPr>
              <a:defRPr sz="601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79224" tIns="143378" rIns="179224" bIns="143378">
            <a:noAutofit/>
          </a:bodyPr>
          <a:lstStyle>
            <a:lvl1pPr marL="0" indent="0">
              <a:spcBef>
                <a:spcPts val="0"/>
              </a:spcBef>
              <a:buNone/>
              <a:defRPr sz="357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4" y="518291"/>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8" y="6208329"/>
            <a:ext cx="1552930"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17"/>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grpSp>
        <p:nvGrpSpPr>
          <p:cNvPr id="98" name="Group 97"/>
          <p:cNvGrpSpPr/>
          <p:nvPr userDrawn="1"/>
        </p:nvGrpSpPr>
        <p:grpSpPr>
          <a:xfrm>
            <a:off x="18853153" y="195739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spTree>
    <p:extLst>
      <p:ext uri="{BB962C8B-B14F-4D97-AF65-F5344CB8AC3E}">
        <p14:creationId xmlns:p14="http://schemas.microsoft.com/office/powerpoint/2010/main" val="37436123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7"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7"/>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5" y="2125678"/>
            <a:ext cx="9143936" cy="1828786"/>
          </a:xfrm>
          <a:noFill/>
        </p:spPr>
        <p:txBody>
          <a:bodyPr lIns="143378" tIns="89612" rIns="143378" bIns="89612" anchor="t" anchorCtr="0"/>
          <a:lstStyle>
            <a:lvl1pPr>
              <a:defRPr sz="6017"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79224" tIns="143378" rIns="179224" bIns="143378">
            <a:noAutofit/>
          </a:bodyPr>
          <a:lstStyle>
            <a:lvl1pPr marL="0" indent="0">
              <a:spcBef>
                <a:spcPts val="0"/>
              </a:spcBef>
              <a:buNone/>
              <a:defRPr sz="357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4" y="518291"/>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8" y="6208329"/>
            <a:ext cx="1552930"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17"/>
            </a:lvl1pPr>
          </a:lstStyle>
          <a:p>
            <a:pPr lvl="0"/>
            <a:r>
              <a:rPr lang="en-US" dirty="0" smtClean="0"/>
              <a:t>Session code</a:t>
            </a:r>
            <a:endParaRPr lang="en-US" dirty="0"/>
          </a:p>
        </p:txBody>
      </p:sp>
      <p:grpSp>
        <p:nvGrpSpPr>
          <p:cNvPr id="98" name="Group 97"/>
          <p:cNvGrpSpPr/>
          <p:nvPr userDrawn="1"/>
        </p:nvGrpSpPr>
        <p:grpSpPr>
          <a:xfrm>
            <a:off x="7136680" y="4110835"/>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285"/>
              <a:endParaRPr lang="en-US" sz="1836">
                <a:solidFill>
                  <a:srgbClr val="FFFFFF"/>
                </a:solidFill>
              </a:endParaRPr>
            </a:p>
          </p:txBody>
        </p:sp>
      </p:grpSp>
    </p:spTree>
    <p:extLst>
      <p:ext uri="{BB962C8B-B14F-4D97-AF65-F5344CB8AC3E}">
        <p14:creationId xmlns:p14="http://schemas.microsoft.com/office/powerpoint/2010/main" val="17109229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32" tIns="109676" rIns="146232" bIns="109676"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5" y="1211287"/>
            <a:ext cx="10056812" cy="2751698"/>
          </a:xfrm>
          <a:noFill/>
        </p:spPr>
        <p:txBody>
          <a:bodyPr tIns="89612" bIns="89612" anchor="t" anchorCtr="0"/>
          <a:lstStyle>
            <a:lvl1pPr>
              <a:defRPr sz="7241"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1"/>
            <a:ext cx="10058401" cy="1829593"/>
          </a:xfrm>
          <a:noFill/>
        </p:spPr>
        <p:txBody>
          <a:bodyPr lIns="179224" tIns="143378" rIns="179224" bIns="143378">
            <a:noAutofit/>
          </a:bodyPr>
          <a:lstStyle>
            <a:lvl1pPr marL="0" indent="0">
              <a:spcBef>
                <a:spcPts val="0"/>
              </a:spcBef>
              <a:buNone/>
              <a:defRPr sz="357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753691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3"/>
            <a:ext cx="10056812" cy="2751698"/>
          </a:xfrm>
          <a:noFill/>
        </p:spPr>
        <p:txBody>
          <a:bodyPr tIns="89612" bIns="89612" anchor="t" anchorCtr="0"/>
          <a:lstStyle>
            <a:lvl1pPr>
              <a:defRPr sz="7241"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41" y="3954461"/>
            <a:ext cx="10058401" cy="1829593"/>
          </a:xfrm>
          <a:noFill/>
        </p:spPr>
        <p:txBody>
          <a:bodyPr lIns="179224" tIns="143378" rIns="179224" bIns="143378">
            <a:noAutofit/>
          </a:bodyPr>
          <a:lstStyle>
            <a:lvl1pPr marL="0" indent="0">
              <a:spcBef>
                <a:spcPts val="0"/>
              </a:spcBef>
              <a:buNone/>
              <a:defRPr sz="357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449844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92" tIns="146232" rIns="182792" bIns="146232" numCol="1" spcCol="0" rtlCol="0" fromWordArt="0" anchor="t" anchorCtr="0" forceAA="0" compatLnSpc="1">
            <a:prstTxWarp prst="textNoShape">
              <a:avLst/>
            </a:prstTxWarp>
            <a:noAutofit/>
          </a:bodyPr>
          <a:lstStyle/>
          <a:p>
            <a:pPr algn="ctr" defTabSz="932016"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5" y="1211287"/>
            <a:ext cx="10056812" cy="2751698"/>
          </a:xfrm>
          <a:noFill/>
        </p:spPr>
        <p:txBody>
          <a:bodyPr tIns="89612" bIns="89612" anchor="t" anchorCtr="0"/>
          <a:lstStyle>
            <a:lvl1pPr>
              <a:defRPr sz="7241"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46592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09973"/>
            <a:ext cx="10056812" cy="2751698"/>
          </a:xfrm>
          <a:noFill/>
        </p:spPr>
        <p:txBody>
          <a:bodyPr tIns="89612" bIns="89612" anchor="t" anchorCtr="0"/>
          <a:lstStyle>
            <a:lvl1pPr>
              <a:defRPr sz="7241"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536169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180271556"/>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92087820"/>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6"/>
            <a:ext cx="11887200" cy="1831975"/>
          </a:xfrm>
          <a:noFill/>
        </p:spPr>
        <p:txBody>
          <a:bodyPr tIns="89612" bIns="89612" anchor="t" anchorCtr="0"/>
          <a:lstStyle>
            <a:lvl1pPr>
              <a:defRPr sz="8771"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14523669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40"/>
            </a:lvl2pPr>
            <a:lvl3pPr marL="228488" indent="0">
              <a:buNone/>
              <a:defRPr sz="2040"/>
            </a:lvl3pPr>
            <a:lvl4pPr marL="456975" indent="0">
              <a:buNone/>
              <a:defRPr sz="1836"/>
            </a:lvl4pPr>
            <a:lvl5pPr marL="685464" indent="0">
              <a:buNone/>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31702761"/>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40"/>
            <a:ext cx="11887200" cy="22548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344515"/>
      </p:ext>
    </p:extLst>
  </p:cSld>
  <p:clrMapOvr>
    <a:masterClrMapping/>
  </p:clrMapOvr>
  <p:transition>
    <p:fade/>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661" indent="0">
              <a:buNone/>
              <a:tabLst/>
              <a:defRPr sz="2040"/>
            </a:lvl3pPr>
            <a:lvl4pPr marL="460148" indent="0">
              <a:buNone/>
              <a:defRPr sz="1836"/>
            </a:lvl4pPr>
            <a:lvl5pPr marL="685464" indent="0">
              <a:buNone/>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468368"/>
          </a:xfrm>
        </p:spPr>
        <p:txBody>
          <a:bodyPr wrap="square">
            <a:spAutoFit/>
          </a:bodyPr>
          <a:lstStyle>
            <a:lvl1pPr marL="0" indent="0">
              <a:spcBef>
                <a:spcPts val="1224"/>
              </a:spcBef>
              <a:buClr>
                <a:schemeClr val="tx1"/>
              </a:buClr>
              <a:buFont typeface="Wingdings" pitchFamily="2" charset="2"/>
              <a:buNone/>
              <a:defRPr sz="3570"/>
            </a:lvl1pPr>
            <a:lvl2pPr marL="0" indent="0">
              <a:buNone/>
              <a:defRPr sz="2040"/>
            </a:lvl2pPr>
            <a:lvl3pPr marL="231661" indent="0">
              <a:buNone/>
              <a:tabLst/>
              <a:defRPr sz="2040"/>
            </a:lvl3pPr>
            <a:lvl4pPr marL="460148" indent="0">
              <a:buNone/>
              <a:defRPr sz="1836"/>
            </a:lvl4pPr>
            <a:lvl5pPr marL="685464" indent="0">
              <a:buNone/>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7852969"/>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52"/>
            <a:ext cx="5486399" cy="2536079"/>
          </a:xfrm>
        </p:spPr>
        <p:txBody>
          <a:bodyPr wrap="square">
            <a:spAutoFit/>
          </a:bodyPr>
          <a:lstStyle>
            <a:lvl1pPr marL="287198" indent="-287198">
              <a:spcBef>
                <a:spcPts val="1224"/>
              </a:spcBef>
              <a:buClr>
                <a:schemeClr val="tx1"/>
              </a:buClr>
              <a:buFont typeface="Arial" pitchFamily="34" charset="0"/>
              <a:buChar char="•"/>
              <a:defRPr sz="3570"/>
            </a:lvl1pPr>
            <a:lvl2pPr marL="530906" indent="-233081">
              <a:defRPr sz="2040"/>
            </a:lvl2pPr>
            <a:lvl3pPr marL="699242" indent="-168337">
              <a:tabLst/>
              <a:defRPr sz="2040"/>
            </a:lvl3pPr>
            <a:lvl4pPr marL="880527" indent="-181285">
              <a:defRPr sz="1836"/>
            </a:lvl4pPr>
            <a:lvl5pPr marL="1048862" indent="-168337">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52"/>
            <a:ext cx="5486399" cy="2536079"/>
          </a:xfrm>
        </p:spPr>
        <p:txBody>
          <a:bodyPr wrap="square">
            <a:spAutoFit/>
          </a:bodyPr>
          <a:lstStyle>
            <a:lvl1pPr marL="287198" indent="-287198">
              <a:spcBef>
                <a:spcPts val="1224"/>
              </a:spcBef>
              <a:buClr>
                <a:schemeClr val="tx1"/>
              </a:buClr>
              <a:buFont typeface="Arial" pitchFamily="34" charset="0"/>
              <a:buChar char="•"/>
              <a:defRPr sz="3570"/>
            </a:lvl1pPr>
            <a:lvl2pPr marL="530906" indent="-233081">
              <a:defRPr sz="2040"/>
            </a:lvl2pPr>
            <a:lvl3pPr marL="699242" indent="-168337">
              <a:tabLst/>
              <a:defRPr sz="2040"/>
            </a:lvl3pPr>
            <a:lvl4pPr marL="880527" indent="-181285">
              <a:defRPr sz="1836"/>
            </a:lvl4pPr>
            <a:lvl5pPr marL="1048862" indent="-168337">
              <a:tabLst/>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391238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2" y="1212849"/>
            <a:ext cx="5486399" cy="2671501"/>
          </a:xfrm>
        </p:spPr>
        <p:txBody>
          <a:bodyPr wrap="square">
            <a:spAutoFit/>
          </a:bodyPr>
          <a:lstStyle>
            <a:lvl1pPr marL="287198" indent="-287198">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0906" indent="-233081">
              <a:defRPr sz="2448"/>
            </a:lvl2pPr>
            <a:lvl3pPr marL="699242" indent="-168337">
              <a:tabLst/>
              <a:defRPr sz="2448"/>
            </a:lvl3pPr>
            <a:lvl4pPr marL="880527" indent="-181285">
              <a:defRPr/>
            </a:lvl4pPr>
            <a:lvl5pPr marL="1048862" indent="-16833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42" y="1212849"/>
            <a:ext cx="5486399" cy="2671501"/>
          </a:xfrm>
        </p:spPr>
        <p:txBody>
          <a:bodyPr wrap="square">
            <a:spAutoFit/>
          </a:bodyPr>
          <a:lstStyle>
            <a:lvl1pPr marL="287198" indent="-287198">
              <a:spcBef>
                <a:spcPts val="1224"/>
              </a:spcBef>
              <a:buClr>
                <a:schemeClr val="tx2"/>
              </a:buClr>
              <a:buFont typeface="Arial" pitchFamily="34" charset="0"/>
              <a:buChar char="•"/>
              <a:defRPr sz="3570">
                <a:gradFill>
                  <a:gsLst>
                    <a:gs pos="1250">
                      <a:schemeClr val="tx2"/>
                    </a:gs>
                    <a:gs pos="99000">
                      <a:schemeClr val="tx2"/>
                    </a:gs>
                  </a:gsLst>
                  <a:lin ang="5400000" scaled="0"/>
                </a:gradFill>
              </a:defRPr>
            </a:lvl1pPr>
            <a:lvl2pPr marL="530906" indent="-233081">
              <a:defRPr sz="2448"/>
            </a:lvl2pPr>
            <a:lvl3pPr marL="699242" indent="-168337">
              <a:tabLst/>
              <a:defRPr sz="2448"/>
            </a:lvl3pPr>
            <a:lvl4pPr marL="880527" indent="-181285">
              <a:defRPr/>
            </a:lvl4pPr>
            <a:lvl5pPr marL="1048862" indent="-16833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9860124"/>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3814377"/>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9732283"/>
      </p:ext>
    </p:extLst>
  </p:cSld>
  <p:clrMapOvr>
    <a:masterClrMapping/>
  </p:clrMapOvr>
  <p:transition>
    <p:fad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036769"/>
      </p:ext>
    </p:extLst>
  </p:cSld>
  <p:clrMapOvr>
    <a:masterClrMapping/>
  </p:clrMapOvr>
  <p:transition>
    <p:fad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692342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617192"/>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4"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18" tIns="46618" rIns="46618" bIns="46618" numCol="1" spcCol="0" rtlCol="0" fromWordArt="0" anchor="ctr" anchorCtr="0" forceAA="0" compatLnSpc="1">
            <a:prstTxWarp prst="textNoShape">
              <a:avLst/>
            </a:prstTxWarp>
            <a:noAutofit/>
          </a:bodyPr>
          <a:lstStyle/>
          <a:p>
            <a:pPr algn="ctr" defTabSz="932016"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41" y="1216155"/>
            <a:ext cx="11887199" cy="2155926"/>
          </a:xfrm>
        </p:spPr>
        <p:txBody>
          <a:bodyPr/>
          <a:lstStyle>
            <a:lvl1pPr marL="0" indent="0">
              <a:buNone/>
              <a:defRPr sz="326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8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32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16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48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38171308"/>
      </p:ext>
    </p:extLst>
  </p:cSld>
  <p:clrMapOvr>
    <a:masterClrMapping/>
  </p:clrMapOvr>
  <p:transition>
    <p:fade/>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3"/>
            <a:ext cx="11887200" cy="2443746"/>
          </a:xfrm>
          <a:prstGeom prst="rect">
            <a:avLst/>
          </a:prstGeom>
        </p:spPr>
        <p:txBody>
          <a:bodyPr/>
          <a:lstStyle>
            <a:lvl1pPr marL="290371" indent="-290371">
              <a:buClr>
                <a:schemeClr val="tx1"/>
              </a:buClr>
              <a:buSzPct val="90000"/>
              <a:buFont typeface="Arial" pitchFamily="34" charset="0"/>
              <a:buChar char="•"/>
              <a:defRPr sz="357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20" indent="-280850">
              <a:buClr>
                <a:schemeClr val="tx1"/>
              </a:buClr>
              <a:buSzPct val="90000"/>
              <a:buFont typeface="Arial" pitchFamily="34" charset="0"/>
              <a:buChar char="•"/>
              <a:defRPr sz="3162">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590" indent="-290371">
              <a:buClr>
                <a:schemeClr val="tx1"/>
              </a:buClr>
              <a:buSzPct val="90000"/>
              <a:buFont typeface="Arial" pitchFamily="34" charset="0"/>
              <a:buChar char="•"/>
              <a:defRPr sz="275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078" indent="-228488">
              <a:buClr>
                <a:schemeClr val="tx1"/>
              </a:buClr>
              <a:buSzPct val="90000"/>
              <a:buFont typeface="Arial" pitchFamily="34" charset="0"/>
              <a:buChar char="•"/>
              <a:defRPr sz="2448">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568" indent="-228488">
              <a:buClr>
                <a:schemeClr val="tx1"/>
              </a:buClr>
              <a:buSzPct val="90000"/>
              <a:buFont typeface="Arial" pitchFamily="34" charset="0"/>
              <a:buChar char="•"/>
              <a:defRPr sz="204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50" tIns="76174" rIns="152350" bIns="76174"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168524544"/>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2569642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7159520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619367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576271041"/>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8655667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1323236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79091022"/>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50765191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4260326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3169430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74512070"/>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35317304"/>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365473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729549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3958773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2" y="1803681"/>
            <a:ext cx="11456577" cy="1569126"/>
          </a:xfrm>
        </p:spPr>
        <p:txBody>
          <a:bodyPr/>
          <a:lstStyle>
            <a:lvl1pPr marL="0" indent="0">
              <a:buNone/>
              <a:defRPr lang="en-US" sz="8975"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1"/>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60704030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5121"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5121"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5121"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8363512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4"/>
            <a:ext cx="11378776" cy="1195712"/>
          </a:xfrm>
        </p:spPr>
        <p:txBody>
          <a:bodyPr anchor="b" anchorCtr="0">
            <a:spAutoFit/>
          </a:bodyPr>
          <a:lstStyle>
            <a:lvl1pPr>
              <a:defRPr sz="7198"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199"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970353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198"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199"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22705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3"/>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4"/>
            <a:ext cx="11375536" cy="2237536"/>
          </a:xfrm>
          <a:prstGeom prst="rect">
            <a:avLst/>
          </a:prstGeom>
        </p:spPr>
        <p:txBody>
          <a:bodyPr>
            <a:spAutoFit/>
          </a:bodyPr>
          <a:lstStyle>
            <a:lvl1pPr marL="289819" indent="-289819">
              <a:buFont typeface="Wingdings" pitchFamily="2" charset="2"/>
              <a:buChar char=""/>
              <a:defRPr sz="3999"/>
            </a:lvl1pPr>
            <a:lvl2pPr marL="527826" indent="-238008">
              <a:buFont typeface="Wingdings" pitchFamily="2" charset="2"/>
              <a:buChar char=""/>
              <a:defRPr sz="2400" spc="-51" baseline="0">
                <a:latin typeface="+mn-lt"/>
              </a:defRPr>
            </a:lvl2pPr>
            <a:lvl3pPr marL="756119" indent="-228293">
              <a:buFont typeface="Wingdings" pitchFamily="2" charset="2"/>
              <a:buChar char=""/>
              <a:tabLst/>
              <a:defRPr sz="2000" spc="-51" baseline="0">
                <a:latin typeface="+mn-lt"/>
              </a:defRPr>
            </a:lvl3pPr>
            <a:lvl4pPr marL="932600" indent="-176482">
              <a:buFont typeface="Wingdings" pitchFamily="2" charset="2"/>
              <a:buChar char=""/>
              <a:defRPr sz="1800" spc="-51" baseline="0">
                <a:latin typeface="+mn-lt"/>
              </a:defRPr>
            </a:lvl4pPr>
            <a:lvl5pPr marL="1109083" indent="-176482">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0971001"/>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388" indent="0">
              <a:buNone/>
              <a:defRPr sz="2000" spc="-51" baseline="0">
                <a:gradFill>
                  <a:gsLst>
                    <a:gs pos="100000">
                      <a:schemeClr val="tx1"/>
                    </a:gs>
                    <a:gs pos="6000">
                      <a:schemeClr val="tx1"/>
                    </a:gs>
                  </a:gsLst>
                  <a:lin ang="5400000" scaled="0"/>
                </a:gradFill>
              </a:defRPr>
            </a:lvl3pPr>
            <a:lvl4pPr marL="466300" indent="0">
              <a:buNone/>
              <a:defRPr sz="1800" spc="-51" baseline="0">
                <a:gradFill>
                  <a:gsLst>
                    <a:gs pos="100000">
                      <a:schemeClr val="tx1"/>
                    </a:gs>
                    <a:gs pos="6000">
                      <a:schemeClr val="tx1"/>
                    </a:gs>
                  </a:gsLst>
                  <a:lin ang="5400000" scaled="0"/>
                </a:gradFill>
              </a:defRPr>
            </a:lvl4pPr>
            <a:lvl5pPr marL="707546"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07778250"/>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4"/>
            <a:ext cx="11375536" cy="2135969"/>
          </a:xfrm>
          <a:prstGeom prst="rect">
            <a:avLst/>
          </a:prstGeom>
        </p:spPr>
        <p:txBody>
          <a:bodyPr>
            <a:spAutoFit/>
          </a:bodyPr>
          <a:lstStyle>
            <a:lvl1pPr marL="0" indent="0">
              <a:spcBef>
                <a:spcPts val="2448"/>
              </a:spcBef>
              <a:buNone/>
              <a:defRPr sz="3999">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388" indent="0">
              <a:buNone/>
              <a:defRPr sz="2000" spc="-51" baseline="0">
                <a:gradFill>
                  <a:gsLst>
                    <a:gs pos="100000">
                      <a:schemeClr val="tx1"/>
                    </a:gs>
                    <a:gs pos="0">
                      <a:schemeClr val="tx1"/>
                    </a:gs>
                  </a:gsLst>
                  <a:lin ang="5400000" scaled="0"/>
                </a:gradFill>
              </a:defRPr>
            </a:lvl3pPr>
            <a:lvl4pPr marL="466300" indent="0">
              <a:buNone/>
              <a:defRPr sz="1800" spc="-51" baseline="0">
                <a:gradFill>
                  <a:gsLst>
                    <a:gs pos="100000">
                      <a:schemeClr val="tx1"/>
                    </a:gs>
                    <a:gs pos="0">
                      <a:schemeClr val="tx1"/>
                    </a:gs>
                  </a:gsLst>
                  <a:lin ang="5400000" scaled="0"/>
                </a:gradFill>
              </a:defRPr>
            </a:lvl4pPr>
            <a:lvl5pPr marL="707546"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4021028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9" y="1211264"/>
            <a:ext cx="5477313" cy="2757678"/>
          </a:xfrm>
        </p:spPr>
        <p:txBody>
          <a:bodyPr wrap="square">
            <a:spAutoFit/>
          </a:bodyPr>
          <a:lstStyle>
            <a:lvl1pPr marL="297914" indent="-297914">
              <a:spcBef>
                <a:spcPts val="1224"/>
              </a:spcBef>
              <a:buClr>
                <a:schemeClr val="tx1"/>
              </a:buClr>
              <a:buFont typeface="Wingdings" pitchFamily="2" charset="2"/>
              <a:buChar char=""/>
              <a:defRPr/>
            </a:lvl1pPr>
            <a:lvl2pPr marL="531064" indent="-233150">
              <a:defRPr sz="2400" spc="-51" baseline="0"/>
            </a:lvl2pPr>
            <a:lvl3pPr marL="699450" indent="-168387">
              <a:tabLst/>
              <a:defRPr sz="2000" spc="-51" baseline="0"/>
            </a:lvl3pPr>
            <a:lvl4pPr marL="880789" indent="-181339">
              <a:defRPr sz="1800" spc="-51" baseline="0"/>
            </a:lvl4pPr>
            <a:lvl5pPr marL="1049175" indent="-168387">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2" y="1211264"/>
            <a:ext cx="5495487" cy="2812315"/>
          </a:xfrm>
        </p:spPr>
        <p:txBody>
          <a:bodyPr wrap="square">
            <a:spAutoFit/>
          </a:bodyPr>
          <a:lstStyle>
            <a:lvl1pPr marL="346487" indent="-346487">
              <a:spcBef>
                <a:spcPts val="1224"/>
              </a:spcBef>
              <a:buFont typeface="Wingdings" pitchFamily="2" charset="2"/>
              <a:buChar char=""/>
              <a:defRPr lang="en-US" sz="3999" kern="1200" spc="-71" baseline="0" dirty="0" smtClean="0">
                <a:gradFill>
                  <a:gsLst>
                    <a:gs pos="1250">
                      <a:schemeClr val="tx1"/>
                    </a:gs>
                    <a:gs pos="100000">
                      <a:schemeClr val="tx1"/>
                    </a:gs>
                  </a:gsLst>
                  <a:lin ang="5400000" scaled="0"/>
                </a:gradFill>
                <a:latin typeface="+mj-lt"/>
                <a:ea typeface="+mn-ea"/>
                <a:cs typeface="+mn-cs"/>
              </a:defRPr>
            </a:lvl1pPr>
            <a:lvl2pPr marL="647640" indent="-349725">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789" indent="-349725">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175" indent="-349725">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514" indent="-349725">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14" marR="0" lvl="0" indent="-297914" algn="l" defTabSz="932563"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064" marR="0" lvl="1" indent="-233150"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450" marR="0" lvl="2"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789" marR="0" lvl="3" indent="-181339"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175" marR="0" lvl="4" indent="-168387" algn="l" defTabSz="932563"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11413642"/>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4"/>
            <a:ext cx="5486400" cy="2751522"/>
          </a:xfrm>
        </p:spPr>
        <p:txBody>
          <a:bodyPr>
            <a:spAutoFit/>
          </a:bodyPr>
          <a:lstStyle>
            <a:lvl1pPr marL="0" indent="0">
              <a:spcBef>
                <a:spcPts val="1224"/>
              </a:spcBef>
              <a:buNone/>
              <a:defRPr sz="3999">
                <a:gradFill>
                  <a:gsLst>
                    <a:gs pos="100000">
                      <a:schemeClr val="tx2"/>
                    </a:gs>
                    <a:gs pos="0">
                      <a:schemeClr val="tx2"/>
                    </a:gs>
                  </a:gsLst>
                  <a:lin ang="5400000" scaled="0"/>
                </a:gradFill>
                <a:latin typeface="+mj-lt"/>
              </a:defRPr>
            </a:lvl1pPr>
            <a:lvl2pPr marL="0" indent="0">
              <a:buNone/>
              <a:defRPr sz="2000" spc="-51" baseline="0"/>
            </a:lvl2pPr>
            <a:lvl3pPr marL="238008" indent="0">
              <a:buNone/>
              <a:defRPr sz="2000" spc="-51" baseline="0"/>
            </a:lvl3pPr>
            <a:lvl4pPr marL="466300" indent="0">
              <a:buNone/>
              <a:defRPr sz="1800" spc="-51" baseline="0"/>
            </a:lvl4pPr>
            <a:lvl5pPr marL="707546"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70901991"/>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3999">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08" indent="0">
              <a:buNone/>
              <a:defRPr sz="2000" spc="-51" baseline="0">
                <a:gradFill>
                  <a:gsLst>
                    <a:gs pos="1000">
                      <a:schemeClr val="tx1"/>
                    </a:gs>
                    <a:gs pos="98000">
                      <a:schemeClr val="tx1"/>
                    </a:gs>
                  </a:gsLst>
                  <a:lin ang="5400000" scaled="0"/>
                </a:gradFill>
              </a:defRPr>
            </a:lvl3pPr>
            <a:lvl4pPr marL="466300" indent="0">
              <a:buNone/>
              <a:defRPr sz="1800" spc="-51" baseline="0">
                <a:gradFill>
                  <a:gsLst>
                    <a:gs pos="1000">
                      <a:schemeClr val="tx1"/>
                    </a:gs>
                    <a:gs pos="98000">
                      <a:schemeClr val="tx1"/>
                    </a:gs>
                  </a:gsLst>
                  <a:lin ang="5400000" scaled="0"/>
                </a:gradFill>
              </a:defRPr>
            </a:lvl4pPr>
            <a:lvl5pPr marL="707546"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4"/>
            <a:ext cx="5504574" cy="2743256"/>
          </a:xfrm>
        </p:spPr>
        <p:txBody>
          <a:bodyPr>
            <a:spAutoFit/>
          </a:bodyPr>
          <a:lstStyle>
            <a:lvl1pPr marL="0" indent="0">
              <a:spcBef>
                <a:spcPts val="1224"/>
              </a:spcBef>
              <a:buNone/>
              <a:defRPr lang="en-US" sz="3999" kern="1200" spc="-71" baseline="0" dirty="0" smtClean="0">
                <a:gradFill>
                  <a:gsLst>
                    <a:gs pos="1000">
                      <a:schemeClr val="tx1"/>
                    </a:gs>
                    <a:gs pos="98000">
                      <a:schemeClr val="tx1"/>
                    </a:gs>
                  </a:gsLst>
                  <a:lin ang="5400000" scaled="0"/>
                </a:gradFill>
                <a:latin typeface="+mj-lt"/>
                <a:ea typeface="+mn-ea"/>
                <a:cs typeface="+mn-cs"/>
              </a:defRPr>
            </a:lvl1pPr>
            <a:lvl2pPr marL="323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08"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53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069" marR="0" indent="0" algn="l" defTabSz="932563"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563"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15333309"/>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9949021"/>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295611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4"/>
            <a:ext cx="11378776" cy="2512996"/>
          </a:xfrm>
        </p:spPr>
        <p:txBody>
          <a:bodyPr>
            <a:spAutoFit/>
          </a:bodyPr>
          <a:lstStyle>
            <a:lvl1pPr marL="0" indent="0">
              <a:buNone/>
              <a:defRPr sz="3299">
                <a:gradFill>
                  <a:gsLst>
                    <a:gs pos="1250">
                      <a:schemeClr val="tx1"/>
                    </a:gs>
                    <a:gs pos="100000">
                      <a:schemeClr val="tx1"/>
                    </a:gs>
                  </a:gsLst>
                  <a:lin ang="5400000" scaled="0"/>
                </a:gradFill>
                <a:latin typeface="Consolas" pitchFamily="49" charset="0"/>
                <a:cs typeface="Consolas" pitchFamily="49" charset="0"/>
              </a:defRPr>
            </a:lvl1pPr>
            <a:lvl2pPr marL="346487" indent="0">
              <a:buNone/>
              <a:defRPr>
                <a:gradFill>
                  <a:gsLst>
                    <a:gs pos="1250">
                      <a:schemeClr val="tx1"/>
                    </a:gs>
                    <a:gs pos="100000">
                      <a:schemeClr val="tx1"/>
                    </a:gs>
                  </a:gsLst>
                  <a:lin ang="5400000" scaled="0"/>
                </a:gradFill>
                <a:latin typeface="Consolas" pitchFamily="49" charset="0"/>
                <a:cs typeface="Consolas" pitchFamily="49" charset="0"/>
              </a:defRPr>
            </a:lvl2pPr>
            <a:lvl3pPr marL="584494" indent="0">
              <a:buNone/>
              <a:defRPr>
                <a:gradFill>
                  <a:gsLst>
                    <a:gs pos="1250">
                      <a:schemeClr val="tx1"/>
                    </a:gs>
                    <a:gs pos="100000">
                      <a:schemeClr val="tx1"/>
                    </a:gs>
                  </a:gsLst>
                  <a:lin ang="5400000" scaled="0"/>
                </a:gradFill>
                <a:latin typeface="Consolas" pitchFamily="49" charset="0"/>
                <a:cs typeface="Consolas" pitchFamily="49" charset="0"/>
              </a:defRPr>
            </a:lvl3pPr>
            <a:lvl4pPr marL="814406" indent="0">
              <a:buNone/>
              <a:defRPr>
                <a:gradFill>
                  <a:gsLst>
                    <a:gs pos="1250">
                      <a:schemeClr val="tx1"/>
                    </a:gs>
                    <a:gs pos="100000">
                      <a:schemeClr val="tx1"/>
                    </a:gs>
                  </a:gsLst>
                  <a:lin ang="5400000" scaled="0"/>
                </a:gradFill>
                <a:latin typeface="Consolas" pitchFamily="49" charset="0"/>
                <a:cs typeface="Consolas" pitchFamily="49" charset="0"/>
              </a:defRPr>
            </a:lvl4pPr>
            <a:lvl5pPr marL="1050795"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722433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3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4"/>
            <a:ext cx="11375536" cy="2554545"/>
          </a:xfrm>
          <a:prstGeom prst="rect">
            <a:avLst/>
          </a:prstGeom>
        </p:spPr>
        <p:txBody>
          <a:bodyPr>
            <a:spAutoFit/>
          </a:bodyPr>
          <a:lstStyle>
            <a:lvl1pPr marL="349725" indent="-349725">
              <a:buClr>
                <a:srgbClr val="FFFFFF"/>
              </a:buClr>
              <a:buSzPct val="90000"/>
              <a:buFont typeface="Arial" pitchFamily="34" charset="0"/>
              <a:buChar char="•"/>
              <a:defRPr sz="3599">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3" indent="-291438">
              <a:buClr>
                <a:srgbClr val="FFFFFF"/>
              </a:buClr>
              <a:buSzPct val="90000"/>
              <a:buFont typeface="Arial" pitchFamily="34" charset="0"/>
              <a:buChar char="•"/>
              <a:defRPr sz="3199">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600" indent="-291438">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50" indent="-233150">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900" indent="-233150">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16469562"/>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8823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82550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23183" y="1803681"/>
            <a:ext cx="11456577" cy="1569126"/>
          </a:xfrm>
        </p:spPr>
        <p:txBody>
          <a:bodyPr/>
          <a:lstStyle>
            <a:lvl1pPr marL="0" indent="0">
              <a:buNone/>
              <a:defRPr lang="en-US" sz="8973" i="0" kern="1200" spc="-102"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38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4" name="Text Placeholder 8"/>
          <p:cNvSpPr>
            <a:spLocks noGrp="1"/>
          </p:cNvSpPr>
          <p:nvPr>
            <p:ph type="body" sz="quarter" idx="11" hasCustomPrompt="1"/>
          </p:nvPr>
        </p:nvSpPr>
        <p:spPr>
          <a:xfrm>
            <a:off x="523181" y="3283252"/>
            <a:ext cx="7666298" cy="762459"/>
          </a:xfrm>
        </p:spPr>
        <p:txBody>
          <a:bodyPr/>
          <a:lstStyle>
            <a:lvl1pPr marL="0" indent="0">
              <a:buNone/>
              <a:defRPr lang="en-US" sz="3264" kern="1200" spc="-102"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32380"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spTree>
    <p:extLst>
      <p:ext uri="{BB962C8B-B14F-4D97-AF65-F5344CB8AC3E}">
        <p14:creationId xmlns:p14="http://schemas.microsoft.com/office/powerpoint/2010/main" val="385299369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smtClean="0"/>
              <a:t>Click to edit Master title style</a:t>
            </a:r>
            <a:endParaRPr lang="en-US" dirty="0"/>
          </a:p>
        </p:txBody>
      </p:sp>
    </p:spTree>
    <p:extLst>
      <p:ext uri="{BB962C8B-B14F-4D97-AF65-F5344CB8AC3E}">
        <p14:creationId xmlns:p14="http://schemas.microsoft.com/office/powerpoint/2010/main" val="572153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3"/>
            <a:ext cx="11400102" cy="2576154"/>
          </a:xfrm>
        </p:spPr>
        <p:txBody>
          <a:bodyPr/>
          <a:lstStyle>
            <a:lvl1pPr>
              <a:lnSpc>
                <a:spcPct val="90000"/>
              </a:lnSpc>
              <a:buSzPct val="100000"/>
              <a:buFont typeface="Arial" pitchFamily="34" charset="0"/>
              <a:buChar char="•"/>
              <a:defRPr>
                <a:solidFill>
                  <a:schemeClr val="bg1">
                    <a:lumMod val="75000"/>
                  </a:schemeClr>
                </a:solidFill>
              </a:defRPr>
            </a:lvl1pPr>
            <a:lvl2pPr algn="l" defTabSz="924943" rtl="0" eaLnBrk="1" latinLnBrk="0" hangingPunct="1">
              <a:lnSpc>
                <a:spcPct val="90000"/>
              </a:lnSpc>
              <a:spcBef>
                <a:spcPct val="20000"/>
              </a:spcBef>
              <a:buClr>
                <a:srgbClr val="777777"/>
              </a:buClr>
              <a:buSzPct val="100000"/>
              <a:buFont typeface="Segoe" pitchFamily="34" charset="0"/>
              <a:buChar char="−"/>
              <a:defRPr lang="en-US" sz="2856" kern="1200" dirty="0" smtClean="0">
                <a:solidFill>
                  <a:schemeClr val="bg1">
                    <a:lumMod val="75000"/>
                  </a:schemeClr>
                </a:solidFill>
                <a:latin typeface="+mn-lt"/>
                <a:ea typeface="+mn-ea"/>
                <a:cs typeface="+mn-cs"/>
              </a:defRPr>
            </a:lvl2pPr>
            <a:lvl3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3pPr>
            <a:lvl4pPr algn="l" defTabSz="924943" rtl="0" eaLnBrk="1" latinLnBrk="0" hangingPunct="1">
              <a:lnSpc>
                <a:spcPct val="90000"/>
              </a:lnSpc>
              <a:spcBef>
                <a:spcPct val="20000"/>
              </a:spcBef>
              <a:buClr>
                <a:srgbClr val="777777"/>
              </a:buClr>
              <a:buSzPct val="100000"/>
              <a:buFont typeface="Segoe" pitchFamily="34" charset="0"/>
              <a:buChar char="−"/>
              <a:defRPr lang="en-US" sz="2448" kern="1200" dirty="0" smtClean="0">
                <a:solidFill>
                  <a:schemeClr val="bg1">
                    <a:lumMod val="75000"/>
                  </a:schemeClr>
                </a:solidFill>
                <a:latin typeface="+mn-lt"/>
                <a:ea typeface="+mn-ea"/>
                <a:cs typeface="+mn-cs"/>
              </a:defRPr>
            </a:lvl4pPr>
            <a:lvl5pPr algn="l" defTabSz="924943" rtl="0" eaLnBrk="1" latinLnBrk="0" hangingPunct="1">
              <a:lnSpc>
                <a:spcPct val="90000"/>
              </a:lnSpc>
              <a:spcBef>
                <a:spcPct val="20000"/>
              </a:spcBef>
              <a:buClr>
                <a:srgbClr val="777777"/>
              </a:buClr>
              <a:buSzPct val="100000"/>
              <a:buFont typeface="Segoe" pitchFamily="34" charset="0"/>
              <a:buChar char="−"/>
              <a:defRPr lang="en-US" sz="2448" kern="1200" dirty="0">
                <a:solidFill>
                  <a:schemeClr val="bg1">
                    <a:lumMod val="75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327604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432296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28563171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98" name="Group 97"/>
          <p:cNvGrpSpPr/>
          <p:nvPr userDrawn="1"/>
        </p:nvGrpSpPr>
        <p:grpSpPr>
          <a:xfrm>
            <a:off x="18853151" y="1957389"/>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177320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9"/>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spTree>
    <p:extLst>
      <p:ext uri="{BB962C8B-B14F-4D97-AF65-F5344CB8AC3E}">
        <p14:creationId xmlns:p14="http://schemas.microsoft.com/office/powerpoint/2010/main" val="4190864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3429579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8003001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0485701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36886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8825241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895806262"/>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25254614"/>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0036016"/>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7400100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11424452"/>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906857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282" indent="-287282">
              <a:spcBef>
                <a:spcPts val="1224"/>
              </a:spcBef>
              <a:buClr>
                <a:schemeClr val="tx2"/>
              </a:buClr>
              <a:buFont typeface="Arial" pitchFamily="34" charset="0"/>
              <a:buChar char="•"/>
              <a:defRPr sz="3599">
                <a:gradFill>
                  <a:gsLst>
                    <a:gs pos="1250">
                      <a:schemeClr val="tx2"/>
                    </a:gs>
                    <a:gs pos="99000">
                      <a:schemeClr val="tx2"/>
                    </a:gs>
                  </a:gsLst>
                  <a:lin ang="5400000" scaled="0"/>
                </a:gradFill>
              </a:defRPr>
            </a:lvl1pPr>
            <a:lvl2pPr marL="531064" indent="-233150">
              <a:defRPr sz="2400"/>
            </a:lvl2pPr>
            <a:lvl3pPr marL="699450" indent="-168387">
              <a:tabLst/>
              <a:defRPr sz="2400"/>
            </a:lvl3pPr>
            <a:lvl4pPr marL="880789" indent="-181339">
              <a:defRPr/>
            </a:lvl4pPr>
            <a:lvl5pPr marL="1049175" indent="-168387">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6565673"/>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57629916"/>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107304"/>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9272010"/>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5748800"/>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0067488"/>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3"/>
            <a:ext cx="11887199" cy="2131353"/>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43531538"/>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56777757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2" y="1476625"/>
            <a:ext cx="5597871" cy="1940531"/>
          </a:xfrm>
        </p:spPr>
        <p:txBody>
          <a:bodyPr/>
          <a:lstStyle>
            <a:lvl1pPr marL="346713" indent="-346713">
              <a:lnSpc>
                <a:spcPct val="90000"/>
              </a:lnSpc>
              <a:defRPr sz="2900"/>
            </a:lvl1pPr>
            <a:lvl2pPr marL="686682" indent="-331873">
              <a:lnSpc>
                <a:spcPct val="90000"/>
              </a:lnSpc>
              <a:defRPr sz="2400"/>
            </a:lvl2pPr>
            <a:lvl3pPr marL="972686" indent="-294099">
              <a:lnSpc>
                <a:spcPct val="90000"/>
              </a:lnSpc>
              <a:defRPr sz="2000"/>
            </a:lvl3pPr>
            <a:lvl4pPr marL="1251946" indent="-279260">
              <a:lnSpc>
                <a:spcPct val="90000"/>
              </a:lnSpc>
              <a:defRPr sz="1800"/>
            </a:lvl4pPr>
            <a:lvl5pPr marL="1546045" indent="-286005">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7" y="1476625"/>
            <a:ext cx="5597871" cy="1940531"/>
          </a:xfrm>
        </p:spPr>
        <p:txBody>
          <a:bodyPr/>
          <a:lstStyle>
            <a:lvl1pPr marL="354809" indent="-354809">
              <a:lnSpc>
                <a:spcPct val="90000"/>
              </a:lnSpc>
              <a:defRPr sz="2900"/>
            </a:lvl1pPr>
            <a:lvl2pPr marL="686682" indent="-346713">
              <a:lnSpc>
                <a:spcPct val="90000"/>
              </a:lnSpc>
              <a:defRPr sz="2400"/>
            </a:lvl2pPr>
            <a:lvl3pPr marL="980781" indent="-308940">
              <a:lnSpc>
                <a:spcPct val="90000"/>
              </a:lnSpc>
              <a:defRPr sz="2000"/>
            </a:lvl3pPr>
            <a:lvl4pPr marL="1251946" indent="-271165">
              <a:lnSpc>
                <a:spcPct val="90000"/>
              </a:lnSpc>
              <a:defRPr sz="1800"/>
            </a:lvl4pPr>
            <a:lvl5pPr marL="1546045" indent="-279260">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1966518504"/>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07329" y="233153"/>
            <a:ext cx="11375536" cy="476742"/>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222830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3"/>
          <p:cNvSpPr txBox="1">
            <a:spLocks/>
          </p:cNvSpPr>
          <p:nvPr/>
        </p:nvSpPr>
        <p:spPr>
          <a:xfrm>
            <a:off x="309375" y="6482893"/>
            <a:ext cx="2900981" cy="372394"/>
          </a:xfrm>
          <a:prstGeom prst="rect">
            <a:avLst/>
          </a:prstGeom>
        </p:spPr>
        <p:txBody>
          <a:bodyPr vert="horz" lIns="93257" tIns="46628" rIns="93257" bIns="46628" rtlCol="0" anchor="ctr"/>
          <a:lstStyle>
            <a:lvl1pPr algn="l">
              <a:defRPr sz="1200">
                <a:solidFill>
                  <a:schemeClr val="tx1">
                    <a:tint val="75000"/>
                  </a:schemeClr>
                </a:solidFill>
              </a:defRPr>
            </a:lvl1pPr>
          </a:lstStyle>
          <a:p>
            <a:pPr defTabSz="932483">
              <a:defRPr/>
            </a:pPr>
            <a:fld id="{24516EDB-3C53-4793-B056-19F9B4AE913A}" type="slidenum">
              <a:rPr lang="en-US" sz="1199" smtClean="0">
                <a:solidFill>
                  <a:srgbClr val="292929">
                    <a:tint val="75000"/>
                  </a:srgbClr>
                </a:solidFill>
              </a:rPr>
              <a:pPr defTabSz="932483">
                <a:defRPr/>
              </a:pPr>
              <a:t>‹#›</a:t>
            </a:fld>
            <a:endParaRPr lang="en-US" sz="1199" dirty="0">
              <a:solidFill>
                <a:srgbClr val="292929">
                  <a:tint val="75000"/>
                </a:srgbClr>
              </a:solidFill>
            </a:endParaRPr>
          </a:p>
        </p:txBody>
      </p:sp>
    </p:spTree>
    <p:extLst>
      <p:ext uri="{BB962C8B-B14F-4D97-AF65-F5344CB8AC3E}">
        <p14:creationId xmlns:p14="http://schemas.microsoft.com/office/powerpoint/2010/main" val="70538167"/>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spTree>
    <p:extLst>
      <p:ext uri="{BB962C8B-B14F-4D97-AF65-F5344CB8AC3E}">
        <p14:creationId xmlns:p14="http://schemas.microsoft.com/office/powerpoint/2010/main" val="163202532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grpSp>
        <p:nvGrpSpPr>
          <p:cNvPr id="11" name="Group 10"/>
          <p:cNvGrpSpPr/>
          <p:nvPr userDrawn="1"/>
        </p:nvGrpSpPr>
        <p:grpSpPr>
          <a:xfrm>
            <a:off x="174171" y="281904"/>
            <a:ext cx="6405051" cy="3423895"/>
            <a:chOff x="174171" y="186653"/>
            <a:chExt cx="6405051" cy="3423896"/>
          </a:xfrm>
        </p:grpSpPr>
        <p:sp>
          <p:nvSpPr>
            <p:cNvPr id="7" name="TextBox 6"/>
            <p:cNvSpPr txBox="1"/>
            <p:nvPr userDrawn="1"/>
          </p:nvSpPr>
          <p:spPr>
            <a:xfrm>
              <a:off x="3409654" y="2351861"/>
              <a:ext cx="3169568"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6" name="TextBox 5"/>
            <p:cNvSpPr txBox="1"/>
            <p:nvPr userDrawn="1"/>
          </p:nvSpPr>
          <p:spPr>
            <a:xfrm>
              <a:off x="174171" y="186653"/>
              <a:ext cx="4338633" cy="1905133"/>
            </a:xfrm>
            <a:prstGeom prst="rect">
              <a:avLst/>
            </a:prstGeom>
            <a:noFill/>
          </p:spPr>
          <p:txBody>
            <a:bodyPr wrap="none" lIns="182880" tIns="146304" rIns="182880" bIns="146304" rtlCol="0">
              <a:spAutoFit/>
            </a:bodyPr>
            <a:lstStyle/>
            <a:p>
              <a:pPr defTabSz="932563">
                <a:lnSpc>
                  <a:spcPct val="9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9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9" name="Rectangle 8"/>
          <p:cNvSpPr/>
          <p:nvPr userDrawn="1"/>
        </p:nvSpPr>
        <p:spPr>
          <a:xfrm>
            <a:off x="2693486" y="1158855"/>
            <a:ext cx="1099146" cy="1255288"/>
          </a:xfrm>
          <a:prstGeom prst="rect">
            <a:avLst/>
          </a:prstGeom>
        </p:spPr>
        <p:txBody>
          <a:bodyPr wrap="none">
            <a:spAutoFit/>
          </a:bodyPr>
          <a:lstStyle/>
          <a:p>
            <a:pPr defTabSz="932563"/>
            <a:r>
              <a:rPr lang="en-US" sz="7398" spc="-100" dirty="0" smtClean="0">
                <a:gradFill>
                  <a:gsLst>
                    <a:gs pos="0">
                      <a:srgbClr val="94D600"/>
                    </a:gs>
                    <a:gs pos="100000">
                      <a:srgbClr val="94D600"/>
                    </a:gs>
                  </a:gsLst>
                  <a:lin ang="5400000" scaled="1"/>
                </a:gradFill>
              </a:rPr>
              <a:t>@</a:t>
            </a:r>
            <a:endParaRPr lang="en-US" sz="7398" dirty="0">
              <a:gradFill>
                <a:gsLst>
                  <a:gs pos="0">
                    <a:srgbClr val="94D600"/>
                  </a:gs>
                  <a:gs pos="100000">
                    <a:srgbClr val="94D600"/>
                  </a:gs>
                </a:gsLst>
                <a:lin ang="5400000" scaled="1"/>
              </a:gradFill>
            </a:endParaRPr>
          </a:p>
        </p:txBody>
      </p:sp>
    </p:spTree>
    <p:extLst>
      <p:ext uri="{BB962C8B-B14F-4D97-AF65-F5344CB8AC3E}">
        <p14:creationId xmlns:p14="http://schemas.microsoft.com/office/powerpoint/2010/main" val="31144407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8" y="482565"/>
            <a:ext cx="1646237" cy="351905"/>
          </a:xfrm>
          <a:prstGeom prst="rect">
            <a:avLst/>
          </a:prstGeom>
        </p:spPr>
      </p:pic>
      <p:grpSp>
        <p:nvGrpSpPr>
          <p:cNvPr id="11" name="Group 10"/>
          <p:cNvGrpSpPr/>
          <p:nvPr userDrawn="1"/>
        </p:nvGrpSpPr>
        <p:grpSpPr>
          <a:xfrm>
            <a:off x="351972" y="361278"/>
            <a:ext cx="4338632" cy="3208845"/>
            <a:chOff x="174171" y="186653"/>
            <a:chExt cx="4338633" cy="3040975"/>
          </a:xfrm>
        </p:grpSpPr>
        <p:sp>
          <p:nvSpPr>
            <p:cNvPr id="7" name="TextBox 6"/>
            <p:cNvSpPr txBox="1"/>
            <p:nvPr userDrawn="1"/>
          </p:nvSpPr>
          <p:spPr>
            <a:xfrm>
              <a:off x="1161754" y="2034788"/>
              <a:ext cx="3169568" cy="1192840"/>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6" name="TextBox 5"/>
            <p:cNvSpPr txBox="1"/>
            <p:nvPr userDrawn="1"/>
          </p:nvSpPr>
          <p:spPr>
            <a:xfrm>
              <a:off x="174171" y="186653"/>
              <a:ext cx="4338633" cy="1805466"/>
            </a:xfrm>
            <a:prstGeom prst="rect">
              <a:avLst/>
            </a:prstGeom>
            <a:noFill/>
          </p:spPr>
          <p:txBody>
            <a:bodyPr wrap="none" lIns="182880" tIns="146304" rIns="182880" bIns="146304" rtlCol="0">
              <a:spAutoFit/>
            </a:bodyPr>
            <a:lstStyle/>
            <a:p>
              <a:pPr defTabSz="932563">
                <a:lnSpc>
                  <a:spcPct val="9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9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9" name="Rectangle 8"/>
          <p:cNvSpPr/>
          <p:nvPr userDrawn="1"/>
        </p:nvSpPr>
        <p:spPr>
          <a:xfrm>
            <a:off x="351971" y="2095480"/>
            <a:ext cx="1099146" cy="1255288"/>
          </a:xfrm>
          <a:prstGeom prst="rect">
            <a:avLst/>
          </a:prstGeom>
        </p:spPr>
        <p:txBody>
          <a:bodyPr wrap="none">
            <a:spAutoFit/>
          </a:bodyPr>
          <a:lstStyle/>
          <a:p>
            <a:pPr defTabSz="932563"/>
            <a:r>
              <a:rPr lang="en-US" sz="7398" spc="-100" dirty="0" smtClean="0">
                <a:gradFill>
                  <a:gsLst>
                    <a:gs pos="0">
                      <a:srgbClr val="94D600"/>
                    </a:gs>
                    <a:gs pos="100000">
                      <a:srgbClr val="94D600"/>
                    </a:gs>
                  </a:gsLst>
                  <a:lin ang="5400000" scaled="1"/>
                </a:gradFill>
              </a:rPr>
              <a:t>@</a:t>
            </a:r>
            <a:endParaRPr lang="en-US" sz="7398" dirty="0">
              <a:gradFill>
                <a:gsLst>
                  <a:gs pos="0">
                    <a:srgbClr val="94D600"/>
                  </a:gs>
                  <a:gs pos="100000">
                    <a:srgbClr val="94D600"/>
                  </a:gs>
                </a:gsLst>
                <a:lin ang="5400000" scaled="1"/>
              </a:gradFill>
            </a:endParaRPr>
          </a:p>
        </p:txBody>
      </p:sp>
    </p:spTree>
    <p:extLst>
      <p:ext uri="{BB962C8B-B14F-4D97-AF65-F5344CB8AC3E}">
        <p14:creationId xmlns:p14="http://schemas.microsoft.com/office/powerpoint/2010/main" val="195059839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2" name="Group 1"/>
          <p:cNvGrpSpPr/>
          <p:nvPr userDrawn="1"/>
        </p:nvGrpSpPr>
        <p:grpSpPr>
          <a:xfrm>
            <a:off x="39512617" y="2314833"/>
            <a:ext cx="6562529" cy="2921540"/>
            <a:chOff x="12685031" y="1199613"/>
            <a:chExt cx="4305550" cy="2921540"/>
          </a:xfrm>
        </p:grpSpPr>
        <p:grpSp>
          <p:nvGrpSpPr>
            <p:cNvPr id="79" name="Group 78"/>
            <p:cNvGrpSpPr/>
            <p:nvPr userDrawn="1"/>
          </p:nvGrpSpPr>
          <p:grpSpPr>
            <a:xfrm>
              <a:off x="12685031" y="1199613"/>
              <a:ext cx="4305550" cy="2921540"/>
              <a:chOff x="174171" y="186653"/>
              <a:chExt cx="4305550" cy="2921540"/>
            </a:xfrm>
          </p:grpSpPr>
          <p:sp>
            <p:nvSpPr>
              <p:cNvPr id="80" name="TextBox 79"/>
              <p:cNvSpPr txBox="1"/>
              <p:nvPr userDrawn="1"/>
            </p:nvSpPr>
            <p:spPr>
              <a:xfrm>
                <a:off x="2400228" y="1849505"/>
                <a:ext cx="2079493"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81" name="TextBox 80"/>
              <p:cNvSpPr txBox="1"/>
              <p:nvPr userDrawn="1"/>
            </p:nvSpPr>
            <p:spPr>
              <a:xfrm>
                <a:off x="174171" y="186653"/>
                <a:ext cx="2846494" cy="1735625"/>
              </a:xfrm>
              <a:prstGeom prst="rect">
                <a:avLst/>
              </a:prstGeom>
              <a:noFill/>
            </p:spPr>
            <p:txBody>
              <a:bodyPr wrap="none" lIns="182880" tIns="146304" rIns="182880" bIns="146304" rtlCol="0">
                <a:spAutoFit/>
              </a:bodyPr>
              <a:lstStyle/>
              <a:p>
                <a:pPr defTabSz="932563">
                  <a:lnSpc>
                    <a:spcPct val="8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8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82" name="Rectangle 81"/>
            <p:cNvSpPr/>
            <p:nvPr userDrawn="1"/>
          </p:nvSpPr>
          <p:spPr>
            <a:xfrm>
              <a:off x="14313054" y="1847125"/>
              <a:ext cx="1196069" cy="1349459"/>
            </a:xfrm>
            <a:prstGeom prst="rect">
              <a:avLst/>
            </a:prstGeom>
          </p:spPr>
          <p:txBody>
            <a:bodyPr wrap="square">
              <a:spAutoFit/>
            </a:bodyPr>
            <a:lstStyle/>
            <a:p>
              <a:pPr defTabSz="932563"/>
              <a:r>
                <a:rPr lang="en-US" sz="7998" spc="-100" dirty="0" smtClean="0">
                  <a:gradFill>
                    <a:gsLst>
                      <a:gs pos="0">
                        <a:srgbClr val="94D600"/>
                      </a:gs>
                      <a:gs pos="100000">
                        <a:srgbClr val="94D600"/>
                      </a:gs>
                    </a:gsLst>
                    <a:lin ang="5400000" scaled="1"/>
                  </a:gradFill>
                </a:rPr>
                <a:t>@</a:t>
              </a:r>
              <a:endParaRPr lang="en-US" sz="7998" dirty="0">
                <a:gradFill>
                  <a:gsLst>
                    <a:gs pos="0">
                      <a:srgbClr val="94D600"/>
                    </a:gs>
                    <a:gs pos="100000">
                      <a:srgbClr val="94D600"/>
                    </a:gs>
                  </a:gsLst>
                  <a:lin ang="5400000" scaled="1"/>
                </a:gradFill>
              </a:endParaRPr>
            </a:p>
          </p:txBody>
        </p:sp>
      </p:grpSp>
      <p:pic>
        <p:nvPicPr>
          <p:cNvPr id="83" name="Picture 82"/>
          <p:cNvPicPr>
            <a:picLocks noChangeAspect="1"/>
          </p:cNvPicPr>
          <p:nvPr userDrawn="1"/>
        </p:nvPicPr>
        <p:blipFill>
          <a:blip r:embed="rId3"/>
          <a:stretch>
            <a:fillRect/>
          </a:stretch>
        </p:blipFill>
        <p:spPr>
          <a:xfrm>
            <a:off x="334183" y="363408"/>
            <a:ext cx="4606074" cy="1644780"/>
          </a:xfrm>
          <a:prstGeom prst="rect">
            <a:avLst/>
          </a:prstGeom>
        </p:spPr>
      </p:pic>
    </p:spTree>
    <p:extLst>
      <p:ext uri="{BB962C8B-B14F-4D97-AF65-F5344CB8AC3E}">
        <p14:creationId xmlns:p14="http://schemas.microsoft.com/office/powerpoint/2010/main" val="27896611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7" name="Group 96"/>
          <p:cNvGrpSpPr/>
          <p:nvPr userDrawn="1"/>
        </p:nvGrpSpPr>
        <p:grpSpPr>
          <a:xfrm>
            <a:off x="6765998"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grpSp>
        <p:nvGrpSpPr>
          <p:cNvPr id="2" name="Group 1"/>
          <p:cNvGrpSpPr/>
          <p:nvPr userDrawn="1"/>
        </p:nvGrpSpPr>
        <p:grpSpPr>
          <a:xfrm>
            <a:off x="19764255" y="1157602"/>
            <a:ext cx="4338632" cy="2921540"/>
            <a:chOff x="12685031" y="1199613"/>
            <a:chExt cx="4338633" cy="2921540"/>
          </a:xfrm>
        </p:grpSpPr>
        <p:grpSp>
          <p:nvGrpSpPr>
            <p:cNvPr id="79" name="Group 78"/>
            <p:cNvGrpSpPr/>
            <p:nvPr userDrawn="1"/>
          </p:nvGrpSpPr>
          <p:grpSpPr>
            <a:xfrm>
              <a:off x="12685031" y="1199613"/>
              <a:ext cx="4338633" cy="2921540"/>
              <a:chOff x="174171" y="186653"/>
              <a:chExt cx="4338633" cy="2921540"/>
            </a:xfrm>
          </p:grpSpPr>
          <p:sp>
            <p:nvSpPr>
              <p:cNvPr id="80" name="TextBox 79"/>
              <p:cNvSpPr txBox="1"/>
              <p:nvPr userDrawn="1"/>
            </p:nvSpPr>
            <p:spPr>
              <a:xfrm>
                <a:off x="1130004" y="1849505"/>
                <a:ext cx="3169568" cy="1258688"/>
              </a:xfrm>
              <a:prstGeom prst="rect">
                <a:avLst/>
              </a:prstGeom>
              <a:noFill/>
            </p:spPr>
            <p:txBody>
              <a:bodyPr wrap="none" lIns="182880" tIns="146304" rIns="182880" bIns="146304" rtlCol="0">
                <a:spAutoFit/>
              </a:bodyPr>
              <a:lstStyle/>
              <a:p>
                <a:pPr defTabSz="932563">
                  <a:lnSpc>
                    <a:spcPct val="70000"/>
                  </a:lnSpc>
                  <a:spcAft>
                    <a:spcPts val="600"/>
                  </a:spcAft>
                </a:pPr>
                <a:r>
                  <a:rPr lang="en-US" sz="5399" dirty="0" smtClean="0">
                    <a:gradFill>
                      <a:gsLst>
                        <a:gs pos="2917">
                          <a:srgbClr val="FFFFFF"/>
                        </a:gs>
                        <a:gs pos="30000">
                          <a:srgbClr val="FFFFFF"/>
                        </a:gs>
                      </a:gsLst>
                      <a:lin ang="5400000" scaled="0"/>
                    </a:gradFill>
                  </a:rPr>
                  <a:t>TechEd</a:t>
                </a:r>
              </a:p>
              <a:p>
                <a:pPr defTabSz="932563">
                  <a:lnSpc>
                    <a:spcPct val="70000"/>
                  </a:lnSpc>
                  <a:spcAft>
                    <a:spcPts val="600"/>
                  </a:spcAft>
                </a:pPr>
                <a:r>
                  <a:rPr lang="en-US" sz="2600" spc="-100" dirty="0" smtClean="0">
                    <a:gradFill>
                      <a:gsLst>
                        <a:gs pos="2917">
                          <a:srgbClr val="FFFFFF"/>
                        </a:gs>
                        <a:gs pos="30000">
                          <a:srgbClr val="FFFFFF"/>
                        </a:gs>
                      </a:gsLst>
                      <a:lin ang="5400000" scaled="0"/>
                    </a:gradFill>
                  </a:rPr>
                  <a:t>North America 2013</a:t>
                </a:r>
              </a:p>
            </p:txBody>
          </p:sp>
          <p:sp>
            <p:nvSpPr>
              <p:cNvPr id="81" name="TextBox 80"/>
              <p:cNvSpPr txBox="1"/>
              <p:nvPr userDrawn="1"/>
            </p:nvSpPr>
            <p:spPr>
              <a:xfrm>
                <a:off x="174171" y="186653"/>
                <a:ext cx="4338633" cy="1735625"/>
              </a:xfrm>
              <a:prstGeom prst="rect">
                <a:avLst/>
              </a:prstGeom>
              <a:noFill/>
            </p:spPr>
            <p:txBody>
              <a:bodyPr wrap="none" lIns="182880" tIns="146304" rIns="182880" bIns="146304" rtlCol="0">
                <a:spAutoFit/>
              </a:bodyPr>
              <a:lstStyle/>
              <a:p>
                <a:pPr defTabSz="932563">
                  <a:lnSpc>
                    <a:spcPct val="80000"/>
                  </a:lnSpc>
                  <a:spcAft>
                    <a:spcPts val="600"/>
                  </a:spcAft>
                </a:pPr>
                <a:r>
                  <a:rPr lang="en-US" sz="5399" spc="-100" dirty="0" smtClean="0">
                    <a:gradFill>
                      <a:gsLst>
                        <a:gs pos="2917">
                          <a:srgbClr val="FFFFFF"/>
                        </a:gs>
                        <a:gs pos="30000">
                          <a:srgbClr val="FFFFFF"/>
                        </a:gs>
                      </a:gsLst>
                      <a:lin ang="5400000" scaled="0"/>
                    </a:gradFill>
                  </a:rPr>
                  <a:t>IT Leadership</a:t>
                </a:r>
              </a:p>
              <a:p>
                <a:pPr defTabSz="932563">
                  <a:lnSpc>
                    <a:spcPct val="80000"/>
                  </a:lnSpc>
                  <a:spcAft>
                    <a:spcPts val="600"/>
                  </a:spcAft>
                </a:pPr>
                <a:r>
                  <a:rPr lang="en-US" sz="5399" spc="-100" dirty="0" smtClean="0">
                    <a:gradFill>
                      <a:gsLst>
                        <a:gs pos="2917">
                          <a:srgbClr val="FFFFFF"/>
                        </a:gs>
                        <a:gs pos="30000">
                          <a:srgbClr val="FFFFFF"/>
                        </a:gs>
                      </a:gsLst>
                      <a:lin ang="5400000" scaled="0"/>
                    </a:gradFill>
                  </a:rPr>
                  <a:t>Summit</a:t>
                </a:r>
              </a:p>
            </p:txBody>
          </p:sp>
        </p:grpSp>
        <p:sp>
          <p:nvSpPr>
            <p:cNvPr id="82" name="Rectangle 81"/>
            <p:cNvSpPr/>
            <p:nvPr userDrawn="1"/>
          </p:nvSpPr>
          <p:spPr>
            <a:xfrm>
              <a:off x="12685031" y="2630897"/>
              <a:ext cx="1196069" cy="1349459"/>
            </a:xfrm>
            <a:prstGeom prst="rect">
              <a:avLst/>
            </a:prstGeom>
          </p:spPr>
          <p:txBody>
            <a:bodyPr wrap="square">
              <a:spAutoFit/>
            </a:bodyPr>
            <a:lstStyle/>
            <a:p>
              <a:pPr defTabSz="932563"/>
              <a:r>
                <a:rPr lang="en-US" sz="7998" spc="-100" dirty="0" smtClean="0">
                  <a:gradFill>
                    <a:gsLst>
                      <a:gs pos="0">
                        <a:srgbClr val="94D600"/>
                      </a:gs>
                      <a:gs pos="100000">
                        <a:srgbClr val="94D600"/>
                      </a:gs>
                    </a:gsLst>
                    <a:lin ang="5400000" scaled="1"/>
                  </a:gradFill>
                </a:rPr>
                <a:t>@</a:t>
              </a:r>
              <a:endParaRPr lang="en-US" sz="7998" dirty="0">
                <a:gradFill>
                  <a:gsLst>
                    <a:gs pos="0">
                      <a:srgbClr val="94D600"/>
                    </a:gs>
                    <a:gs pos="100000">
                      <a:srgbClr val="94D600"/>
                    </a:gs>
                  </a:gsLst>
                  <a:lin ang="5400000" scaled="1"/>
                </a:gradFill>
              </a:endParaRPr>
            </a:p>
          </p:txBody>
        </p:sp>
      </p:grpSp>
      <p:pic>
        <p:nvPicPr>
          <p:cNvPr id="11" name="Picture 10"/>
          <p:cNvPicPr>
            <a:picLocks noChangeAspect="1"/>
          </p:cNvPicPr>
          <p:nvPr userDrawn="1"/>
        </p:nvPicPr>
        <p:blipFill>
          <a:blip r:embed="rId3"/>
          <a:stretch>
            <a:fillRect/>
          </a:stretch>
        </p:blipFill>
        <p:spPr>
          <a:xfrm>
            <a:off x="337092" y="389908"/>
            <a:ext cx="2317209" cy="1580217"/>
          </a:xfrm>
          <a:prstGeom prst="rect">
            <a:avLst/>
          </a:prstGeom>
        </p:spPr>
      </p:pic>
    </p:spTree>
    <p:extLst>
      <p:ext uri="{BB962C8B-B14F-4D97-AF65-F5344CB8AC3E}">
        <p14:creationId xmlns:p14="http://schemas.microsoft.com/office/powerpoint/2010/main" val="34899403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pic>
        <p:nvPicPr>
          <p:cNvPr id="29" name="Picture 28"/>
          <p:cNvPicPr>
            <a:picLocks noChangeAspect="1"/>
          </p:cNvPicPr>
          <p:nvPr userDrawn="1"/>
        </p:nvPicPr>
        <p:blipFill>
          <a:blip r:embed="rId3"/>
          <a:stretch>
            <a:fillRect/>
          </a:stretch>
        </p:blipFill>
        <p:spPr>
          <a:xfrm>
            <a:off x="334183" y="363408"/>
            <a:ext cx="4606074" cy="1644780"/>
          </a:xfrm>
          <a:prstGeom prst="rect">
            <a:avLst/>
          </a:prstGeom>
        </p:spPr>
      </p:pic>
    </p:spTree>
    <p:extLst>
      <p:ext uri="{BB962C8B-B14F-4D97-AF65-F5344CB8AC3E}">
        <p14:creationId xmlns:p14="http://schemas.microsoft.com/office/powerpoint/2010/main" val="32306588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4"/>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2" y="3955786"/>
            <a:ext cx="6070681" cy="1828007"/>
          </a:xfrm>
          <a:noFill/>
        </p:spPr>
        <p:txBody>
          <a:bodyPr lIns="182880" tIns="146304" rIns="182880" bIns="146304">
            <a:noAutofit/>
          </a:bodyPr>
          <a:lstStyle>
            <a:lvl1pPr marL="0" indent="0">
              <a:spcBef>
                <a:spcPts val="0"/>
              </a:spcBef>
              <a:buNone/>
              <a:defRPr sz="3599"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58333" y="6208326"/>
            <a:ext cx="1552931" cy="332660"/>
          </a:xfrm>
          <a:prstGeom prst="rect">
            <a:avLst/>
          </a:prstGeom>
        </p:spPr>
      </p:pic>
      <p:sp>
        <p:nvSpPr>
          <p:cNvPr id="10" name="Text Placeholder 7"/>
          <p:cNvSpPr>
            <a:spLocks noGrp="1"/>
          </p:cNvSpPr>
          <p:nvPr>
            <p:ph type="body" sz="quarter" idx="13" hasCustomPrompt="1"/>
          </p:nvPr>
        </p:nvSpPr>
        <p:spPr>
          <a:xfrm>
            <a:off x="6492621" y="434695"/>
            <a:ext cx="5486400" cy="927838"/>
          </a:xfrm>
        </p:spPr>
        <p:txBody>
          <a:bodyPr tIns="0" rIns="0"/>
          <a:lstStyle>
            <a:lvl1pPr marL="0" indent="0" algn="r">
              <a:buNone/>
              <a:defRPr sz="5999"/>
            </a:lvl1pPr>
          </a:lstStyle>
          <a:p>
            <a:pPr lvl="0"/>
            <a:r>
              <a:rPr lang="en-US" dirty="0" smtClean="0"/>
              <a:t>Session code</a:t>
            </a:r>
            <a:endParaRPr lang="en-US" dirty="0"/>
          </a:p>
        </p:txBody>
      </p:sp>
      <p:grpSp>
        <p:nvGrpSpPr>
          <p:cNvPr id="98" name="Group 97"/>
          <p:cNvGrpSpPr/>
          <p:nvPr userDrawn="1"/>
        </p:nvGrpSpPr>
        <p:grpSpPr>
          <a:xfrm>
            <a:off x="7136678" y="4110832"/>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a:solidFill>
                  <a:srgbClr val="FFFFFF"/>
                </a:solidFill>
              </a:endParaRPr>
            </a:p>
          </p:txBody>
        </p:sp>
      </p:grpSp>
      <p:pic>
        <p:nvPicPr>
          <p:cNvPr id="28" name="Picture 27"/>
          <p:cNvPicPr>
            <a:picLocks noChangeAspect="1"/>
          </p:cNvPicPr>
          <p:nvPr userDrawn="1"/>
        </p:nvPicPr>
        <p:blipFill>
          <a:blip r:embed="rId3"/>
          <a:stretch>
            <a:fillRect/>
          </a:stretch>
        </p:blipFill>
        <p:spPr>
          <a:xfrm>
            <a:off x="337092" y="389908"/>
            <a:ext cx="2317209" cy="1580217"/>
          </a:xfrm>
          <a:prstGeom prst="rect">
            <a:avLst/>
          </a:prstGeom>
        </p:spPr>
      </p:pic>
    </p:spTree>
    <p:extLst>
      <p:ext uri="{BB962C8B-B14F-4D97-AF65-F5344CB8AC3E}">
        <p14:creationId xmlns:p14="http://schemas.microsoft.com/office/powerpoint/2010/main" val="3969176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283" tIns="109712" rIns="146283" bIns="109712"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9564863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9" y="3954458"/>
            <a:ext cx="10058401" cy="1829593"/>
          </a:xfrm>
          <a:noFill/>
        </p:spPr>
        <p:txBody>
          <a:bodyPr lIns="182880" tIns="146304" rIns="182880" bIns="146304">
            <a:noAutofit/>
          </a:bodyPr>
          <a:lstStyle>
            <a:lvl1pPr marL="0" indent="0">
              <a:spcBef>
                <a:spcPts val="0"/>
              </a:spcBef>
              <a:buNone/>
              <a:defRPr sz="3599"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6654221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198"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45129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08348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893981612"/>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32470590"/>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80352754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9"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sz="2000"/>
            </a:lvl3pPr>
            <a:lvl4pPr marL="457112" indent="0">
              <a:buNone/>
              <a:defRPr sz="1800"/>
            </a:lvl4pPr>
            <a:lvl5pPr marL="685669"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5279031"/>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9" y="1214439"/>
            <a:ext cx="11887200" cy="22315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7652604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sz="1800"/>
            </a:lvl4pPr>
            <a:lvl5pPr marL="685669"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8770718"/>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287282" indent="-287282">
              <a:spcBef>
                <a:spcPts val="1224"/>
              </a:spcBef>
              <a:buClr>
                <a:schemeClr val="tx1"/>
              </a:buClr>
              <a:buFont typeface="Arial" pitchFamily="34" charset="0"/>
              <a:buChar char="•"/>
              <a:defRPr sz="3599"/>
            </a:lvl1pPr>
            <a:lvl2pPr marL="531064" indent="-233150">
              <a:defRPr sz="2000"/>
            </a:lvl2pPr>
            <a:lvl3pPr marL="699450" indent="-168387">
              <a:tabLst/>
              <a:defRPr sz="2000"/>
            </a:lvl3pPr>
            <a:lvl4pPr marL="880789" indent="-181339">
              <a:defRPr sz="1800"/>
            </a:lvl4pPr>
            <a:lvl5pPr marL="1049175" indent="-168387">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1482075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10" Type="http://schemas.openxmlformats.org/officeDocument/2006/relationships/slideLayout" Target="../slideLayouts/slideLayout49.xml"/><Relationship Id="rId19"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theme" Target="../theme/theme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slideLayout" Target="../slideLayouts/slideLayout120.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50" Type="http://schemas.openxmlformats.org/officeDocument/2006/relationships/slideLayout" Target="../slideLayouts/slideLayout131.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slideLayout" Target="../slideLayouts/slideLayout12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8" Type="http://schemas.openxmlformats.org/officeDocument/2006/relationships/slideLayout" Target="../slideLayouts/slideLayout89.xml"/><Relationship Id="rId51"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340678518"/>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7" r:id="rId13"/>
    <p:sldLayoutId id="2147484208" r:id="rId14"/>
    <p:sldLayoutId id="2147484209" r:id="rId15"/>
    <p:sldLayoutId id="2147484210" r:id="rId16"/>
    <p:sldLayoutId id="2147484211" r:id="rId17"/>
  </p:sldLayoutIdLst>
  <p:transition>
    <p:fade/>
  </p:transition>
  <p:timing>
    <p:tnLst>
      <p:par>
        <p:cT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9" y="1211264"/>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0531"/>
            <a:ext cx="511664" cy="127131"/>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defTabSz="932563">
              <a:lnSpc>
                <a:spcPct val="90000"/>
              </a:lnSpc>
            </a:pPr>
            <a:fld id="{1BC86A1F-E589-44B2-A543-2EC98F5547A7}" type="slidenum">
              <a:rPr lang="en-US" smtClean="0">
                <a:gradFill>
                  <a:gsLst>
                    <a:gs pos="0">
                      <a:srgbClr val="505050"/>
                    </a:gs>
                    <a:gs pos="100000">
                      <a:srgbClr val="505050"/>
                    </a:gs>
                  </a:gsLst>
                  <a:lin ang="5400000" scaled="0"/>
                </a:gradFill>
              </a:rPr>
              <a:pPr defTabSz="932563">
                <a:lnSpc>
                  <a:spcPct val="90000"/>
                </a:lnSpc>
              </a:pPr>
              <a:t>‹#›</a:t>
            </a:fld>
            <a:endParaRPr lang="en-US"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03637482"/>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Lst>
  <p:transition>
    <p:fade/>
  </p:transition>
  <p:timing>
    <p:tnLst>
      <p:par>
        <p:cTn id="1" dur="indefinite" restart="never" nodeType="tmRoot"/>
      </p:par>
    </p:tnLst>
  </p:timing>
  <p:hf hdr="0" dt="0"/>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7" marR="0" indent="-346487"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71" baseline="0">
          <a:gradFill>
            <a:gsLst>
              <a:gs pos="1250">
                <a:schemeClr val="tx1"/>
              </a:gs>
              <a:gs pos="100000">
                <a:schemeClr val="tx1"/>
              </a:gs>
            </a:gsLst>
            <a:lin ang="5400000" scaled="0"/>
          </a:gradFill>
          <a:latin typeface="+mj-lt"/>
          <a:ea typeface="+mn-ea"/>
          <a:cs typeface="+mn-cs"/>
        </a:defRPr>
      </a:lvl1pPr>
      <a:lvl2pPr marL="584494" marR="0" indent="-238008" algn="l" defTabSz="932563"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406"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814406" algn="l"/>
        </a:tabLst>
        <a:defRPr sz="2800" kern="1200" spc="0" baseline="0">
          <a:gradFill>
            <a:gsLst>
              <a:gs pos="1250">
                <a:schemeClr val="tx1"/>
              </a:gs>
              <a:gs pos="100000">
                <a:schemeClr val="tx1"/>
              </a:gs>
            </a:gsLst>
            <a:lin ang="5400000" scaled="0"/>
          </a:gradFill>
          <a:latin typeface="+mn-lt"/>
          <a:ea typeface="+mn-ea"/>
          <a:cs typeface="+mn-cs"/>
        </a:defRPr>
      </a:lvl3pPr>
      <a:lvl4pPr marL="1050795" marR="0" indent="-236388" algn="l" defTabSz="9325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707" marR="0" indent="-229912" algn="l" defTabSz="932563" rtl="0" eaLnBrk="1" fontAlgn="auto" latinLnBrk="0" hangingPunct="1">
        <a:lnSpc>
          <a:spcPct val="90000"/>
        </a:lnSpc>
        <a:spcBef>
          <a:spcPct val="20000"/>
        </a:spcBef>
        <a:spcAft>
          <a:spcPts val="0"/>
        </a:spcAft>
        <a:buClrTx/>
        <a:buSzPct val="90000"/>
        <a:buFont typeface="Wingdings" pitchFamily="2" charset="2"/>
        <a:buChar char=""/>
        <a:tabLst>
          <a:tab pos="1280707" algn="l"/>
        </a:tabLst>
        <a:defRPr sz="24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49293105"/>
      </p:ext>
    </p:extLst>
  </p:cSld>
  <p:clrMap bg1="dk1" tx1="lt1" bg2="dk2" tx2="lt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2" r:id="rId20"/>
    <p:sldLayoutId id="2147484253" r:id="rId21"/>
    <p:sldLayoutId id="2147484254" r:id="rId22"/>
    <p:sldLayoutId id="2147484255" r:id="rId23"/>
    <p:sldLayoutId id="2147484256" r:id="rId24"/>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0702978"/>
      </p:ext>
    </p:extLst>
  </p:cSld>
  <p:clrMap bg1="dk1" tx1="lt1" bg2="dk2" tx2="lt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1" r:id="rId14"/>
    <p:sldLayoutId id="2147484272" r:id="rId15"/>
    <p:sldLayoutId id="2147484273" r:id="rId16"/>
    <p:sldLayoutId id="2147484274" r:id="rId17"/>
    <p:sldLayoutId id="2147484275" r:id="rId18"/>
    <p:sldLayoutId id="2147484276" r:id="rId19"/>
    <p:sldLayoutId id="2147484277" r:id="rId20"/>
    <p:sldLayoutId id="2147484278" r:id="rId21"/>
    <p:sldLayoutId id="2147484279" r:id="rId22"/>
    <p:sldLayoutId id="2147484280" r:id="rId23"/>
    <p:sldLayoutId id="2147484281" r:id="rId24"/>
    <p:sldLayoutId id="2147484282" r:id="rId25"/>
    <p:sldLayoutId id="2147484283" r:id="rId26"/>
    <p:sldLayoutId id="2147484284" r:id="rId27"/>
    <p:sldLayoutId id="2147484285" r:id="rId28"/>
    <p:sldLayoutId id="2147484286" r:id="rId29"/>
    <p:sldLayoutId id="2147484287" r:id="rId30"/>
    <p:sldLayoutId id="2147484288" r:id="rId31"/>
    <p:sldLayoutId id="2147484289" r:id="rId32"/>
    <p:sldLayoutId id="2147484290" r:id="rId33"/>
    <p:sldLayoutId id="2147484291" r:id="rId34"/>
    <p:sldLayoutId id="2147484292" r:id="rId35"/>
    <p:sldLayoutId id="2147484293" r:id="rId36"/>
    <p:sldLayoutId id="2147484294" r:id="rId37"/>
    <p:sldLayoutId id="2147484295" r:id="rId38"/>
    <p:sldLayoutId id="2147484296" r:id="rId39"/>
    <p:sldLayoutId id="2147484297" r:id="rId40"/>
    <p:sldLayoutId id="2147484298" r:id="rId41"/>
    <p:sldLayoutId id="2147484299" r:id="rId42"/>
    <p:sldLayoutId id="2147484300" r:id="rId43"/>
    <p:sldLayoutId id="2147484301" r:id="rId44"/>
    <p:sldLayoutId id="2147484302" r:id="rId45"/>
    <p:sldLayoutId id="2147484303" r:id="rId46"/>
    <p:sldLayoutId id="2147484304" r:id="rId47"/>
    <p:sldLayoutId id="2147484305" r:id="rId48"/>
    <p:sldLayoutId id="2147484306" r:id="rId49"/>
    <p:sldLayoutId id="2147484307" r:id="rId50"/>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microsoft.com/office/2007/relationships/hdphoto" Target="../media/hdphoto3.wdp"/></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28.png"/><Relationship Id="rId5" Type="http://schemas.openxmlformats.org/officeDocument/2006/relationships/image" Target="../media/image27.png"/><Relationship Id="rId4" Type="http://schemas.microsoft.com/office/2007/relationships/hdphoto" Target="../media/hdphoto3.wdp"/></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8" Type="http://schemas.openxmlformats.org/officeDocument/2006/relationships/hyperlink" Target="microsoft.com/windows/wtg" TargetMode="External"/><Relationship Id="rId3" Type="http://schemas.openxmlformats.org/officeDocument/2006/relationships/image" Target="../media/image32.png"/><Relationship Id="rId7" Type="http://schemas.openxmlformats.org/officeDocument/2006/relationships/hyperlink" Target="microsoft.com/dv" TargetMode="External"/><Relationship Id="rId2" Type="http://schemas.openxmlformats.org/officeDocument/2006/relationships/notesSlide" Target="../notesSlides/notesSlide13.xml"/><Relationship Id="rId1" Type="http://schemas.openxmlformats.org/officeDocument/2006/relationships/slideLayout" Target="../slideLayouts/slideLayout73.xml"/><Relationship Id="rId6" Type="http://schemas.openxmlformats.org/officeDocument/2006/relationships/hyperlink" Target="microsoft.com/mdop" TargetMode="External"/><Relationship Id="rId5" Type="http://schemas.openxmlformats.org/officeDocument/2006/relationships/hyperlink" Target="windows.com/ITpro" TargetMode="External"/><Relationship Id="rId4" Type="http://schemas.openxmlformats.org/officeDocument/2006/relationships/hyperlink" Target="windows.com/enterprise" TargetMode="External"/><Relationship Id="rId9" Type="http://schemas.openxmlformats.org/officeDocument/2006/relationships/hyperlink" Target="tryoutlook.com" TargetMode="External"/></Relationships>
</file>

<file path=ppt/slides/_rels/slide29.xml.rels><?xml version="1.0" encoding="UTF-8" standalone="yes"?>
<Relationships xmlns="http://schemas.openxmlformats.org/package/2006/relationships"><Relationship Id="rId8" Type="http://schemas.openxmlformats.org/officeDocument/2006/relationships/hyperlink" Target="http://www.microsoft.com/workstyle" TargetMode="External"/><Relationship Id="rId3" Type="http://schemas.openxmlformats.org/officeDocument/2006/relationships/hyperlink" Target="../technet.microsoft.com/en-us/evalcenter/hh667640.aspx?wt.mc_id=TEC_105_1_33" TargetMode="External"/><Relationship Id="rId7" Type="http://schemas.openxmlformats.org/officeDocument/2006/relationships/hyperlink" Target="http://www.microsoft.com/en-us/server-cloud/windows-server/virtual-desktop-infrastructure.aspx" TargetMode="External"/><Relationship Id="rId2" Type="http://schemas.openxmlformats.org/officeDocument/2006/relationships/notesSlide" Target="../notesSlides/notesSlide14.xml"/><Relationship Id="rId1" Type="http://schemas.openxmlformats.org/officeDocument/2006/relationships/slideLayout" Target="../slideLayouts/slideLayout96.xml"/><Relationship Id="rId6" Type="http://schemas.openxmlformats.org/officeDocument/2006/relationships/hyperlink" Target="http://technet.microsoft.com/en-us/evalcenter/hh670538.aspx?ocid=&amp;wt.mc_id=TEC_108_1_33" TargetMode="External"/><Relationship Id="rId11" Type="http://schemas.openxmlformats.org/officeDocument/2006/relationships/image" Target="../media/image34.png"/><Relationship Id="rId5" Type="http://schemas.openxmlformats.org/officeDocument/2006/relationships/hyperlink" Target="http://www.microsoft.com/en-us/server-cloud/windows-server" TargetMode="External"/><Relationship Id="rId10" Type="http://schemas.openxmlformats.org/officeDocument/2006/relationships/image" Target="../media/image33.png"/><Relationship Id="rId4" Type="http://schemas.openxmlformats.org/officeDocument/2006/relationships/hyperlink" Target="http://www.microsoft.com/en-us/windows/windowsintune/try-and-buy" TargetMode="External"/><Relationship Id="rId9" Type="http://schemas.openxmlformats.org/officeDocument/2006/relationships/hyperlink" Target="http://www.microsoft.com/server-cloud/user-device-management"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tags" Target="../tags/tag3.xml"/><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notesSlide" Target="../notesSlides/notesSlide3.xml"/><Relationship Id="rId15" Type="http://schemas.microsoft.com/office/2007/relationships/hdphoto" Target="../media/hdphoto1.wdp"/><Relationship Id="rId10" Type="http://schemas.openxmlformats.org/officeDocument/2006/relationships/image" Target="../media/image13.png"/><Relationship Id="rId4" Type="http://schemas.openxmlformats.org/officeDocument/2006/relationships/slideLayout" Target="../slideLayouts/slideLayout16.xml"/><Relationship Id="rId9" Type="http://schemas.openxmlformats.org/officeDocument/2006/relationships/image" Target="../media/image12.png"/><Relationship Id="rId14" Type="http://schemas.openxmlformats.org/officeDocument/2006/relationships/image" Target="../media/image17.png"/></Relationships>
</file>

<file path=ppt/slides/_rels/slide30.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38.png"/><Relationship Id="rId4" Type="http://schemas.openxmlformats.org/officeDocument/2006/relationships/image" Target="../media/image37.png"/></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png"/><Relationship Id="rId3" Type="http://schemas.openxmlformats.org/officeDocument/2006/relationships/diagramData" Target="../diagrams/data1.xml"/><Relationship Id="rId7" Type="http://schemas.microsoft.com/office/2007/relationships/diagramDrawing" Target="../diagrams/drawing1.xml"/><Relationship Id="rId12" Type="http://schemas.openxmlformats.org/officeDocument/2006/relationships/image" Target="../media/image21.png"/><Relationship Id="rId2" Type="http://schemas.openxmlformats.org/officeDocument/2006/relationships/notesSlide" Target="../notesSlides/notesSlide4.xml"/><Relationship Id="rId16" Type="http://schemas.openxmlformats.org/officeDocument/2006/relationships/image" Target="../media/image24.png"/><Relationship Id="rId1" Type="http://schemas.openxmlformats.org/officeDocument/2006/relationships/slideLayout" Target="../slideLayouts/slideLayout16.xml"/><Relationship Id="rId6" Type="http://schemas.openxmlformats.org/officeDocument/2006/relationships/diagramColors" Target="../diagrams/colors1.xml"/><Relationship Id="rId11" Type="http://schemas.openxmlformats.org/officeDocument/2006/relationships/image" Target="../media/image20.png"/><Relationship Id="rId5" Type="http://schemas.openxmlformats.org/officeDocument/2006/relationships/diagramQuickStyle" Target="../diagrams/quickStyle1.xml"/><Relationship Id="rId15" Type="http://schemas.microsoft.com/office/2007/relationships/hdphoto" Target="../media/hdphoto2.wdp"/><Relationship Id="rId10" Type="http://schemas.openxmlformats.org/officeDocument/2006/relationships/image" Target="../media/image19.png"/><Relationship Id="rId4" Type="http://schemas.openxmlformats.org/officeDocument/2006/relationships/diagramLayout" Target="../diagrams/layout1.xml"/><Relationship Id="rId9" Type="http://schemas.openxmlformats.org/officeDocument/2006/relationships/image" Target="../media/image10.png"/><Relationship Id="rId14"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399073308"/>
              </p:ext>
            </p:extLst>
          </p:nvPr>
        </p:nvGraphicFramePr>
        <p:xfrm>
          <a:off x="325602" y="1295389"/>
          <a:ext cx="11577307" cy="51196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2273654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87463631"/>
              </p:ext>
            </p:extLst>
          </p:nvPr>
        </p:nvGraphicFramePr>
        <p:xfrm>
          <a:off x="277029" y="1378123"/>
          <a:ext cx="11509304" cy="51469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5660721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Trusted File Servers</a:t>
            </a:r>
            <a:endParaRPr lang="en-US" dirty="0"/>
          </a:p>
        </p:txBody>
      </p:sp>
      <p:sp>
        <p:nvSpPr>
          <p:cNvPr id="10" name="Rectangle 9"/>
          <p:cNvSpPr/>
          <p:nvPr/>
        </p:nvSpPr>
        <p:spPr bwMode="auto">
          <a:xfrm>
            <a:off x="6018269" y="1332129"/>
            <a:ext cx="5625862" cy="27270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err="1">
                <a:gradFill>
                  <a:gsLst>
                    <a:gs pos="0">
                      <a:srgbClr val="FFFFFF"/>
                    </a:gs>
                    <a:gs pos="100000">
                      <a:srgbClr val="FFFFFF"/>
                    </a:gs>
                  </a:gsLst>
                  <a:lin ang="5400000" scaled="0"/>
                </a:gradFill>
                <a:ea typeface="Segoe UI" pitchFamily="34" charset="0"/>
                <a:cs typeface="Segoe UI" pitchFamily="34" charset="0"/>
              </a:rPr>
              <a:t>Exabytes</a:t>
            </a:r>
            <a:r>
              <a:rPr lang="en-US" sz="3600" dirty="0">
                <a:gradFill>
                  <a:gsLst>
                    <a:gs pos="0">
                      <a:srgbClr val="FFFFFF"/>
                    </a:gs>
                    <a:gs pos="100000">
                      <a:srgbClr val="FFFFFF"/>
                    </a:gs>
                  </a:gsLst>
                  <a:lin ang="5400000" scaled="0"/>
                </a:gradFill>
                <a:ea typeface="Segoe UI" pitchFamily="34" charset="0"/>
                <a:cs typeface="Segoe UI" pitchFamily="34" charset="0"/>
              </a:rPr>
              <a:t> deployed</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annually</a:t>
            </a:r>
          </a:p>
        </p:txBody>
      </p:sp>
      <p:sp>
        <p:nvSpPr>
          <p:cNvPr id="11" name="Rectangle 10"/>
          <p:cNvSpPr/>
          <p:nvPr/>
        </p:nvSpPr>
        <p:spPr bwMode="auto">
          <a:xfrm rot="10800000" flipH="1" flipV="1">
            <a:off x="405114" y="4051223"/>
            <a:ext cx="5625866" cy="27315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Rich</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ecosystem</a:t>
            </a:r>
          </a:p>
        </p:txBody>
      </p:sp>
      <p:sp>
        <p:nvSpPr>
          <p:cNvPr id="12" name="Rectangle 11"/>
          <p:cNvSpPr/>
          <p:nvPr/>
        </p:nvSpPr>
        <p:spPr bwMode="auto">
          <a:xfrm flipH="1">
            <a:off x="405922" y="1331090"/>
            <a:ext cx="5620736" cy="272916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Original server</a:t>
            </a:r>
          </a:p>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workload</a:t>
            </a:r>
          </a:p>
        </p:txBody>
      </p:sp>
      <p:sp>
        <p:nvSpPr>
          <p:cNvPr id="13" name="Rectangle 12"/>
          <p:cNvSpPr/>
          <p:nvPr/>
        </p:nvSpPr>
        <p:spPr bwMode="auto">
          <a:xfrm rot="10800000" flipV="1">
            <a:off x="6021317" y="4049126"/>
            <a:ext cx="5620738" cy="273154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gradFill>
                  <a:gsLst>
                    <a:gs pos="0">
                      <a:srgbClr val="FFFFFF"/>
                    </a:gs>
                    <a:gs pos="100000">
                      <a:srgbClr val="FFFFFF"/>
                    </a:gs>
                  </a:gsLst>
                  <a:lin ang="5400000" scaled="0"/>
                </a:gradFill>
                <a:ea typeface="Segoe UI" pitchFamily="34" charset="0"/>
                <a:cs typeface="Segoe UI" pitchFamily="34" charset="0"/>
              </a:rPr>
              <a:t>Simple </a:t>
            </a:r>
            <a:r>
              <a:rPr lang="en-US" sz="3600" dirty="0" smtClean="0">
                <a:gradFill>
                  <a:gsLst>
                    <a:gs pos="0">
                      <a:srgbClr val="FFFFFF"/>
                    </a:gs>
                    <a:gs pos="100000">
                      <a:srgbClr val="FFFFFF"/>
                    </a:gs>
                  </a:gsLst>
                  <a:lin ang="5400000" scaled="0"/>
                </a:gradFill>
                <a:ea typeface="Segoe UI" pitchFamily="34" charset="0"/>
                <a:cs typeface="Segoe UI" pitchFamily="34" charset="0"/>
              </a:rPr>
              <a:t>and</a:t>
            </a:r>
          </a:p>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efficient</a:t>
            </a:r>
            <a:endParaRPr lang="en-US" sz="3600" dirty="0">
              <a:gradFill>
                <a:gsLst>
                  <a:gs pos="0">
                    <a:srgbClr val="FFFFFF"/>
                  </a:gs>
                  <a:gs pos="100000">
                    <a:srgbClr val="FFFFFF"/>
                  </a:gs>
                </a:gsLst>
                <a:lin ang="5400000" scaled="0"/>
              </a:gradFill>
              <a:ea typeface="Segoe UI" pitchFamily="34" charset="0"/>
              <a:cs typeface="Segoe UI" pitchFamily="34" charset="0"/>
            </a:endParaRPr>
          </a:p>
        </p:txBody>
      </p:sp>
      <p:grpSp>
        <p:nvGrpSpPr>
          <p:cNvPr id="9" name="Group 8"/>
          <p:cNvGrpSpPr>
            <a:grpSpLocks noChangeAspect="1"/>
          </p:cNvGrpSpPr>
          <p:nvPr/>
        </p:nvGrpSpPr>
        <p:grpSpPr>
          <a:xfrm>
            <a:off x="5654799" y="3188964"/>
            <a:ext cx="1005261" cy="1575866"/>
            <a:chOff x="7014639" y="2869773"/>
            <a:chExt cx="741282" cy="1173191"/>
          </a:xfrm>
        </p:grpSpPr>
        <p:pic>
          <p:nvPicPr>
            <p:cNvPr id="5" name="Picture 4" descr="Untitled-1.png"/>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tretch>
              <a:fillRect/>
            </a:stretch>
          </p:blipFill>
          <p:spPr>
            <a:xfrm>
              <a:off x="7340440" y="2869773"/>
              <a:ext cx="415481" cy="481794"/>
            </a:xfrm>
            <a:prstGeom prst="rect">
              <a:avLst/>
            </a:prstGeom>
            <a:noFill/>
            <a:ln>
              <a:noFill/>
            </a:ln>
          </p:spPr>
        </p:pic>
        <p:sp>
          <p:nvSpPr>
            <p:cNvPr id="7" name="Freeform 6"/>
            <p:cNvSpPr>
              <a:spLocks noEditPoints="1"/>
            </p:cNvSpPr>
            <p:nvPr/>
          </p:nvSpPr>
          <p:spPr bwMode="auto">
            <a:xfrm>
              <a:off x="7014639" y="3134442"/>
              <a:ext cx="564026" cy="908522"/>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chemeClr val="tx1"/>
            </a:solidFill>
            <a:ln>
              <a:solidFill>
                <a:srgbClr val="5B9BD5"/>
              </a:solidFill>
            </a:ln>
          </p:spPr>
          <p:txBody>
            <a:bodyPr vert="horz" wrap="square" lIns="111629" tIns="55815" rIns="111629" bIns="55815" numCol="1" anchor="t" anchorCtr="0" compatLnSpc="1">
              <a:prstTxWarp prst="textNoShape">
                <a:avLst/>
              </a:prstTxWarp>
            </a:bodyPr>
            <a:lstStyle/>
            <a:p>
              <a:pPr algn="ctr" defTabSz="930266">
                <a:defRPr/>
              </a:pPr>
              <a:endParaRPr lang="en-US" sz="1831" kern="0" dirty="0">
                <a:solidFill>
                  <a:prstClr val="black"/>
                </a:solidFill>
              </a:endParaRPr>
            </a:p>
          </p:txBody>
        </p:sp>
      </p:grpSp>
    </p:spTree>
    <p:extLst>
      <p:ext uri="{BB962C8B-B14F-4D97-AF65-F5344CB8AC3E}">
        <p14:creationId xmlns:p14="http://schemas.microsoft.com/office/powerpoint/2010/main" val="9663813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2450" b="12450"/>
          <a:stretch/>
        </p:blipFill>
        <p:spPr>
          <a:xfrm>
            <a:off x="0" y="-10633"/>
            <a:ext cx="12440093" cy="7006856"/>
          </a:xfrm>
          <a:prstGeom prst="rect">
            <a:avLst/>
          </a:prstGeom>
        </p:spPr>
      </p:pic>
    </p:spTree>
    <p:extLst>
      <p:ext uri="{BB962C8B-B14F-4D97-AF65-F5344CB8AC3E}">
        <p14:creationId xmlns:p14="http://schemas.microsoft.com/office/powerpoint/2010/main" val="64975583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Introducing Work Folders</a:t>
            </a:r>
            <a:endParaRPr lang="en-US" dirty="0"/>
          </a:p>
        </p:txBody>
      </p:sp>
      <p:sp>
        <p:nvSpPr>
          <p:cNvPr id="2" name="Text Placeholder 1"/>
          <p:cNvSpPr>
            <a:spLocks noGrp="1"/>
          </p:cNvSpPr>
          <p:nvPr>
            <p:ph type="body" sz="quarter" idx="10"/>
          </p:nvPr>
        </p:nvSpPr>
        <p:spPr>
          <a:xfrm>
            <a:off x="274638" y="1212850"/>
            <a:ext cx="11887200" cy="4543552"/>
          </a:xfrm>
        </p:spPr>
        <p:txBody>
          <a:bodyPr/>
          <a:lstStyle/>
          <a:p>
            <a:pPr marL="571500" indent="-571500">
              <a:spcBef>
                <a:spcPts val="2400"/>
              </a:spcBef>
              <a:buFont typeface="Wingdings" panose="05000000000000000000" pitchFamily="2" charset="2"/>
              <a:buChar char="Ø"/>
            </a:pPr>
            <a:endParaRPr lang="en-US" sz="2000" dirty="0"/>
          </a:p>
          <a:p>
            <a:pPr>
              <a:spcBef>
                <a:spcPts val="2400"/>
              </a:spcBef>
            </a:pPr>
            <a:r>
              <a:rPr lang="en-US" sz="3672" dirty="0"/>
              <a:t>Allow information workers to access their </a:t>
            </a:r>
            <a:r>
              <a:rPr lang="en-US" sz="3672" u="sng" dirty="0"/>
              <a:t>individual </a:t>
            </a:r>
            <a:r>
              <a:rPr lang="en-US" sz="3672" u="sng" dirty="0" smtClean="0"/>
              <a:t>data</a:t>
            </a:r>
          </a:p>
          <a:p>
            <a:pPr>
              <a:spcBef>
                <a:spcPts val="2400"/>
              </a:spcBef>
            </a:pPr>
            <a:r>
              <a:rPr lang="en-US" sz="3672" dirty="0" smtClean="0"/>
              <a:t>… that </a:t>
            </a:r>
            <a:r>
              <a:rPr lang="en-US" sz="3672" dirty="0"/>
              <a:t>is centrally located on a traditional </a:t>
            </a:r>
            <a:r>
              <a:rPr lang="en-US" sz="3672" u="sng" dirty="0"/>
              <a:t>file </a:t>
            </a:r>
            <a:r>
              <a:rPr lang="en-US" sz="3672" u="sng" dirty="0" smtClean="0"/>
              <a:t>server</a:t>
            </a:r>
          </a:p>
          <a:p>
            <a:pPr>
              <a:spcBef>
                <a:spcPts val="2400"/>
              </a:spcBef>
            </a:pPr>
            <a:r>
              <a:rPr lang="en-US" sz="3672" dirty="0" smtClean="0"/>
              <a:t>… from all of their </a:t>
            </a:r>
            <a:r>
              <a:rPr lang="en-US" sz="3672" u="sng" dirty="0" smtClean="0"/>
              <a:t>devices</a:t>
            </a:r>
          </a:p>
          <a:p>
            <a:pPr>
              <a:spcBef>
                <a:spcPts val="2400"/>
              </a:spcBef>
            </a:pPr>
            <a:r>
              <a:rPr lang="en-US" sz="3672" dirty="0" smtClean="0"/>
              <a:t>… from </a:t>
            </a:r>
            <a:r>
              <a:rPr lang="en-US" sz="3672" u="sng" dirty="0"/>
              <a:t>wherever</a:t>
            </a:r>
            <a:r>
              <a:rPr lang="en-US" sz="3672" dirty="0"/>
              <a:t> they are</a:t>
            </a:r>
          </a:p>
          <a:p>
            <a:pPr>
              <a:spcBef>
                <a:spcPts val="2400"/>
              </a:spcBef>
            </a:pPr>
            <a:r>
              <a:rPr lang="en-US" sz="3672" dirty="0" smtClean="0"/>
              <a:t>… while </a:t>
            </a:r>
            <a:r>
              <a:rPr lang="en-US" sz="3672" u="sng" dirty="0"/>
              <a:t>remaining in compliance </a:t>
            </a:r>
            <a:r>
              <a:rPr lang="en-US" sz="3672" dirty="0"/>
              <a:t>with </a:t>
            </a:r>
            <a:r>
              <a:rPr lang="en-US" sz="3672" dirty="0" smtClean="0"/>
              <a:t>policies</a:t>
            </a:r>
            <a:endParaRPr lang="en-US" sz="3672" dirty="0"/>
          </a:p>
        </p:txBody>
      </p:sp>
    </p:spTree>
    <p:extLst>
      <p:ext uri="{BB962C8B-B14F-4D97-AF65-F5344CB8AC3E}">
        <p14:creationId xmlns:p14="http://schemas.microsoft.com/office/powerpoint/2010/main" val="23692676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animEffect transition="in" filter="fade">
                                      <p:cBhvr>
                                        <p:cTn id="7" dur="500"/>
                                        <p:tgtEl>
                                          <p:spTgt spid="2">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xEl>
                                              <p:pRg st="2" end="2"/>
                                            </p:txEl>
                                          </p:spTgt>
                                        </p:tgtEl>
                                        <p:attrNameLst>
                                          <p:attrName>style.visibility</p:attrName>
                                        </p:attrNameLst>
                                      </p:cBhvr>
                                      <p:to>
                                        <p:strVal val="visible"/>
                                      </p:to>
                                    </p:set>
                                    <p:animEffect transition="in" filter="fade">
                                      <p:cBhvr>
                                        <p:cTn id="12" dur="500"/>
                                        <p:tgtEl>
                                          <p:spTgt spid="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xEl>
                                              <p:pRg st="3" end="3"/>
                                            </p:txEl>
                                          </p:spTgt>
                                        </p:tgtEl>
                                        <p:attrNameLst>
                                          <p:attrName>style.visibility</p:attrName>
                                        </p:attrNameLst>
                                      </p:cBhvr>
                                      <p:to>
                                        <p:strVal val="visible"/>
                                      </p:to>
                                    </p:set>
                                    <p:animEffect transition="in" filter="fade">
                                      <p:cBhvr>
                                        <p:cTn id="17" dur="500"/>
                                        <p:tgtEl>
                                          <p:spTgt spid="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xEl>
                                              <p:pRg st="4" end="4"/>
                                            </p:txEl>
                                          </p:spTgt>
                                        </p:tgtEl>
                                        <p:attrNameLst>
                                          <p:attrName>style.visibility</p:attrName>
                                        </p:attrNameLst>
                                      </p:cBhvr>
                                      <p:to>
                                        <p:strVal val="visible"/>
                                      </p:to>
                                    </p:set>
                                    <p:animEffect transition="in" filter="fade">
                                      <p:cBhvr>
                                        <p:cTn id="22" dur="500"/>
                                        <p:tgtEl>
                                          <p:spTgt spid="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animEffect transition="in" filter="fade">
                                      <p:cBhvr>
                                        <p:cTn id="27" dur="500"/>
                                        <p:tgtEl>
                                          <p:spTgt spid="2">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ork Folders Topology</a:t>
            </a:r>
            <a:endParaRPr lang="en-US" dirty="0"/>
          </a:p>
        </p:txBody>
      </p:sp>
      <p:sp>
        <p:nvSpPr>
          <p:cNvPr id="4" name="Rectangle 3"/>
          <p:cNvSpPr/>
          <p:nvPr/>
        </p:nvSpPr>
        <p:spPr>
          <a:xfrm>
            <a:off x="676072" y="1983177"/>
            <a:ext cx="1735018" cy="413526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sp>
        <p:nvSpPr>
          <p:cNvPr id="5" name="Rectangle 4"/>
          <p:cNvSpPr/>
          <p:nvPr/>
        </p:nvSpPr>
        <p:spPr>
          <a:xfrm>
            <a:off x="3953183" y="1721710"/>
            <a:ext cx="7721921" cy="439673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pic>
        <p:nvPicPr>
          <p:cNvPr id="7" name="Picture 6" descr="Untitled-1.png"/>
          <p:cNvPicPr>
            <a:picLocks noChangeAspect="1"/>
          </p:cNvPicPr>
          <p:nvPr/>
        </p:nvPicPr>
        <p:blipFill>
          <a:blip r:embed="rId3" cstate="print">
            <a:lum bright="70000" contrast="-70000"/>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tretch>
            <a:fillRect/>
          </a:stretch>
        </p:blipFill>
        <p:spPr>
          <a:xfrm>
            <a:off x="7489071" y="3258595"/>
            <a:ext cx="423752" cy="491385"/>
          </a:xfrm>
          <a:prstGeom prst="rect">
            <a:avLst/>
          </a:prstGeom>
          <a:noFill/>
          <a:ln>
            <a:noFill/>
          </a:ln>
        </p:spPr>
      </p:pic>
      <p:sp>
        <p:nvSpPr>
          <p:cNvPr id="10" name="Freeform 20"/>
          <p:cNvSpPr>
            <a:spLocks noChangeAspect="1" noEditPoints="1"/>
          </p:cNvSpPr>
          <p:nvPr/>
        </p:nvSpPr>
        <p:spPr bwMode="black">
          <a:xfrm>
            <a:off x="10368505" y="3773545"/>
            <a:ext cx="756404" cy="49083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ysClr val="window" lastClr="FFFFFF"/>
          </a:solidFill>
          <a:ln>
            <a:solidFill>
              <a:sysClr val="window" lastClr="FFFFFF"/>
            </a:solidFill>
          </a:ln>
          <a:extLst/>
        </p:spPr>
        <p:txBody>
          <a:bodyPr vert="horz" wrap="square" lIns="85377" tIns="42689" rIns="85377" bIns="42689" numCol="1" anchor="t" anchorCtr="0" compatLnSpc="1">
            <a:prstTxWarp prst="textNoShape">
              <a:avLst/>
            </a:prstTxWarp>
          </a:bodyPr>
          <a:lstStyle/>
          <a:p>
            <a:pPr defTabSz="948778">
              <a:defRPr/>
            </a:pPr>
            <a:endParaRPr lang="en-US" sz="934" kern="0" dirty="0">
              <a:solidFill>
                <a:prstClr val="black"/>
              </a:solidFill>
            </a:endParaRPr>
          </a:p>
        </p:txBody>
      </p:sp>
      <p:cxnSp>
        <p:nvCxnSpPr>
          <p:cNvPr id="43" name="Straight Connector 42"/>
          <p:cNvCxnSpPr/>
          <p:nvPr/>
        </p:nvCxnSpPr>
        <p:spPr>
          <a:xfrm flipH="1" flipV="1">
            <a:off x="7814144" y="4051476"/>
            <a:ext cx="2078758" cy="403665"/>
          </a:xfrm>
          <a:prstGeom prst="line">
            <a:avLst/>
          </a:prstGeom>
          <a:noFill/>
          <a:ln w="25400" cap="rnd" cmpd="sng" algn="ctr">
            <a:solidFill>
              <a:sysClr val="window" lastClr="FFFFFF"/>
            </a:solidFill>
            <a:prstDash val="sysDot"/>
            <a:miter lim="800000"/>
            <a:headEnd type="none"/>
            <a:tailEnd type="none"/>
          </a:ln>
          <a:effectLst/>
        </p:spPr>
      </p:cxnSp>
      <p:grpSp>
        <p:nvGrpSpPr>
          <p:cNvPr id="44" name="Group 43"/>
          <p:cNvGrpSpPr/>
          <p:nvPr/>
        </p:nvGrpSpPr>
        <p:grpSpPr>
          <a:xfrm>
            <a:off x="6934925" y="3528533"/>
            <a:ext cx="1026727" cy="1292831"/>
            <a:chOff x="6762785" y="2483449"/>
            <a:chExt cx="1009181" cy="1270740"/>
          </a:xfrm>
          <a:solidFill>
            <a:schemeClr val="tx1"/>
          </a:solidFill>
        </p:grpSpPr>
        <p:sp>
          <p:nvSpPr>
            <p:cNvPr id="45" name="Freeform 6"/>
            <p:cNvSpPr>
              <a:spLocks noEditPoints="1"/>
            </p:cNvSpPr>
            <p:nvPr/>
          </p:nvSpPr>
          <p:spPr bwMode="auto">
            <a:xfrm>
              <a:off x="6980850" y="2483449"/>
              <a:ext cx="565424" cy="910775"/>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grpFill/>
            <a:ln>
              <a:solidFill>
                <a:srgbClr val="5B9BD5"/>
              </a:solidFill>
            </a:ln>
          </p:spPr>
          <p:txBody>
            <a:bodyPr vert="horz" wrap="square" lIns="113851" tIns="56926" rIns="113851" bIns="56926" numCol="1" anchor="t" anchorCtr="0" compatLnSpc="1">
              <a:prstTxWarp prst="textNoShape">
                <a:avLst/>
              </a:prstTxWarp>
            </a:bodyPr>
            <a:lstStyle/>
            <a:p>
              <a:pPr defTabSz="948778">
                <a:defRPr/>
              </a:pPr>
              <a:endParaRPr lang="en-US" sz="1867" kern="0" dirty="0">
                <a:solidFill>
                  <a:prstClr val="black"/>
                </a:solidFill>
              </a:endParaRPr>
            </a:p>
          </p:txBody>
        </p:sp>
        <p:sp>
          <p:nvSpPr>
            <p:cNvPr id="46" name="Rectangle 45"/>
            <p:cNvSpPr/>
            <p:nvPr/>
          </p:nvSpPr>
          <p:spPr>
            <a:xfrm>
              <a:off x="6762785" y="3503050"/>
              <a:ext cx="1009181" cy="251139"/>
            </a:xfrm>
            <a:prstGeom prst="rect">
              <a:avLst/>
            </a:prstGeom>
            <a:noFill/>
            <a:ln>
              <a:noFill/>
            </a:ln>
          </p:spPr>
          <p:txBody>
            <a:bodyPr wrap="none" lIns="0" tIns="0" rIns="0" bIns="0" anchor="ctr">
              <a:spAutoFit/>
            </a:bodyPr>
            <a:lstStyle/>
            <a:p>
              <a:pPr algn="ctr" defTabSz="1137712" fontAlgn="base">
                <a:spcBef>
                  <a:spcPts val="1494"/>
                </a:spcBef>
                <a:spcAft>
                  <a:spcPct val="0"/>
                </a:spcAft>
              </a:pPr>
              <a:r>
                <a:rPr lang="en-US" sz="1628" dirty="0">
                  <a:ln>
                    <a:solidFill>
                      <a:srgbClr val="FFFFFF">
                        <a:alpha val="0"/>
                      </a:srgbClr>
                    </a:solidFill>
                  </a:ln>
                  <a:solidFill>
                    <a:prstClr val="white"/>
                  </a:solidFill>
                  <a:latin typeface="Segoe"/>
                </a:rPr>
                <a:t>File Server</a:t>
              </a:r>
            </a:p>
          </p:txBody>
        </p:sp>
      </p:grpSp>
      <p:cxnSp>
        <p:nvCxnSpPr>
          <p:cNvPr id="47" name="Straight Connector 46"/>
          <p:cNvCxnSpPr/>
          <p:nvPr/>
        </p:nvCxnSpPr>
        <p:spPr>
          <a:xfrm flipH="1">
            <a:off x="4282303" y="4038187"/>
            <a:ext cx="2763296" cy="11744"/>
          </a:xfrm>
          <a:prstGeom prst="line">
            <a:avLst/>
          </a:prstGeom>
          <a:noFill/>
          <a:ln w="25400" cap="rnd" cmpd="sng" algn="ctr">
            <a:solidFill>
              <a:sysClr val="window" lastClr="FFFFFF"/>
            </a:solidFill>
            <a:prstDash val="sysDot"/>
            <a:miter lim="800000"/>
            <a:headEnd type="none"/>
            <a:tailEnd type="none"/>
          </a:ln>
          <a:effectLst/>
        </p:spPr>
      </p:cxnSp>
      <p:sp>
        <p:nvSpPr>
          <p:cNvPr id="49" name="Freeform 20"/>
          <p:cNvSpPr>
            <a:spLocks noChangeAspect="1" noEditPoints="1"/>
          </p:cNvSpPr>
          <p:nvPr/>
        </p:nvSpPr>
        <p:spPr bwMode="black">
          <a:xfrm>
            <a:off x="1124818" y="5109150"/>
            <a:ext cx="756404" cy="490832"/>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ysClr val="window" lastClr="FFFFFF"/>
          </a:solidFill>
          <a:ln>
            <a:solidFill>
              <a:sysClr val="window" lastClr="FFFFFF"/>
            </a:solidFill>
          </a:ln>
          <a:extLst/>
        </p:spPr>
        <p:txBody>
          <a:bodyPr vert="horz" wrap="square" lIns="85377" tIns="42689" rIns="85377" bIns="42689" numCol="1" anchor="t" anchorCtr="0" compatLnSpc="1">
            <a:prstTxWarp prst="textNoShape">
              <a:avLst/>
            </a:prstTxWarp>
          </a:bodyPr>
          <a:lstStyle/>
          <a:p>
            <a:pPr defTabSz="948778">
              <a:defRPr/>
            </a:pPr>
            <a:endParaRPr lang="en-US" sz="934" kern="0" dirty="0">
              <a:solidFill>
                <a:prstClr val="black"/>
              </a:solidFill>
            </a:endParaRPr>
          </a:p>
        </p:txBody>
      </p:sp>
      <p:grpSp>
        <p:nvGrpSpPr>
          <p:cNvPr id="51" name="Group 50"/>
          <p:cNvGrpSpPr/>
          <p:nvPr/>
        </p:nvGrpSpPr>
        <p:grpSpPr>
          <a:xfrm>
            <a:off x="1253969" y="4127800"/>
            <a:ext cx="438081" cy="577561"/>
            <a:chOff x="11005605" y="4867100"/>
            <a:chExt cx="422250" cy="556690"/>
          </a:xfrm>
        </p:grpSpPr>
        <p:sp>
          <p:nvSpPr>
            <p:cNvPr id="52" name="Rounded Rectangle 2"/>
            <p:cNvSpPr>
              <a:spLocks noChangeAspect="1"/>
            </p:cNvSpPr>
            <p:nvPr/>
          </p:nvSpPr>
          <p:spPr>
            <a:xfrm>
              <a:off x="11005605" y="4867100"/>
              <a:ext cx="422250" cy="556690"/>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ysClr val="window" lastClr="FFFFFF"/>
            </a:solidFill>
            <a:ln w="3175"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53" name="Picture 5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84742" y="4951096"/>
              <a:ext cx="268350" cy="162299"/>
            </a:xfrm>
            <a:prstGeom prst="rect">
              <a:avLst/>
            </a:prstGeom>
            <a:solidFill>
              <a:srgbClr val="5B9BD5"/>
            </a:solidFill>
            <a:ln>
              <a:solidFill>
                <a:srgbClr val="5B9BD5"/>
              </a:solidFill>
            </a:ln>
          </p:spPr>
        </p:pic>
      </p:grpSp>
      <p:grpSp>
        <p:nvGrpSpPr>
          <p:cNvPr id="54" name="Group 53"/>
          <p:cNvGrpSpPr>
            <a:grpSpLocks noChangeAspect="1"/>
          </p:cNvGrpSpPr>
          <p:nvPr/>
        </p:nvGrpSpPr>
        <p:grpSpPr>
          <a:xfrm>
            <a:off x="1132628" y="3165910"/>
            <a:ext cx="680764" cy="498765"/>
            <a:chOff x="4415969" y="5352274"/>
            <a:chExt cx="891224" cy="652963"/>
          </a:xfrm>
        </p:grpSpPr>
        <p:sp>
          <p:nvSpPr>
            <p:cNvPr id="55" name="Rounded Rectangle 48"/>
            <p:cNvSpPr/>
            <p:nvPr/>
          </p:nvSpPr>
          <p:spPr>
            <a:xfrm rot="16200000">
              <a:off x="4535099" y="5233144"/>
              <a:ext cx="652963" cy="891224"/>
            </a:xfrm>
            <a:custGeom>
              <a:avLst/>
              <a:gdLst/>
              <a:ahLst/>
              <a:cxnLst/>
              <a:rect l="l" t="t" r="r" b="b"/>
              <a:pathLst>
                <a:path w="736600" h="929111">
                  <a:moveTo>
                    <a:pt x="163799" y="872703"/>
                  </a:moveTo>
                  <a:lnTo>
                    <a:pt x="163799" y="907053"/>
                  </a:lnTo>
                  <a:lnTo>
                    <a:pt x="198149" y="907053"/>
                  </a:lnTo>
                  <a:lnTo>
                    <a:pt x="198149" y="872703"/>
                  </a:lnTo>
                  <a:close/>
                  <a:moveTo>
                    <a:pt x="103474" y="872703"/>
                  </a:moveTo>
                  <a:lnTo>
                    <a:pt x="103474" y="907053"/>
                  </a:lnTo>
                  <a:lnTo>
                    <a:pt x="137824" y="907053"/>
                  </a:lnTo>
                  <a:lnTo>
                    <a:pt x="137824" y="872703"/>
                  </a:lnTo>
                  <a:close/>
                  <a:moveTo>
                    <a:pt x="85808" y="64817"/>
                  </a:moveTo>
                  <a:cubicBezTo>
                    <a:pt x="69794" y="64817"/>
                    <a:pt x="56812" y="79948"/>
                    <a:pt x="56812" y="98612"/>
                  </a:cubicBezTo>
                  <a:lnTo>
                    <a:pt x="56812" y="819588"/>
                  </a:lnTo>
                  <a:cubicBezTo>
                    <a:pt x="56812" y="838252"/>
                    <a:pt x="69794" y="853383"/>
                    <a:pt x="85808" y="853383"/>
                  </a:cubicBezTo>
                  <a:lnTo>
                    <a:pt x="652992" y="853383"/>
                  </a:lnTo>
                  <a:cubicBezTo>
                    <a:pt x="669005" y="853383"/>
                    <a:pt x="681988" y="838252"/>
                    <a:pt x="681988" y="819588"/>
                  </a:cubicBezTo>
                  <a:lnTo>
                    <a:pt x="681988" y="98612"/>
                  </a:lnTo>
                  <a:cubicBezTo>
                    <a:pt x="681988" y="79948"/>
                    <a:pt x="669005" y="64817"/>
                    <a:pt x="652992" y="64817"/>
                  </a:cubicBezTo>
                  <a:close/>
                  <a:moveTo>
                    <a:pt x="34164" y="0"/>
                  </a:moveTo>
                  <a:lnTo>
                    <a:pt x="702437" y="0"/>
                  </a:lnTo>
                  <a:cubicBezTo>
                    <a:pt x="721305" y="0"/>
                    <a:pt x="736600" y="17827"/>
                    <a:pt x="736600" y="39818"/>
                  </a:cubicBezTo>
                  <a:lnTo>
                    <a:pt x="736600" y="889293"/>
                  </a:lnTo>
                  <a:cubicBezTo>
                    <a:pt x="736600" y="911284"/>
                    <a:pt x="721305" y="929111"/>
                    <a:pt x="702437" y="929111"/>
                  </a:cubicBezTo>
                  <a:lnTo>
                    <a:pt x="34164" y="929111"/>
                  </a:lnTo>
                  <a:cubicBezTo>
                    <a:pt x="15296" y="929111"/>
                    <a:pt x="0" y="911284"/>
                    <a:pt x="0" y="889293"/>
                  </a:cubicBezTo>
                  <a:lnTo>
                    <a:pt x="0" y="39818"/>
                  </a:lnTo>
                  <a:cubicBezTo>
                    <a:pt x="0" y="17827"/>
                    <a:pt x="15296" y="0"/>
                    <a:pt x="34164" y="0"/>
                  </a:cubicBezTo>
                  <a:close/>
                </a:path>
              </a:pathLst>
            </a:custGeom>
            <a:solidFill>
              <a:sysClr val="window" lastClr="FFFFFF"/>
            </a:solidFill>
            <a:ln w="12700"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56" name="Picture 10"/>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r="12273"/>
            <a:stretch/>
          </p:blipFill>
          <p:spPr bwMode="auto">
            <a:xfrm>
              <a:off x="4506856" y="5447251"/>
              <a:ext cx="725545" cy="409351"/>
            </a:xfrm>
            <a:prstGeom prst="rect">
              <a:avLst/>
            </a:prstGeom>
            <a:solidFill>
              <a:srgbClr val="5B9BD5"/>
            </a:solidFill>
            <a:ln w="9525">
              <a:solidFill>
                <a:srgbClr val="5B9BD5"/>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9" name="Group 58"/>
          <p:cNvGrpSpPr>
            <a:grpSpLocks noChangeAspect="1"/>
          </p:cNvGrpSpPr>
          <p:nvPr/>
        </p:nvGrpSpPr>
        <p:grpSpPr>
          <a:xfrm>
            <a:off x="1130440" y="2272848"/>
            <a:ext cx="865191" cy="464992"/>
            <a:chOff x="9686523" y="2845115"/>
            <a:chExt cx="1537594" cy="798395"/>
          </a:xfrm>
        </p:grpSpPr>
        <p:sp>
          <p:nvSpPr>
            <p:cNvPr id="60" name="Freeform 5"/>
            <p:cNvSpPr>
              <a:spLocks noEditPoints="1"/>
            </p:cNvSpPr>
            <p:nvPr/>
          </p:nvSpPr>
          <p:spPr bwMode="auto">
            <a:xfrm>
              <a:off x="9686523" y="2845115"/>
              <a:ext cx="1169444" cy="738188"/>
            </a:xfrm>
            <a:custGeom>
              <a:avLst/>
              <a:gdLst>
                <a:gd name="T0" fmla="*/ 12 w 142"/>
                <a:gd name="T1" fmla="*/ 103 h 137"/>
                <a:gd name="T2" fmla="*/ 130 w 142"/>
                <a:gd name="T3" fmla="*/ 103 h 137"/>
                <a:gd name="T4" fmla="*/ 130 w 142"/>
                <a:gd name="T5" fmla="*/ 12 h 137"/>
                <a:gd name="T6" fmla="*/ 12 w 142"/>
                <a:gd name="T7" fmla="*/ 12 h 137"/>
                <a:gd name="T8" fmla="*/ 12 w 142"/>
                <a:gd name="T9" fmla="*/ 103 h 137"/>
                <a:gd name="T10" fmla="*/ 0 w 142"/>
                <a:gd name="T11" fmla="*/ 107 h 137"/>
                <a:gd name="T12" fmla="*/ 0 w 142"/>
                <a:gd name="T13" fmla="*/ 8 h 137"/>
                <a:gd name="T14" fmla="*/ 8 w 142"/>
                <a:gd name="T15" fmla="*/ 0 h 137"/>
                <a:gd name="T16" fmla="*/ 134 w 142"/>
                <a:gd name="T17" fmla="*/ 0 h 137"/>
                <a:gd name="T18" fmla="*/ 142 w 142"/>
                <a:gd name="T19" fmla="*/ 8 h 137"/>
                <a:gd name="T20" fmla="*/ 142 w 142"/>
                <a:gd name="T21" fmla="*/ 107 h 137"/>
                <a:gd name="T22" fmla="*/ 134 w 142"/>
                <a:gd name="T23" fmla="*/ 115 h 137"/>
                <a:gd name="T24" fmla="*/ 86 w 142"/>
                <a:gd name="T25" fmla="*/ 115 h 137"/>
                <a:gd name="T26" fmla="*/ 86 w 142"/>
                <a:gd name="T27" fmla="*/ 128 h 137"/>
                <a:gd name="T28" fmla="*/ 120 w 142"/>
                <a:gd name="T29" fmla="*/ 137 h 137"/>
                <a:gd name="T30" fmla="*/ 23 w 142"/>
                <a:gd name="T31" fmla="*/ 137 h 137"/>
                <a:gd name="T32" fmla="*/ 57 w 142"/>
                <a:gd name="T33" fmla="*/ 128 h 137"/>
                <a:gd name="T34" fmla="*/ 57 w 142"/>
                <a:gd name="T35" fmla="*/ 115 h 137"/>
                <a:gd name="T36" fmla="*/ 8 w 142"/>
                <a:gd name="T37" fmla="*/ 115 h 137"/>
                <a:gd name="T38" fmla="*/ 0 w 142"/>
                <a:gd name="T39" fmla="*/ 10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2" h="137">
                  <a:moveTo>
                    <a:pt x="12" y="103"/>
                  </a:moveTo>
                  <a:cubicBezTo>
                    <a:pt x="130" y="103"/>
                    <a:pt x="130" y="103"/>
                    <a:pt x="130" y="103"/>
                  </a:cubicBezTo>
                  <a:cubicBezTo>
                    <a:pt x="130" y="12"/>
                    <a:pt x="130" y="12"/>
                    <a:pt x="130" y="12"/>
                  </a:cubicBezTo>
                  <a:cubicBezTo>
                    <a:pt x="12" y="12"/>
                    <a:pt x="12" y="12"/>
                    <a:pt x="12" y="12"/>
                  </a:cubicBezTo>
                  <a:lnTo>
                    <a:pt x="12" y="103"/>
                  </a:lnTo>
                  <a:close/>
                  <a:moveTo>
                    <a:pt x="0" y="107"/>
                  </a:moveTo>
                  <a:cubicBezTo>
                    <a:pt x="0" y="8"/>
                    <a:pt x="0" y="8"/>
                    <a:pt x="0" y="8"/>
                  </a:cubicBezTo>
                  <a:cubicBezTo>
                    <a:pt x="0" y="4"/>
                    <a:pt x="4" y="0"/>
                    <a:pt x="8" y="0"/>
                  </a:cubicBezTo>
                  <a:cubicBezTo>
                    <a:pt x="134" y="0"/>
                    <a:pt x="134" y="0"/>
                    <a:pt x="134" y="0"/>
                  </a:cubicBezTo>
                  <a:cubicBezTo>
                    <a:pt x="139" y="0"/>
                    <a:pt x="142" y="4"/>
                    <a:pt x="142" y="8"/>
                  </a:cubicBezTo>
                  <a:cubicBezTo>
                    <a:pt x="142" y="107"/>
                    <a:pt x="142" y="107"/>
                    <a:pt x="142" y="107"/>
                  </a:cubicBezTo>
                  <a:cubicBezTo>
                    <a:pt x="142" y="112"/>
                    <a:pt x="139" y="115"/>
                    <a:pt x="134" y="115"/>
                  </a:cubicBezTo>
                  <a:cubicBezTo>
                    <a:pt x="86" y="115"/>
                    <a:pt x="86" y="115"/>
                    <a:pt x="86" y="115"/>
                  </a:cubicBezTo>
                  <a:cubicBezTo>
                    <a:pt x="86" y="128"/>
                    <a:pt x="86" y="128"/>
                    <a:pt x="86" y="128"/>
                  </a:cubicBezTo>
                  <a:cubicBezTo>
                    <a:pt x="106" y="129"/>
                    <a:pt x="120" y="133"/>
                    <a:pt x="120" y="137"/>
                  </a:cubicBezTo>
                  <a:cubicBezTo>
                    <a:pt x="23" y="137"/>
                    <a:pt x="23" y="137"/>
                    <a:pt x="23" y="137"/>
                  </a:cubicBezTo>
                  <a:cubicBezTo>
                    <a:pt x="23" y="133"/>
                    <a:pt x="37" y="129"/>
                    <a:pt x="57" y="128"/>
                  </a:cubicBezTo>
                  <a:cubicBezTo>
                    <a:pt x="57" y="115"/>
                    <a:pt x="57" y="115"/>
                    <a:pt x="57" y="115"/>
                  </a:cubicBezTo>
                  <a:cubicBezTo>
                    <a:pt x="8" y="115"/>
                    <a:pt x="8" y="115"/>
                    <a:pt x="8" y="115"/>
                  </a:cubicBezTo>
                  <a:cubicBezTo>
                    <a:pt x="4" y="115"/>
                    <a:pt x="0" y="112"/>
                    <a:pt x="0" y="10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0" tIns="46515" rIns="93030" bIns="46515" numCol="1" anchor="t" anchorCtr="0" compatLnSpc="1">
              <a:prstTxWarp prst="textNoShape">
                <a:avLst/>
              </a:prstTxWarp>
            </a:bodyPr>
            <a:lstStyle/>
            <a:p>
              <a:endParaRPr lang="en-US" sz="1831">
                <a:solidFill>
                  <a:prstClr val="white"/>
                </a:solidFill>
              </a:endParaRPr>
            </a:p>
          </p:txBody>
        </p:sp>
        <p:sp>
          <p:nvSpPr>
            <p:cNvPr id="61" name="Freeform 6"/>
            <p:cNvSpPr>
              <a:spLocks noEditPoints="1"/>
            </p:cNvSpPr>
            <p:nvPr/>
          </p:nvSpPr>
          <p:spPr bwMode="auto">
            <a:xfrm>
              <a:off x="10981518" y="3143161"/>
              <a:ext cx="242599" cy="500349"/>
            </a:xfrm>
            <a:custGeom>
              <a:avLst/>
              <a:gdLst>
                <a:gd name="T0" fmla="*/ 7 w 62"/>
                <a:gd name="T1" fmla="*/ 25 h 137"/>
                <a:gd name="T2" fmla="*/ 7 w 62"/>
                <a:gd name="T3" fmla="*/ 32 h 137"/>
                <a:gd name="T4" fmla="*/ 55 w 62"/>
                <a:gd name="T5" fmla="*/ 32 h 137"/>
                <a:gd name="T6" fmla="*/ 55 w 62"/>
                <a:gd name="T7" fmla="*/ 25 h 137"/>
                <a:gd name="T8" fmla="*/ 7 w 62"/>
                <a:gd name="T9" fmla="*/ 25 h 137"/>
                <a:gd name="T10" fmla="*/ 15 w 62"/>
                <a:gd name="T11" fmla="*/ 113 h 137"/>
                <a:gd name="T12" fmla="*/ 15 w 62"/>
                <a:gd name="T13" fmla="*/ 107 h 137"/>
                <a:gd name="T14" fmla="*/ 7 w 62"/>
                <a:gd name="T15" fmla="*/ 107 h 137"/>
                <a:gd name="T16" fmla="*/ 7 w 62"/>
                <a:gd name="T17" fmla="*/ 113 h 137"/>
                <a:gd name="T18" fmla="*/ 15 w 62"/>
                <a:gd name="T19" fmla="*/ 113 h 137"/>
                <a:gd name="T20" fmla="*/ 15 w 62"/>
                <a:gd name="T21" fmla="*/ 103 h 137"/>
                <a:gd name="T22" fmla="*/ 15 w 62"/>
                <a:gd name="T23" fmla="*/ 97 h 137"/>
                <a:gd name="T24" fmla="*/ 7 w 62"/>
                <a:gd name="T25" fmla="*/ 97 h 137"/>
                <a:gd name="T26" fmla="*/ 7 w 62"/>
                <a:gd name="T27" fmla="*/ 103 h 137"/>
                <a:gd name="T28" fmla="*/ 15 w 62"/>
                <a:gd name="T29" fmla="*/ 103 h 137"/>
                <a:gd name="T30" fmla="*/ 55 w 62"/>
                <a:gd name="T31" fmla="*/ 124 h 137"/>
                <a:gd name="T32" fmla="*/ 55 w 62"/>
                <a:gd name="T33" fmla="*/ 118 h 137"/>
                <a:gd name="T34" fmla="*/ 7 w 62"/>
                <a:gd name="T35" fmla="*/ 118 h 137"/>
                <a:gd name="T36" fmla="*/ 7 w 62"/>
                <a:gd name="T37" fmla="*/ 124 h 137"/>
                <a:gd name="T38" fmla="*/ 55 w 62"/>
                <a:gd name="T39" fmla="*/ 124 h 137"/>
                <a:gd name="T40" fmla="*/ 55 w 62"/>
                <a:gd name="T41" fmla="*/ 19 h 137"/>
                <a:gd name="T42" fmla="*/ 55 w 62"/>
                <a:gd name="T43" fmla="*/ 13 h 137"/>
                <a:gd name="T44" fmla="*/ 7 w 62"/>
                <a:gd name="T45" fmla="*/ 13 h 137"/>
                <a:gd name="T46" fmla="*/ 7 w 62"/>
                <a:gd name="T47" fmla="*/ 19 h 137"/>
                <a:gd name="T48" fmla="*/ 55 w 62"/>
                <a:gd name="T49" fmla="*/ 19 h 137"/>
                <a:gd name="T50" fmla="*/ 62 w 62"/>
                <a:gd name="T51" fmla="*/ 8 h 137"/>
                <a:gd name="T52" fmla="*/ 62 w 62"/>
                <a:gd name="T53" fmla="*/ 129 h 137"/>
                <a:gd name="T54" fmla="*/ 54 w 62"/>
                <a:gd name="T55" fmla="*/ 137 h 137"/>
                <a:gd name="T56" fmla="*/ 8 w 62"/>
                <a:gd name="T57" fmla="*/ 137 h 137"/>
                <a:gd name="T58" fmla="*/ 0 w 62"/>
                <a:gd name="T59" fmla="*/ 129 h 137"/>
                <a:gd name="T60" fmla="*/ 0 w 62"/>
                <a:gd name="T61" fmla="*/ 8 h 137"/>
                <a:gd name="T62" fmla="*/ 8 w 62"/>
                <a:gd name="T63" fmla="*/ 0 h 137"/>
                <a:gd name="T64" fmla="*/ 54 w 62"/>
                <a:gd name="T65" fmla="*/ 0 h 137"/>
                <a:gd name="T66" fmla="*/ 62 w 62"/>
                <a:gd name="T67" fmla="*/ 8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37">
                  <a:moveTo>
                    <a:pt x="7" y="25"/>
                  </a:moveTo>
                  <a:cubicBezTo>
                    <a:pt x="7" y="32"/>
                    <a:pt x="7" y="32"/>
                    <a:pt x="7" y="32"/>
                  </a:cubicBezTo>
                  <a:cubicBezTo>
                    <a:pt x="55" y="32"/>
                    <a:pt x="55" y="32"/>
                    <a:pt x="55" y="32"/>
                  </a:cubicBezTo>
                  <a:cubicBezTo>
                    <a:pt x="55" y="25"/>
                    <a:pt x="55" y="25"/>
                    <a:pt x="55" y="25"/>
                  </a:cubicBezTo>
                  <a:lnTo>
                    <a:pt x="7" y="25"/>
                  </a:lnTo>
                  <a:close/>
                  <a:moveTo>
                    <a:pt x="15" y="113"/>
                  </a:moveTo>
                  <a:cubicBezTo>
                    <a:pt x="15" y="107"/>
                    <a:pt x="15" y="107"/>
                    <a:pt x="15" y="107"/>
                  </a:cubicBezTo>
                  <a:cubicBezTo>
                    <a:pt x="7" y="107"/>
                    <a:pt x="7" y="107"/>
                    <a:pt x="7" y="107"/>
                  </a:cubicBezTo>
                  <a:cubicBezTo>
                    <a:pt x="7" y="113"/>
                    <a:pt x="7" y="113"/>
                    <a:pt x="7" y="113"/>
                  </a:cubicBezTo>
                  <a:lnTo>
                    <a:pt x="15" y="113"/>
                  </a:lnTo>
                  <a:close/>
                  <a:moveTo>
                    <a:pt x="15" y="103"/>
                  </a:moveTo>
                  <a:cubicBezTo>
                    <a:pt x="15" y="97"/>
                    <a:pt x="15" y="97"/>
                    <a:pt x="15" y="97"/>
                  </a:cubicBezTo>
                  <a:cubicBezTo>
                    <a:pt x="7" y="97"/>
                    <a:pt x="7" y="97"/>
                    <a:pt x="7" y="97"/>
                  </a:cubicBezTo>
                  <a:cubicBezTo>
                    <a:pt x="7" y="103"/>
                    <a:pt x="7" y="103"/>
                    <a:pt x="7" y="103"/>
                  </a:cubicBezTo>
                  <a:lnTo>
                    <a:pt x="15" y="103"/>
                  </a:lnTo>
                  <a:close/>
                  <a:moveTo>
                    <a:pt x="55" y="124"/>
                  </a:moveTo>
                  <a:cubicBezTo>
                    <a:pt x="55" y="118"/>
                    <a:pt x="55" y="118"/>
                    <a:pt x="55" y="118"/>
                  </a:cubicBezTo>
                  <a:cubicBezTo>
                    <a:pt x="7" y="118"/>
                    <a:pt x="7" y="118"/>
                    <a:pt x="7" y="118"/>
                  </a:cubicBezTo>
                  <a:cubicBezTo>
                    <a:pt x="7" y="124"/>
                    <a:pt x="7" y="124"/>
                    <a:pt x="7" y="124"/>
                  </a:cubicBezTo>
                  <a:lnTo>
                    <a:pt x="55" y="124"/>
                  </a:lnTo>
                  <a:close/>
                  <a:moveTo>
                    <a:pt x="55" y="19"/>
                  </a:moveTo>
                  <a:cubicBezTo>
                    <a:pt x="55" y="13"/>
                    <a:pt x="55" y="13"/>
                    <a:pt x="55" y="13"/>
                  </a:cubicBezTo>
                  <a:cubicBezTo>
                    <a:pt x="7" y="13"/>
                    <a:pt x="7" y="13"/>
                    <a:pt x="7" y="13"/>
                  </a:cubicBezTo>
                  <a:cubicBezTo>
                    <a:pt x="7" y="19"/>
                    <a:pt x="7" y="19"/>
                    <a:pt x="7" y="19"/>
                  </a:cubicBezTo>
                  <a:lnTo>
                    <a:pt x="55" y="19"/>
                  </a:lnTo>
                  <a:close/>
                  <a:moveTo>
                    <a:pt x="62" y="8"/>
                  </a:moveTo>
                  <a:cubicBezTo>
                    <a:pt x="62" y="129"/>
                    <a:pt x="62" y="129"/>
                    <a:pt x="62" y="129"/>
                  </a:cubicBezTo>
                  <a:cubicBezTo>
                    <a:pt x="62" y="133"/>
                    <a:pt x="58" y="137"/>
                    <a:pt x="54" y="137"/>
                  </a:cubicBezTo>
                  <a:cubicBezTo>
                    <a:pt x="8" y="137"/>
                    <a:pt x="8" y="137"/>
                    <a:pt x="8" y="137"/>
                  </a:cubicBezTo>
                  <a:cubicBezTo>
                    <a:pt x="4" y="137"/>
                    <a:pt x="0" y="133"/>
                    <a:pt x="0" y="129"/>
                  </a:cubicBezTo>
                  <a:cubicBezTo>
                    <a:pt x="0" y="8"/>
                    <a:pt x="0" y="8"/>
                    <a:pt x="0" y="8"/>
                  </a:cubicBezTo>
                  <a:cubicBezTo>
                    <a:pt x="0" y="4"/>
                    <a:pt x="4" y="0"/>
                    <a:pt x="8" y="0"/>
                  </a:cubicBezTo>
                  <a:cubicBezTo>
                    <a:pt x="54" y="0"/>
                    <a:pt x="54" y="0"/>
                    <a:pt x="54" y="0"/>
                  </a:cubicBezTo>
                  <a:cubicBezTo>
                    <a:pt x="58" y="0"/>
                    <a:pt x="62" y="4"/>
                    <a:pt x="6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030" tIns="46515" rIns="93030" bIns="46515" numCol="1" anchor="t" anchorCtr="0" compatLnSpc="1">
              <a:prstTxWarp prst="textNoShape">
                <a:avLst/>
              </a:prstTxWarp>
            </a:bodyPr>
            <a:lstStyle/>
            <a:p>
              <a:endParaRPr lang="en-US" sz="1831">
                <a:solidFill>
                  <a:prstClr val="white"/>
                </a:solidFill>
              </a:endParaRPr>
            </a:p>
          </p:txBody>
        </p:sp>
      </p:grpSp>
      <p:sp>
        <p:nvSpPr>
          <p:cNvPr id="65" name="Rectangle 64"/>
          <p:cNvSpPr/>
          <p:nvPr/>
        </p:nvSpPr>
        <p:spPr>
          <a:xfrm>
            <a:off x="4053543" y="4187610"/>
            <a:ext cx="1391313" cy="2555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628" dirty="0">
                <a:ln>
                  <a:solidFill>
                    <a:srgbClr val="FFFFFF">
                      <a:alpha val="0"/>
                    </a:srgbClr>
                  </a:solidFill>
                </a:ln>
                <a:solidFill>
                  <a:prstClr val="white"/>
                </a:solidFill>
                <a:latin typeface="Segoe"/>
              </a:rPr>
              <a:t>Reverse Proxy</a:t>
            </a:r>
          </a:p>
        </p:txBody>
      </p:sp>
      <p:cxnSp>
        <p:nvCxnSpPr>
          <p:cNvPr id="66" name="Straight Connector 65"/>
          <p:cNvCxnSpPr/>
          <p:nvPr/>
        </p:nvCxnSpPr>
        <p:spPr>
          <a:xfrm flipH="1" flipV="1">
            <a:off x="2121308" y="2779329"/>
            <a:ext cx="1317430" cy="885342"/>
          </a:xfrm>
          <a:prstGeom prst="line">
            <a:avLst/>
          </a:prstGeom>
          <a:noFill/>
          <a:ln w="25400" cap="rnd" cmpd="sng" algn="ctr">
            <a:solidFill>
              <a:sysClr val="window" lastClr="FFFFFF"/>
            </a:solidFill>
            <a:prstDash val="sysDot"/>
            <a:miter lim="800000"/>
            <a:headEnd type="none"/>
            <a:tailEnd type="none"/>
          </a:ln>
          <a:effectLst/>
        </p:spPr>
      </p:cxnSp>
      <p:cxnSp>
        <p:nvCxnSpPr>
          <p:cNvPr id="67" name="Straight Connector 66"/>
          <p:cNvCxnSpPr/>
          <p:nvPr/>
        </p:nvCxnSpPr>
        <p:spPr>
          <a:xfrm flipH="1" flipV="1">
            <a:off x="2032542" y="3580907"/>
            <a:ext cx="1415140" cy="287471"/>
          </a:xfrm>
          <a:prstGeom prst="line">
            <a:avLst/>
          </a:prstGeom>
          <a:noFill/>
          <a:ln w="25400" cap="rnd" cmpd="sng" algn="ctr">
            <a:solidFill>
              <a:sysClr val="window" lastClr="FFFFFF"/>
            </a:solidFill>
            <a:prstDash val="sysDot"/>
            <a:miter lim="800000"/>
            <a:headEnd type="none"/>
            <a:tailEnd type="none"/>
          </a:ln>
          <a:effectLst/>
        </p:spPr>
      </p:cxnSp>
      <p:cxnSp>
        <p:nvCxnSpPr>
          <p:cNvPr id="68" name="Straight Connector 67"/>
          <p:cNvCxnSpPr/>
          <p:nvPr/>
        </p:nvCxnSpPr>
        <p:spPr>
          <a:xfrm flipH="1">
            <a:off x="2027227" y="4146824"/>
            <a:ext cx="1406748" cy="370842"/>
          </a:xfrm>
          <a:prstGeom prst="line">
            <a:avLst/>
          </a:prstGeom>
          <a:noFill/>
          <a:ln w="25400" cap="rnd" cmpd="sng" algn="ctr">
            <a:solidFill>
              <a:sysClr val="window" lastClr="FFFFFF"/>
            </a:solidFill>
            <a:prstDash val="sysDot"/>
            <a:miter lim="800000"/>
            <a:headEnd type="none"/>
            <a:tailEnd type="none"/>
          </a:ln>
          <a:effectLst/>
        </p:spPr>
      </p:cxnSp>
      <p:cxnSp>
        <p:nvCxnSpPr>
          <p:cNvPr id="69" name="Straight Connector 68"/>
          <p:cNvCxnSpPr/>
          <p:nvPr/>
        </p:nvCxnSpPr>
        <p:spPr>
          <a:xfrm flipH="1">
            <a:off x="2121307" y="4409050"/>
            <a:ext cx="1326375" cy="750012"/>
          </a:xfrm>
          <a:prstGeom prst="line">
            <a:avLst/>
          </a:prstGeom>
          <a:noFill/>
          <a:ln w="25400" cap="rnd" cmpd="sng" algn="ctr">
            <a:solidFill>
              <a:sysClr val="window" lastClr="FFFFFF"/>
            </a:solidFill>
            <a:prstDash val="sysDot"/>
            <a:miter lim="800000"/>
            <a:headEnd type="none"/>
            <a:tailEnd type="none"/>
          </a:ln>
          <a:effectLst/>
        </p:spPr>
      </p:cxnSp>
      <p:grpSp>
        <p:nvGrpSpPr>
          <p:cNvPr id="12" name="Group 11"/>
          <p:cNvGrpSpPr/>
          <p:nvPr/>
        </p:nvGrpSpPr>
        <p:grpSpPr>
          <a:xfrm>
            <a:off x="8226967" y="2452769"/>
            <a:ext cx="1139536" cy="962995"/>
            <a:chOff x="8063934" y="2079676"/>
            <a:chExt cx="1117294" cy="944198"/>
          </a:xfrm>
        </p:grpSpPr>
        <p:grpSp>
          <p:nvGrpSpPr>
            <p:cNvPr id="16" name="Group 15"/>
            <p:cNvGrpSpPr/>
            <p:nvPr/>
          </p:nvGrpSpPr>
          <p:grpSpPr>
            <a:xfrm>
              <a:off x="8243386" y="2310931"/>
              <a:ext cx="758388" cy="484080"/>
              <a:chOff x="1840649" y="4818296"/>
              <a:chExt cx="966161" cy="691914"/>
            </a:xfrm>
          </p:grpSpPr>
          <p:sp>
            <p:nvSpPr>
              <p:cNvPr id="17" name="Freeform 16"/>
              <p:cNvSpPr>
                <a:spLocks noChangeAspect="1"/>
              </p:cNvSpPr>
              <p:nvPr/>
            </p:nvSpPr>
            <p:spPr bwMode="auto">
              <a:xfrm>
                <a:off x="1840649" y="4818298"/>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solidFill>
              <a:ln w="9525" cap="flat" cmpd="sng">
                <a:solidFill>
                  <a:srgbClr val="5B9BD5"/>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18" name="Freeform 17"/>
              <p:cNvSpPr>
                <a:spLocks noChangeAspect="1"/>
              </p:cNvSpPr>
              <p:nvPr/>
            </p:nvSpPr>
            <p:spPr bwMode="auto">
              <a:xfrm flipH="1">
                <a:off x="2323761" y="4818296"/>
                <a:ext cx="483049" cy="691912"/>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ysClr val="window" lastClr="FFFFFF">
                  <a:lumMod val="85000"/>
                </a:sysClr>
              </a:solidFill>
              <a:ln w="9525" cap="flat" cmpd="sng">
                <a:solidFill>
                  <a:srgbClr val="5B9BD5"/>
                </a:solid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19" name="Oval 18"/>
              <p:cNvSpPr>
                <a:spLocks noChangeAspect="1" noChangeArrowheads="1"/>
              </p:cNvSpPr>
              <p:nvPr/>
            </p:nvSpPr>
            <p:spPr bwMode="auto">
              <a:xfrm>
                <a:off x="2201709" y="4985896"/>
                <a:ext cx="91441" cy="91439"/>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0" name="Oval 19"/>
              <p:cNvSpPr>
                <a:spLocks noChangeAspect="1" noChangeArrowheads="1"/>
              </p:cNvSpPr>
              <p:nvPr/>
            </p:nvSpPr>
            <p:spPr bwMode="auto">
              <a:xfrm flipH="1">
                <a:off x="2351276" y="4985914"/>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1" name="Oval 20"/>
              <p:cNvSpPr>
                <a:spLocks noChangeAspect="1" noChangeArrowheads="1"/>
              </p:cNvSpPr>
              <p:nvPr/>
            </p:nvSpPr>
            <p:spPr bwMode="auto">
              <a:xfrm>
                <a:off x="2201709" y="531709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2" name="Oval 21"/>
              <p:cNvSpPr>
                <a:spLocks noChangeAspect="1" noChangeArrowheads="1"/>
              </p:cNvSpPr>
              <p:nvPr/>
            </p:nvSpPr>
            <p:spPr bwMode="auto">
              <a:xfrm flipH="1">
                <a:off x="2351276" y="5317110"/>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3" name="Oval 22"/>
              <p:cNvSpPr>
                <a:spLocks noChangeAspect="1" noChangeArrowheads="1"/>
              </p:cNvSpPr>
              <p:nvPr/>
            </p:nvSpPr>
            <p:spPr bwMode="auto">
              <a:xfrm flipH="1">
                <a:off x="2477440" y="529328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4" name="Oval 23"/>
              <p:cNvSpPr>
                <a:spLocks noChangeAspect="1" noChangeArrowheads="1"/>
              </p:cNvSpPr>
              <p:nvPr/>
            </p:nvSpPr>
            <p:spPr bwMode="auto">
              <a:xfrm>
                <a:off x="2077441" y="5293282"/>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5" name="Oval 24"/>
              <p:cNvSpPr>
                <a:spLocks noChangeAspect="1" noChangeArrowheads="1"/>
              </p:cNvSpPr>
              <p:nvPr/>
            </p:nvSpPr>
            <p:spPr bwMode="auto">
              <a:xfrm flipH="1">
                <a:off x="2603604" y="5277799"/>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6" name="Oval 25"/>
              <p:cNvSpPr>
                <a:spLocks noChangeAspect="1" noChangeArrowheads="1"/>
              </p:cNvSpPr>
              <p:nvPr/>
            </p:nvSpPr>
            <p:spPr bwMode="auto">
              <a:xfrm flipH="1">
                <a:off x="1953173" y="5277799"/>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sp>
            <p:nvSpPr>
              <p:cNvPr id="27" name="Arc 26"/>
              <p:cNvSpPr/>
              <p:nvPr/>
            </p:nvSpPr>
            <p:spPr>
              <a:xfrm rot="5012506">
                <a:off x="2200463" y="5152334"/>
                <a:ext cx="197274" cy="174698"/>
              </a:xfrm>
              <a:prstGeom prst="arc">
                <a:avLst>
                  <a:gd name="adj1" fmla="val 16200000"/>
                  <a:gd name="adj2" fmla="val 814800"/>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sp>
            <p:nvSpPr>
              <p:cNvPr id="28" name="Arc 27"/>
              <p:cNvSpPr/>
              <p:nvPr/>
            </p:nvSpPr>
            <p:spPr>
              <a:xfrm rot="16587494" flipH="1">
                <a:off x="2252986" y="5152334"/>
                <a:ext cx="197274" cy="174698"/>
              </a:xfrm>
              <a:prstGeom prst="arc">
                <a:avLst>
                  <a:gd name="adj1" fmla="val 16200000"/>
                  <a:gd name="adj2" fmla="val 814800"/>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sp>
            <p:nvSpPr>
              <p:cNvPr id="29" name="Arc 28"/>
              <p:cNvSpPr/>
              <p:nvPr/>
            </p:nvSpPr>
            <p:spPr>
              <a:xfrm rot="7395384">
                <a:off x="2218960" y="4926421"/>
                <a:ext cx="150756" cy="174698"/>
              </a:xfrm>
              <a:prstGeom prst="arc">
                <a:avLst>
                  <a:gd name="adj1" fmla="val 16200000"/>
                  <a:gd name="adj2" fmla="val 21459126"/>
                </a:avLst>
              </a:prstGeom>
              <a:noFill/>
              <a:ln w="9525" cap="flat" cmpd="sng" algn="ctr">
                <a:solidFill>
                  <a:srgbClr val="5B9BD5"/>
                </a:solid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defRPr/>
                </a:pPr>
                <a:endParaRPr lang="en-US" sz="1867" dirty="0">
                  <a:ln>
                    <a:solidFill>
                      <a:srgbClr val="FFFFFF">
                        <a:alpha val="0"/>
                      </a:srgbClr>
                    </a:solidFill>
                  </a:ln>
                  <a:solidFill>
                    <a:prstClr val="black"/>
                  </a:solidFill>
                </a:endParaRPr>
              </a:p>
            </p:txBody>
          </p:sp>
          <p:cxnSp>
            <p:nvCxnSpPr>
              <p:cNvPr id="30" name="Straight Connector 29"/>
              <p:cNvCxnSpPr>
                <a:stCxn id="19" idx="4"/>
                <a:endCxn id="21" idx="0"/>
              </p:cNvCxnSpPr>
              <p:nvPr/>
            </p:nvCxnSpPr>
            <p:spPr>
              <a:xfrm>
                <a:off x="2247429" y="5077336"/>
                <a:ext cx="0" cy="239756"/>
              </a:xfrm>
              <a:prstGeom prst="line">
                <a:avLst/>
              </a:prstGeom>
              <a:noFill/>
              <a:ln w="9525" cap="flat" cmpd="sng" algn="ctr">
                <a:solidFill>
                  <a:srgbClr val="5B9BD5"/>
                </a:solidFill>
                <a:prstDash val="solid"/>
              </a:ln>
              <a:effectLst/>
            </p:spPr>
          </p:cxnSp>
          <p:sp>
            <p:nvSpPr>
              <p:cNvPr id="31" name="Oval 30"/>
              <p:cNvSpPr>
                <a:spLocks noChangeAspect="1" noChangeArrowheads="1"/>
              </p:cNvSpPr>
              <p:nvPr/>
            </p:nvSpPr>
            <p:spPr bwMode="auto">
              <a:xfrm>
                <a:off x="2201709" y="5139927"/>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2" name="Straight Connector 31"/>
              <p:cNvCxnSpPr>
                <a:stCxn id="20" idx="4"/>
                <a:endCxn id="22" idx="0"/>
              </p:cNvCxnSpPr>
              <p:nvPr/>
            </p:nvCxnSpPr>
            <p:spPr>
              <a:xfrm>
                <a:off x="2396996" y="5077354"/>
                <a:ext cx="0" cy="239756"/>
              </a:xfrm>
              <a:prstGeom prst="line">
                <a:avLst/>
              </a:prstGeom>
              <a:noFill/>
              <a:ln w="9525" cap="flat" cmpd="sng" algn="ctr">
                <a:solidFill>
                  <a:srgbClr val="5B9BD5"/>
                </a:solidFill>
                <a:prstDash val="solid"/>
              </a:ln>
              <a:effectLst/>
            </p:spPr>
          </p:cxnSp>
          <p:sp>
            <p:nvSpPr>
              <p:cNvPr id="33" name="Oval 32"/>
              <p:cNvSpPr>
                <a:spLocks noChangeAspect="1" noChangeArrowheads="1"/>
              </p:cNvSpPr>
              <p:nvPr/>
            </p:nvSpPr>
            <p:spPr bwMode="auto">
              <a:xfrm flipH="1">
                <a:off x="2351275" y="5139945"/>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4" name="Straight Connector 33"/>
              <p:cNvCxnSpPr>
                <a:stCxn id="20" idx="3"/>
                <a:endCxn id="25" idx="7"/>
              </p:cNvCxnSpPr>
              <p:nvPr/>
            </p:nvCxnSpPr>
            <p:spPr>
              <a:xfrm>
                <a:off x="2429325" y="5063963"/>
                <a:ext cx="187670" cy="227227"/>
              </a:xfrm>
              <a:prstGeom prst="line">
                <a:avLst/>
              </a:prstGeom>
              <a:noFill/>
              <a:ln w="9525" cap="flat" cmpd="sng" algn="ctr">
                <a:solidFill>
                  <a:srgbClr val="5B9BD5"/>
                </a:solidFill>
                <a:prstDash val="solid"/>
              </a:ln>
              <a:effectLst/>
            </p:spPr>
          </p:cxnSp>
          <p:sp>
            <p:nvSpPr>
              <p:cNvPr id="35" name="Oval 34"/>
              <p:cNvSpPr>
                <a:spLocks noChangeAspect="1" noChangeArrowheads="1"/>
              </p:cNvSpPr>
              <p:nvPr/>
            </p:nvSpPr>
            <p:spPr bwMode="auto">
              <a:xfrm flipH="1">
                <a:off x="2477440" y="5131857"/>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6" name="Straight Connector 35"/>
              <p:cNvCxnSpPr>
                <a:stCxn id="19" idx="3"/>
                <a:endCxn id="26" idx="1"/>
              </p:cNvCxnSpPr>
              <p:nvPr/>
            </p:nvCxnSpPr>
            <p:spPr>
              <a:xfrm flipH="1">
                <a:off x="2031222" y="5063945"/>
                <a:ext cx="183878" cy="227245"/>
              </a:xfrm>
              <a:prstGeom prst="line">
                <a:avLst/>
              </a:prstGeom>
              <a:noFill/>
              <a:ln w="9525" cap="flat" cmpd="sng" algn="ctr">
                <a:solidFill>
                  <a:srgbClr val="5B9BD5"/>
                </a:solidFill>
                <a:prstDash val="solid"/>
              </a:ln>
              <a:effectLst/>
            </p:spPr>
          </p:cxnSp>
          <p:sp>
            <p:nvSpPr>
              <p:cNvPr id="37" name="Oval 36"/>
              <p:cNvSpPr>
                <a:spLocks noChangeAspect="1" noChangeArrowheads="1"/>
              </p:cNvSpPr>
              <p:nvPr/>
            </p:nvSpPr>
            <p:spPr bwMode="auto">
              <a:xfrm>
                <a:off x="2082174" y="5131848"/>
                <a:ext cx="91440" cy="91440"/>
              </a:xfrm>
              <a:prstGeom prst="ellipse">
                <a:avLst/>
              </a:prstGeom>
              <a:solidFill>
                <a:srgbClr val="44546A"/>
              </a:solidFill>
              <a:ln w="9525">
                <a:solidFill>
                  <a:srgbClr val="5B9BD5"/>
                </a:solid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867" kern="0" dirty="0">
                  <a:ln>
                    <a:solidFill>
                      <a:srgbClr val="FFFFFF">
                        <a:alpha val="0"/>
                      </a:srgbClr>
                    </a:solidFill>
                  </a:ln>
                  <a:solidFill>
                    <a:prstClr val="black"/>
                  </a:solidFill>
                </a:endParaRPr>
              </a:p>
            </p:txBody>
          </p:sp>
          <p:cxnSp>
            <p:nvCxnSpPr>
              <p:cNvPr id="38" name="Straight Connector 37"/>
              <p:cNvCxnSpPr>
                <a:stCxn id="31" idx="3"/>
                <a:endCxn id="24" idx="7"/>
              </p:cNvCxnSpPr>
              <p:nvPr/>
            </p:nvCxnSpPr>
            <p:spPr>
              <a:xfrm flipH="1">
                <a:off x="2155490" y="5217976"/>
                <a:ext cx="59610" cy="88697"/>
              </a:xfrm>
              <a:prstGeom prst="line">
                <a:avLst/>
              </a:prstGeom>
              <a:noFill/>
              <a:ln w="9525" cap="flat" cmpd="sng" algn="ctr">
                <a:solidFill>
                  <a:srgbClr val="5B9BD5"/>
                </a:solidFill>
                <a:prstDash val="solid"/>
              </a:ln>
              <a:effectLst/>
            </p:spPr>
          </p:cxnSp>
          <p:cxnSp>
            <p:nvCxnSpPr>
              <p:cNvPr id="39" name="Straight Connector 38"/>
              <p:cNvCxnSpPr>
                <a:stCxn id="33" idx="3"/>
                <a:endCxn id="23" idx="7"/>
              </p:cNvCxnSpPr>
              <p:nvPr/>
            </p:nvCxnSpPr>
            <p:spPr>
              <a:xfrm>
                <a:off x="2429325" y="5217994"/>
                <a:ext cx="61506" cy="88679"/>
              </a:xfrm>
              <a:prstGeom prst="line">
                <a:avLst/>
              </a:prstGeom>
              <a:noFill/>
              <a:ln w="9525" cap="flat" cmpd="sng" algn="ctr">
                <a:solidFill>
                  <a:srgbClr val="5B9BD5"/>
                </a:solidFill>
                <a:prstDash val="solid"/>
              </a:ln>
              <a:effectLst/>
            </p:spPr>
          </p:cxnSp>
        </p:grpSp>
        <p:sp>
          <p:nvSpPr>
            <p:cNvPr id="41" name="Rectangle 40"/>
            <p:cNvSpPr/>
            <p:nvPr/>
          </p:nvSpPr>
          <p:spPr>
            <a:xfrm>
              <a:off x="8063934" y="2079676"/>
              <a:ext cx="1117294" cy="191591"/>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Active Directory</a:t>
              </a:r>
            </a:p>
          </p:txBody>
        </p:sp>
        <p:sp>
          <p:nvSpPr>
            <p:cNvPr id="70" name="Rectangle 69"/>
            <p:cNvSpPr/>
            <p:nvPr/>
          </p:nvSpPr>
          <p:spPr>
            <a:xfrm>
              <a:off x="8152900" y="2832283"/>
              <a:ext cx="939361" cy="191591"/>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Contoso.com</a:t>
              </a:r>
            </a:p>
          </p:txBody>
        </p:sp>
      </p:grpSp>
      <p:sp>
        <p:nvSpPr>
          <p:cNvPr id="71" name="Rectangle 70"/>
          <p:cNvSpPr/>
          <p:nvPr/>
        </p:nvSpPr>
        <p:spPr>
          <a:xfrm>
            <a:off x="4040959" y="5830263"/>
            <a:ext cx="1677423"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Corporate Environment</a:t>
            </a:r>
          </a:p>
        </p:txBody>
      </p:sp>
      <p:sp>
        <p:nvSpPr>
          <p:cNvPr id="72" name="Rectangle 71"/>
          <p:cNvSpPr/>
          <p:nvPr/>
        </p:nvSpPr>
        <p:spPr>
          <a:xfrm>
            <a:off x="733532" y="5885849"/>
            <a:ext cx="967871"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User Devices</a:t>
            </a:r>
          </a:p>
        </p:txBody>
      </p:sp>
      <p:grpSp>
        <p:nvGrpSpPr>
          <p:cNvPr id="75" name="Group 74"/>
          <p:cNvGrpSpPr/>
          <p:nvPr/>
        </p:nvGrpSpPr>
        <p:grpSpPr>
          <a:xfrm>
            <a:off x="10521539" y="3017228"/>
            <a:ext cx="438081" cy="577561"/>
            <a:chOff x="11005605" y="4867100"/>
            <a:chExt cx="422250" cy="556690"/>
          </a:xfrm>
        </p:grpSpPr>
        <p:sp>
          <p:nvSpPr>
            <p:cNvPr id="76" name="Rounded Rectangle 2"/>
            <p:cNvSpPr>
              <a:spLocks noChangeAspect="1"/>
            </p:cNvSpPr>
            <p:nvPr/>
          </p:nvSpPr>
          <p:spPr>
            <a:xfrm>
              <a:off x="11005605" y="4867100"/>
              <a:ext cx="422250" cy="556690"/>
            </a:xfrm>
            <a:custGeom>
              <a:avLst/>
              <a:gdLst/>
              <a:ahLst/>
              <a:cxnLst/>
              <a:rect l="l" t="t" r="r" b="b"/>
              <a:pathLst>
                <a:path w="972859" h="1315152">
                  <a:moveTo>
                    <a:pt x="481193" y="1210796"/>
                  </a:moveTo>
                  <a:cubicBezTo>
                    <a:pt x="460084" y="1210796"/>
                    <a:pt x="442971" y="1227887"/>
                    <a:pt x="442971" y="1248969"/>
                  </a:cubicBezTo>
                  <a:cubicBezTo>
                    <a:pt x="442971" y="1270051"/>
                    <a:pt x="460084" y="1287142"/>
                    <a:pt x="481193" y="1287142"/>
                  </a:cubicBezTo>
                  <a:cubicBezTo>
                    <a:pt x="502302" y="1287142"/>
                    <a:pt x="519415" y="1270051"/>
                    <a:pt x="519415" y="1248969"/>
                  </a:cubicBezTo>
                  <a:cubicBezTo>
                    <a:pt x="519415" y="1227887"/>
                    <a:pt x="502302" y="1210796"/>
                    <a:pt x="481193" y="1210796"/>
                  </a:cubicBezTo>
                  <a:close/>
                  <a:moveTo>
                    <a:pt x="124209" y="103179"/>
                  </a:moveTo>
                  <a:lnTo>
                    <a:pt x="124209" y="1173063"/>
                  </a:lnTo>
                  <a:lnTo>
                    <a:pt x="855062" y="1173063"/>
                  </a:lnTo>
                  <a:lnTo>
                    <a:pt x="855062" y="103179"/>
                  </a:lnTo>
                  <a:close/>
                  <a:moveTo>
                    <a:pt x="50054" y="0"/>
                  </a:moveTo>
                  <a:lnTo>
                    <a:pt x="922805" y="0"/>
                  </a:lnTo>
                  <a:cubicBezTo>
                    <a:pt x="950449" y="0"/>
                    <a:pt x="972859" y="22410"/>
                    <a:pt x="972859" y="50054"/>
                  </a:cubicBezTo>
                  <a:lnTo>
                    <a:pt x="972859" y="1265098"/>
                  </a:lnTo>
                  <a:cubicBezTo>
                    <a:pt x="972859" y="1292742"/>
                    <a:pt x="950449" y="1315152"/>
                    <a:pt x="922805" y="1315152"/>
                  </a:cubicBezTo>
                  <a:lnTo>
                    <a:pt x="50054" y="1315152"/>
                  </a:lnTo>
                  <a:cubicBezTo>
                    <a:pt x="22410" y="1315152"/>
                    <a:pt x="0" y="1292742"/>
                    <a:pt x="0" y="1265098"/>
                  </a:cubicBezTo>
                  <a:lnTo>
                    <a:pt x="0" y="50054"/>
                  </a:lnTo>
                  <a:cubicBezTo>
                    <a:pt x="0" y="22410"/>
                    <a:pt x="22410" y="0"/>
                    <a:pt x="50054" y="0"/>
                  </a:cubicBezTo>
                  <a:close/>
                </a:path>
              </a:pathLst>
            </a:custGeom>
            <a:solidFill>
              <a:sysClr val="window" lastClr="FFFFFF"/>
            </a:solidFill>
            <a:ln w="3175" cap="flat" cmpd="sng" algn="ctr">
              <a:solidFill>
                <a:srgbClr val="5B9BD5"/>
              </a:solidFill>
              <a:prstDash val="solid"/>
              <a:miter lim="800000"/>
            </a:ln>
            <a:effectLst/>
          </p:spPr>
          <p:txBody>
            <a:bodyPr rtlCol="0" anchor="ctr"/>
            <a:lstStyle/>
            <a:p>
              <a:pPr algn="ctr" defTabSz="948778">
                <a:defRPr/>
              </a:pPr>
              <a:endParaRPr lang="en-US" sz="1868" kern="0">
                <a:solidFill>
                  <a:prstClr val="black"/>
                </a:solidFill>
              </a:endParaRPr>
            </a:p>
          </p:txBody>
        </p:sp>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84742" y="4951096"/>
              <a:ext cx="268350" cy="162299"/>
            </a:xfrm>
            <a:prstGeom prst="rect">
              <a:avLst/>
            </a:prstGeom>
            <a:solidFill>
              <a:srgbClr val="5B9BD5"/>
            </a:solidFill>
            <a:ln>
              <a:solidFill>
                <a:srgbClr val="5B9BD5"/>
              </a:solidFill>
            </a:ln>
          </p:spPr>
        </p:pic>
      </p:grpSp>
      <p:cxnSp>
        <p:nvCxnSpPr>
          <p:cNvPr id="78" name="Straight Connector 77"/>
          <p:cNvCxnSpPr/>
          <p:nvPr/>
        </p:nvCxnSpPr>
        <p:spPr>
          <a:xfrm flipH="1">
            <a:off x="7818282" y="3733300"/>
            <a:ext cx="2051727" cy="201290"/>
          </a:xfrm>
          <a:prstGeom prst="line">
            <a:avLst/>
          </a:prstGeom>
          <a:noFill/>
          <a:ln w="25400" cap="rnd" cmpd="sng" algn="ctr">
            <a:solidFill>
              <a:sysClr val="window" lastClr="FFFFFF"/>
            </a:solidFill>
            <a:prstDash val="sysDot"/>
            <a:miter lim="800000"/>
            <a:headEnd type="none"/>
            <a:tailEnd type="none"/>
          </a:ln>
          <a:effectLst/>
        </p:spPr>
      </p:cxnSp>
      <p:sp>
        <p:nvSpPr>
          <p:cNvPr id="81" name="Freeform 6"/>
          <p:cNvSpPr>
            <a:spLocks noEditPoints="1"/>
          </p:cNvSpPr>
          <p:nvPr/>
        </p:nvSpPr>
        <p:spPr bwMode="auto">
          <a:xfrm>
            <a:off x="3587975" y="3948310"/>
            <a:ext cx="650136" cy="219888"/>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ysClr val="window" lastClr="FFFFFF"/>
          </a:solidFill>
          <a:ln>
            <a:solidFill>
              <a:srgbClr val="5B9BD5"/>
            </a:solidFill>
          </a:ln>
        </p:spPr>
        <p:txBody>
          <a:bodyPr vert="horz" wrap="square" lIns="113851" tIns="56926" rIns="113851" bIns="56926" numCol="1" anchor="t" anchorCtr="0" compatLnSpc="1">
            <a:prstTxWarp prst="textNoShape">
              <a:avLst/>
            </a:prstTxWarp>
          </a:bodyPr>
          <a:lstStyle/>
          <a:p>
            <a:pPr defTabSz="948778">
              <a:defRPr/>
            </a:pPr>
            <a:endParaRPr lang="en-US" sz="1867" kern="0" dirty="0">
              <a:solidFill>
                <a:prstClr val="black"/>
              </a:solidFill>
            </a:endParaRPr>
          </a:p>
        </p:txBody>
      </p:sp>
      <p:sp>
        <p:nvSpPr>
          <p:cNvPr id="87" name="Line Callout 2 (Border and Accent Bar) 86"/>
          <p:cNvSpPr/>
          <p:nvPr/>
        </p:nvSpPr>
        <p:spPr>
          <a:xfrm>
            <a:off x="9571168" y="5109150"/>
            <a:ext cx="2589774" cy="1429098"/>
          </a:xfrm>
          <a:prstGeom prst="accentBorderCallout2">
            <a:avLst>
              <a:gd name="adj1" fmla="val 18750"/>
              <a:gd name="adj2" fmla="val -8333"/>
              <a:gd name="adj3" fmla="val 18750"/>
              <a:gd name="adj4" fmla="val -16667"/>
              <a:gd name="adj5" fmla="val -57155"/>
              <a:gd name="adj6" fmla="val -6733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r>
              <a:rPr lang="en-US" sz="1428" u="sng" dirty="0">
                <a:solidFill>
                  <a:prstClr val="white"/>
                </a:solidFill>
              </a:rPr>
              <a:t>Data management</a:t>
            </a:r>
            <a:endParaRPr lang="en-US" sz="1428" dirty="0">
              <a:solidFill>
                <a:prstClr val="white"/>
              </a:solidFill>
            </a:endParaRPr>
          </a:p>
          <a:p>
            <a:r>
              <a:rPr lang="en-US" sz="1428" dirty="0" smtClean="0">
                <a:solidFill>
                  <a:prstClr val="white"/>
                </a:solidFill>
              </a:rPr>
              <a:t>Quotas</a:t>
            </a:r>
            <a:endParaRPr lang="en-US" sz="1428" dirty="0">
              <a:solidFill>
                <a:prstClr val="white"/>
              </a:solidFill>
            </a:endParaRPr>
          </a:p>
          <a:p>
            <a:r>
              <a:rPr lang="en-US" sz="1428" dirty="0">
                <a:solidFill>
                  <a:prstClr val="white"/>
                </a:solidFill>
              </a:rPr>
              <a:t>File screens</a:t>
            </a:r>
          </a:p>
          <a:p>
            <a:r>
              <a:rPr lang="en-US" sz="1428" dirty="0">
                <a:solidFill>
                  <a:prstClr val="white"/>
                </a:solidFill>
              </a:rPr>
              <a:t>Reporting</a:t>
            </a:r>
          </a:p>
          <a:p>
            <a:r>
              <a:rPr lang="en-US" sz="1428" dirty="0">
                <a:solidFill>
                  <a:prstClr val="white"/>
                </a:solidFill>
              </a:rPr>
              <a:t>Classification</a:t>
            </a:r>
          </a:p>
          <a:p>
            <a:r>
              <a:rPr lang="en-US" sz="1428" dirty="0">
                <a:solidFill>
                  <a:prstClr val="white"/>
                </a:solidFill>
              </a:rPr>
              <a:t>RMS protection</a:t>
            </a:r>
          </a:p>
        </p:txBody>
      </p:sp>
      <p:sp>
        <p:nvSpPr>
          <p:cNvPr id="89" name="Line Callout 2 (Border and Accent Bar) 88"/>
          <p:cNvSpPr/>
          <p:nvPr/>
        </p:nvSpPr>
        <p:spPr>
          <a:xfrm flipH="1">
            <a:off x="3044381" y="2114012"/>
            <a:ext cx="2978730" cy="1038438"/>
          </a:xfrm>
          <a:prstGeom prst="accentBorderCallout2">
            <a:avLst>
              <a:gd name="adj1" fmla="val 18750"/>
              <a:gd name="adj2" fmla="val -8333"/>
              <a:gd name="adj3" fmla="val 18750"/>
              <a:gd name="adj4" fmla="val -16667"/>
              <a:gd name="adj5" fmla="val 127798"/>
              <a:gd name="adj6" fmla="val -37512"/>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r>
              <a:rPr lang="en-US" sz="1428" u="sng" dirty="0">
                <a:solidFill>
                  <a:prstClr val="white"/>
                </a:solidFill>
              </a:rPr>
              <a:t>Device management policy</a:t>
            </a:r>
            <a:endParaRPr lang="en-US" sz="1428" dirty="0">
              <a:solidFill>
                <a:prstClr val="white"/>
              </a:solidFill>
            </a:endParaRPr>
          </a:p>
          <a:p>
            <a:r>
              <a:rPr lang="en-US" sz="1428" dirty="0">
                <a:solidFill>
                  <a:prstClr val="white"/>
                </a:solidFill>
              </a:rPr>
              <a:t>Limit access to registered devices</a:t>
            </a:r>
          </a:p>
          <a:p>
            <a:r>
              <a:rPr lang="en-US" sz="1428" dirty="0">
                <a:solidFill>
                  <a:prstClr val="white"/>
                </a:solidFill>
              </a:rPr>
              <a:t>File encryption / selective wipe</a:t>
            </a:r>
          </a:p>
          <a:p>
            <a:r>
              <a:rPr lang="en-US" sz="1428" dirty="0">
                <a:solidFill>
                  <a:prstClr val="white"/>
                </a:solidFill>
              </a:rPr>
              <a:t>Require password / device lock</a:t>
            </a:r>
          </a:p>
          <a:p>
            <a:endParaRPr lang="en-US" sz="1428" dirty="0">
              <a:solidFill>
                <a:prstClr val="white"/>
              </a:solidFill>
            </a:endParaRPr>
          </a:p>
        </p:txBody>
      </p:sp>
      <p:sp>
        <p:nvSpPr>
          <p:cNvPr id="90" name="Line Callout 2 (Border and Accent Bar) 89"/>
          <p:cNvSpPr/>
          <p:nvPr/>
        </p:nvSpPr>
        <p:spPr>
          <a:xfrm>
            <a:off x="9802782" y="1323299"/>
            <a:ext cx="2313677" cy="931597"/>
          </a:xfrm>
          <a:prstGeom prst="accentBorderCallout2">
            <a:avLst>
              <a:gd name="adj1" fmla="val 18750"/>
              <a:gd name="adj2" fmla="val -8333"/>
              <a:gd name="adj3" fmla="val 18750"/>
              <a:gd name="adj4" fmla="val -16667"/>
              <a:gd name="adj5" fmla="val 113757"/>
              <a:gd name="adj6" fmla="val -39958"/>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rmAutofit lnSpcReduction="10000"/>
          </a:bodyPr>
          <a:lstStyle/>
          <a:p>
            <a:r>
              <a:rPr lang="en-US" sz="1425" u="sng" dirty="0">
                <a:solidFill>
                  <a:prstClr val="white"/>
                </a:solidFill>
              </a:rPr>
              <a:t>Authentication</a:t>
            </a:r>
            <a:endParaRPr lang="en-US" sz="1425" dirty="0">
              <a:solidFill>
                <a:prstClr val="white"/>
              </a:solidFill>
            </a:endParaRPr>
          </a:p>
          <a:p>
            <a:r>
              <a:rPr lang="en-US" sz="1425" dirty="0">
                <a:solidFill>
                  <a:prstClr val="white"/>
                </a:solidFill>
              </a:rPr>
              <a:t>Kerberos (Windows </a:t>
            </a:r>
            <a:r>
              <a:rPr lang="en-US" sz="1425" dirty="0" err="1">
                <a:solidFill>
                  <a:prstClr val="white"/>
                </a:solidFill>
              </a:rPr>
              <a:t>Auth</a:t>
            </a:r>
            <a:r>
              <a:rPr lang="en-US" sz="1425" dirty="0">
                <a:solidFill>
                  <a:prstClr val="white"/>
                </a:solidFill>
              </a:rPr>
              <a:t>)</a:t>
            </a:r>
          </a:p>
          <a:p>
            <a:r>
              <a:rPr lang="en-US" sz="1425" dirty="0">
                <a:solidFill>
                  <a:prstClr val="white"/>
                </a:solidFill>
              </a:rPr>
              <a:t>Digest (Windows </a:t>
            </a:r>
            <a:r>
              <a:rPr lang="en-US" sz="1425" dirty="0" err="1">
                <a:solidFill>
                  <a:prstClr val="white"/>
                </a:solidFill>
              </a:rPr>
              <a:t>Auth</a:t>
            </a:r>
            <a:r>
              <a:rPr lang="en-US" sz="1425" dirty="0">
                <a:solidFill>
                  <a:prstClr val="white"/>
                </a:solidFill>
              </a:rPr>
              <a:t>)</a:t>
            </a:r>
          </a:p>
          <a:p>
            <a:r>
              <a:rPr lang="en-US" sz="1425" dirty="0">
                <a:solidFill>
                  <a:prstClr val="white"/>
                </a:solidFill>
              </a:rPr>
              <a:t>ADFS (</a:t>
            </a:r>
            <a:r>
              <a:rPr lang="en-US" sz="1425" dirty="0" err="1">
                <a:solidFill>
                  <a:prstClr val="white"/>
                </a:solidFill>
              </a:rPr>
              <a:t>OAuth</a:t>
            </a:r>
            <a:r>
              <a:rPr lang="en-US" sz="1425" dirty="0">
                <a:solidFill>
                  <a:prstClr val="white"/>
                </a:solidFill>
              </a:rPr>
              <a:t>)</a:t>
            </a:r>
          </a:p>
        </p:txBody>
      </p:sp>
      <p:sp>
        <p:nvSpPr>
          <p:cNvPr id="73" name="Rectangle 72"/>
          <p:cNvSpPr/>
          <p:nvPr/>
        </p:nvSpPr>
        <p:spPr>
          <a:xfrm>
            <a:off x="10052613" y="2783371"/>
            <a:ext cx="1354850" cy="195829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1">
              <a:solidFill>
                <a:prstClr val="white"/>
              </a:solidFill>
            </a:endParaRPr>
          </a:p>
        </p:txBody>
      </p:sp>
      <p:sp>
        <p:nvSpPr>
          <p:cNvPr id="74" name="Rectangle 73"/>
          <p:cNvSpPr/>
          <p:nvPr/>
        </p:nvSpPr>
        <p:spPr>
          <a:xfrm>
            <a:off x="10119709" y="4487260"/>
            <a:ext cx="967871" cy="195405"/>
          </a:xfrm>
          <a:prstGeom prst="rect">
            <a:avLst/>
          </a:prstGeom>
          <a:ln>
            <a:noFill/>
          </a:ln>
        </p:spPr>
        <p:txBody>
          <a:bodyPr wrap="none" lIns="0" tIns="0" rIns="0" bIns="0" anchor="ctr">
            <a:spAutoFit/>
          </a:bodyPr>
          <a:lstStyle/>
          <a:p>
            <a:pPr algn="ctr" defTabSz="1137712" fontAlgn="base">
              <a:spcBef>
                <a:spcPts val="1494"/>
              </a:spcBef>
              <a:spcAft>
                <a:spcPct val="0"/>
              </a:spcAft>
            </a:pPr>
            <a:r>
              <a:rPr lang="en-US" sz="1245" dirty="0">
                <a:ln>
                  <a:solidFill>
                    <a:srgbClr val="FFFFFF">
                      <a:alpha val="0"/>
                    </a:srgbClr>
                  </a:solidFill>
                </a:ln>
                <a:solidFill>
                  <a:prstClr val="white"/>
                </a:solidFill>
                <a:latin typeface="Segoe"/>
              </a:rPr>
              <a:t>User Devices</a:t>
            </a:r>
          </a:p>
        </p:txBody>
      </p:sp>
      <p:sp>
        <p:nvSpPr>
          <p:cNvPr id="8" name="TextBox 7"/>
          <p:cNvSpPr txBox="1"/>
          <p:nvPr/>
        </p:nvSpPr>
        <p:spPr>
          <a:xfrm>
            <a:off x="3333231" y="4480928"/>
            <a:ext cx="3233338" cy="349676"/>
          </a:xfrm>
          <a:prstGeom prst="rect">
            <a:avLst/>
          </a:prstGeom>
          <a:solidFill>
            <a:schemeClr val="accent1"/>
          </a:solidFill>
        </p:spPr>
        <p:txBody>
          <a:bodyPr wrap="none" rtlCol="0" anchor="ctr">
            <a:spAutoFit/>
          </a:bodyPr>
          <a:lstStyle/>
          <a:p>
            <a:r>
              <a:rPr lang="en-US" sz="1628" dirty="0">
                <a:solidFill>
                  <a:prstClr val="white"/>
                </a:solidFill>
              </a:rPr>
              <a:t>https://workfolders.contoso.com</a:t>
            </a:r>
          </a:p>
        </p:txBody>
      </p:sp>
      <p:pic>
        <p:nvPicPr>
          <p:cNvPr id="62" name="Picture 5" descr="\\MAGNUM\Projects\Microsoft\Cloud Power FY12\Design\ICONS_PNG\Consistent_Development_and_Deployment_Platform.png"/>
          <p:cNvPicPr>
            <a:picLocks noChangeAspect="1" noChangeArrowheads="1"/>
          </p:cNvPicPr>
          <p:nvPr/>
        </p:nvPicPr>
        <p:blipFill>
          <a:blip r:embed="rId7" cstate="print">
            <a:lum bright="100000"/>
            <a:extLst>
              <a:ext uri="{28A0092B-C50C-407E-A947-70E740481C1C}">
                <a14:useLocalDpi xmlns:a14="http://schemas.microsoft.com/office/drawing/2010/main"/>
              </a:ext>
            </a:extLst>
          </a:blip>
          <a:stretch>
            <a:fillRect/>
          </a:stretch>
        </p:blipFill>
        <p:spPr bwMode="auto">
          <a:xfrm>
            <a:off x="2988987" y="4480928"/>
            <a:ext cx="345064" cy="349467"/>
          </a:xfrm>
          <a:prstGeom prst="rect">
            <a:avLst/>
          </a:prstGeom>
          <a:solidFill>
            <a:schemeClr val="accent1"/>
          </a:solidFill>
        </p:spPr>
      </p:pic>
    </p:spTree>
    <p:extLst>
      <p:ext uri="{BB962C8B-B14F-4D97-AF65-F5344CB8AC3E}">
        <p14:creationId xmlns:p14="http://schemas.microsoft.com/office/powerpoint/2010/main" val="419063294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dditional Authentic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13661657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FA Integration with Partners</a:t>
            </a:r>
            <a:endParaRPr lang="en-US" dirty="0"/>
          </a:p>
        </p:txBody>
      </p:sp>
      <p:sp>
        <p:nvSpPr>
          <p:cNvPr id="3" name="Text Placeholder 2"/>
          <p:cNvSpPr>
            <a:spLocks noGrp="1"/>
          </p:cNvSpPr>
          <p:nvPr>
            <p:ph type="body" sz="quarter" idx="10"/>
          </p:nvPr>
        </p:nvSpPr>
        <p:spPr>
          <a:xfrm>
            <a:off x="439531" y="3281492"/>
            <a:ext cx="5486399" cy="3416320"/>
          </a:xfrm>
        </p:spPr>
        <p:txBody>
          <a:bodyPr/>
          <a:lstStyle/>
          <a:p>
            <a:pPr lvl="0"/>
            <a:r>
              <a:rPr lang="en-US" sz="2000" dirty="0"/>
              <a:t>Offers convenient out-of-band phone call, text message, and mobile app authentication, as well as one-time-passcodes</a:t>
            </a:r>
          </a:p>
          <a:p>
            <a:pPr lvl="0"/>
            <a:r>
              <a:rPr lang="en-US" sz="2000" dirty="0"/>
              <a:t>Synchronizes with Active Directory for centralized user management and automated enrollment</a:t>
            </a:r>
          </a:p>
          <a:p>
            <a:pPr lvl="0"/>
            <a:r>
              <a:rPr lang="en-US" sz="2000" dirty="0"/>
              <a:t>Features built-in support for leading on-premises applications as well as federation to cloud services</a:t>
            </a:r>
          </a:p>
          <a:p>
            <a:endParaRPr lang="en-US" sz="2000" dirty="0"/>
          </a:p>
        </p:txBody>
      </p:sp>
      <p:sp>
        <p:nvSpPr>
          <p:cNvPr id="4" name="Text Placeholder 3"/>
          <p:cNvSpPr>
            <a:spLocks noGrp="1"/>
          </p:cNvSpPr>
          <p:nvPr>
            <p:ph type="body" sz="quarter" idx="11"/>
          </p:nvPr>
        </p:nvSpPr>
        <p:spPr>
          <a:xfrm>
            <a:off x="6677485" y="3307056"/>
            <a:ext cx="5486399" cy="3127010"/>
          </a:xfrm>
        </p:spPr>
        <p:txBody>
          <a:bodyPr/>
          <a:lstStyle/>
          <a:p>
            <a:r>
              <a:rPr lang="en-US" sz="2000" dirty="0"/>
              <a:t>SafeNet Authentication Service delivers versatile strong authentication </a:t>
            </a:r>
            <a:r>
              <a:rPr lang="en-US" sz="2000" dirty="0" smtClean="0"/>
              <a:t>as-a-service</a:t>
            </a:r>
          </a:p>
          <a:p>
            <a:r>
              <a:rPr lang="en-US" sz="2000" dirty="0" smtClean="0"/>
              <a:t>Support for Hardware/Software OTP, SMS &amp; </a:t>
            </a:r>
            <a:r>
              <a:rPr lang="en-US" sz="2000" dirty="0" err="1" smtClean="0"/>
              <a:t>GrIDSure</a:t>
            </a:r>
            <a:r>
              <a:rPr lang="en-US" sz="2000" dirty="0" smtClean="0"/>
              <a:t> (pattern based AuthN)</a:t>
            </a:r>
            <a:endParaRPr lang="en-US" sz="2000" dirty="0"/>
          </a:p>
          <a:p>
            <a:r>
              <a:rPr lang="en-US" sz="2000" dirty="0"/>
              <a:t>Available as a Cloud Service </a:t>
            </a:r>
            <a:r>
              <a:rPr lang="en-US" sz="2000" dirty="0" smtClean="0"/>
              <a:t> with no additional infrastructure</a:t>
            </a:r>
            <a:endParaRPr lang="en-US" sz="2000" dirty="0"/>
          </a:p>
          <a:p>
            <a:r>
              <a:rPr lang="en-US" sz="2000" dirty="0"/>
              <a:t>Automated Provisioning</a:t>
            </a:r>
          </a:p>
          <a:p>
            <a:endParaRPr lang="en-US" sz="2800" dirty="0"/>
          </a:p>
        </p:txBody>
      </p:sp>
      <p:pic>
        <p:nvPicPr>
          <p:cNvPr id="5" name="Picture 4"/>
          <p:cNvPicPr>
            <a:picLocks noChangeAspect="1"/>
          </p:cNvPicPr>
          <p:nvPr/>
        </p:nvPicPr>
        <p:blipFill>
          <a:blip r:embed="rId2">
            <a:biLevel thresh="25000"/>
            <a:extLst>
              <a:ext uri="{28A0092B-C50C-407E-A947-70E740481C1C}">
                <a14:useLocalDpi xmlns:a14="http://schemas.microsoft.com/office/drawing/2010/main" val="0"/>
              </a:ext>
            </a:extLst>
          </a:blip>
          <a:stretch>
            <a:fillRect/>
          </a:stretch>
        </p:blipFill>
        <p:spPr>
          <a:xfrm>
            <a:off x="7503426" y="1838668"/>
            <a:ext cx="3874707" cy="1088970"/>
          </a:xfrm>
          <a:prstGeom prst="rect">
            <a:avLst/>
          </a:prstGeom>
        </p:spPr>
      </p:pic>
      <p:pic>
        <p:nvPicPr>
          <p:cNvPr id="6" name="Picture 5"/>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621636" y="1259176"/>
            <a:ext cx="675799" cy="1725930"/>
          </a:xfrm>
          <a:prstGeom prst="rect">
            <a:avLst/>
          </a:prstGeom>
        </p:spPr>
      </p:pic>
      <p:sp>
        <p:nvSpPr>
          <p:cNvPr id="7" name="TextBox 6"/>
          <p:cNvSpPr txBox="1"/>
          <p:nvPr/>
        </p:nvSpPr>
        <p:spPr>
          <a:xfrm>
            <a:off x="1633928" y="1828523"/>
            <a:ext cx="3417757" cy="1314655"/>
          </a:xfrm>
          <a:prstGeom prst="rect">
            <a:avLst/>
          </a:prstGeom>
          <a:noFill/>
        </p:spPr>
        <p:txBody>
          <a:bodyPr wrap="squar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Windows Azure Active Authentication</a:t>
            </a:r>
          </a:p>
          <a:p>
            <a:pPr>
              <a:lnSpc>
                <a:spcPct val="90000"/>
              </a:lnSpc>
              <a:spcAft>
                <a:spcPts val="600"/>
              </a:spcAft>
            </a:pP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t>
            </a:r>
            <a:r>
              <a:rPr lang="en-US" sz="2000" b="1" dirty="0" err="1"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k.a</a:t>
            </a: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 </a:t>
            </a:r>
            <a:r>
              <a:rPr lang="en-US" sz="2000" b="1" dirty="0" err="1"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PhoneFactor</a:t>
            </a:r>
            <a:r>
              <a:rPr lang="en-US" sz="2000" b="1" dirty="0" smtClean="0">
                <a:gradFill>
                  <a:gsLst>
                    <a:gs pos="2917">
                      <a:schemeClr val="tx1"/>
                    </a:gs>
                    <a:gs pos="30000">
                      <a:schemeClr val="tx1"/>
                    </a:gs>
                  </a:gsLst>
                  <a:lin ang="5400000" scaled="0"/>
                </a:gradFill>
                <a:latin typeface="Adobe Fan Heiti Std B" panose="020B0700000000000000" pitchFamily="34" charset="-128"/>
                <a:ea typeface="Adobe Fan Heiti Std B" panose="020B0700000000000000" pitchFamily="34" charset="-128"/>
              </a:rPr>
              <a:t>)</a:t>
            </a:r>
          </a:p>
        </p:txBody>
      </p:sp>
      <p:sp>
        <p:nvSpPr>
          <p:cNvPr id="8" name="Rectangle 7"/>
          <p:cNvSpPr/>
          <p:nvPr/>
        </p:nvSpPr>
        <p:spPr bwMode="auto">
          <a:xfrm>
            <a:off x="5925930" y="6011056"/>
            <a:ext cx="6510545" cy="9834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3600" dirty="0" smtClean="0">
                <a:gradFill>
                  <a:gsLst>
                    <a:gs pos="0">
                      <a:srgbClr val="FFFFFF"/>
                    </a:gs>
                    <a:gs pos="100000">
                      <a:srgbClr val="FFFFFF"/>
                    </a:gs>
                  </a:gsLst>
                  <a:lin ang="5400000" scaled="0"/>
                </a:gradFill>
                <a:ea typeface="Segoe UI" pitchFamily="34" charset="0"/>
                <a:cs typeface="Segoe UI" pitchFamily="34" charset="0"/>
              </a:rPr>
              <a:t>MORE ON THE WAY!</a:t>
            </a:r>
          </a:p>
        </p:txBody>
      </p:sp>
    </p:spTree>
    <p:extLst>
      <p:ext uri="{BB962C8B-B14F-4D97-AF65-F5344CB8AC3E}">
        <p14:creationId xmlns:p14="http://schemas.microsoft.com/office/powerpoint/2010/main" val="18215280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spTree>
    <p:extLst>
      <p:ext uri="{BB962C8B-B14F-4D97-AF65-F5344CB8AC3E}">
        <p14:creationId xmlns:p14="http://schemas.microsoft.com/office/powerpoint/2010/main" val="146439891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2289350535"/>
              </p:ext>
            </p:extLst>
          </p:nvPr>
        </p:nvGraphicFramePr>
        <p:xfrm>
          <a:off x="274320" y="1438380"/>
          <a:ext cx="11886855" cy="48509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79149561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lvl="0"/>
            <a:r>
              <a:rPr lang="en-US" sz="4000" dirty="0"/>
              <a:t>Secure anywhere access to corporate resources such as Windows Server Work Folders using ADFS</a:t>
            </a:r>
          </a:p>
        </p:txBody>
      </p:sp>
      <p:sp>
        <p:nvSpPr>
          <p:cNvPr id="5" name="Text Placeholder 4"/>
          <p:cNvSpPr>
            <a:spLocks noGrp="1"/>
          </p:cNvSpPr>
          <p:nvPr>
            <p:ph type="body" sz="quarter" idx="12"/>
          </p:nvPr>
        </p:nvSpPr>
        <p:spPr/>
        <p:txBody>
          <a:bodyPr/>
          <a:lstStyle/>
          <a:p>
            <a:r>
              <a:rPr lang="en-US" dirty="0" smtClean="0"/>
              <a:t>Samuel Devasahayam</a:t>
            </a:r>
          </a:p>
          <a:p>
            <a:r>
              <a:rPr lang="en-US" dirty="0" smtClean="0"/>
              <a:t>Adam Skewgar</a:t>
            </a:r>
          </a:p>
          <a:p>
            <a:r>
              <a:rPr lang="en-US" dirty="0" smtClean="0"/>
              <a:t>Microsoft</a:t>
            </a:r>
            <a:endParaRPr lang="en-US" dirty="0"/>
          </a:p>
        </p:txBody>
      </p:sp>
      <p:sp>
        <p:nvSpPr>
          <p:cNvPr id="14" name="Text Placeholder 13"/>
          <p:cNvSpPr>
            <a:spLocks noGrp="1"/>
          </p:cNvSpPr>
          <p:nvPr>
            <p:ph type="body" sz="quarter" idx="13"/>
          </p:nvPr>
        </p:nvSpPr>
        <p:spPr/>
        <p:txBody>
          <a:bodyPr/>
          <a:lstStyle/>
          <a:p>
            <a:r>
              <a:rPr lang="en-US" dirty="0" smtClean="0"/>
              <a:t>WCA-B334</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oriz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20576038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Tree>
    <p:extLst>
      <p:ext uri="{BB962C8B-B14F-4D97-AF65-F5344CB8AC3E}">
        <p14:creationId xmlns:p14="http://schemas.microsoft.com/office/powerpoint/2010/main" val="921183423"/>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21" y="2353725"/>
            <a:ext cx="11889564" cy="3754874"/>
          </a:xfrm>
        </p:spPr>
        <p:txBody>
          <a:bodyPr/>
          <a:lstStyle/>
          <a:p>
            <a:r>
              <a:rPr lang="en-US" dirty="0" smtClean="0"/>
              <a:t>Threshold &amp; ‘Observation Window’ settable by admin</a:t>
            </a:r>
          </a:p>
          <a:p>
            <a:r>
              <a:rPr lang="en-US" dirty="0" smtClean="0"/>
              <a:t>Once threshold has exceeded, authentication with username/</a:t>
            </a:r>
            <a:r>
              <a:rPr lang="en-US" dirty="0" err="1" smtClean="0"/>
              <a:t>pwd</a:t>
            </a:r>
            <a:r>
              <a:rPr lang="en-US" dirty="0" smtClean="0"/>
              <a:t> will be denied authentication for ‘Observation Window’ from extranet</a:t>
            </a:r>
          </a:p>
          <a:p>
            <a:r>
              <a:rPr lang="en-US" dirty="0" smtClean="0"/>
              <a:t>Can be layered on top of AD Lockout policies but </a:t>
            </a:r>
            <a:r>
              <a:rPr lang="en-US" u="sng" dirty="0" smtClean="0"/>
              <a:t>not required</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a:t>Extranet Bad Password Lockout </a:t>
            </a:r>
          </a:p>
        </p:txBody>
      </p:sp>
    </p:spTree>
    <p:extLst>
      <p:ext uri="{BB962C8B-B14F-4D97-AF65-F5344CB8AC3E}">
        <p14:creationId xmlns:p14="http://schemas.microsoft.com/office/powerpoint/2010/main" val="4183743782"/>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19" y="2353725"/>
            <a:ext cx="11889565" cy="1969770"/>
          </a:xfrm>
        </p:spPr>
        <p:txBody>
          <a:bodyPr/>
          <a:lstStyle/>
          <a:p>
            <a:r>
              <a:rPr lang="en-US" dirty="0"/>
              <a:t>User@Device objects can be disabled or deleted in AD</a:t>
            </a:r>
          </a:p>
          <a:p>
            <a:r>
              <a:rPr lang="en-US" dirty="0"/>
              <a:t>Authentication is blocked if User@Device is disabled or not found </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a:t>Protection For Lost Devices</a:t>
            </a:r>
          </a:p>
        </p:txBody>
      </p:sp>
    </p:spTree>
    <p:extLst>
      <p:ext uri="{BB962C8B-B14F-4D97-AF65-F5344CB8AC3E}">
        <p14:creationId xmlns:p14="http://schemas.microsoft.com/office/powerpoint/2010/main" val="174515833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ng your Users &amp; Devices</a:t>
            </a:r>
            <a:endParaRPr lang="en-US" dirty="0"/>
          </a:p>
        </p:txBody>
      </p:sp>
      <p:sp>
        <p:nvSpPr>
          <p:cNvPr id="3" name="Content Placeholder 2"/>
          <p:cNvSpPr>
            <a:spLocks noGrp="1"/>
          </p:cNvSpPr>
          <p:nvPr>
            <p:ph sz="quarter" idx="10"/>
          </p:nvPr>
        </p:nvSpPr>
        <p:spPr>
          <a:xfrm>
            <a:off x="274319" y="2353725"/>
            <a:ext cx="11889565" cy="3077766"/>
          </a:xfrm>
        </p:spPr>
        <p:txBody>
          <a:bodyPr/>
          <a:lstStyle/>
          <a:p>
            <a:r>
              <a:rPr lang="en-US" dirty="0"/>
              <a:t>Invalidate SSO state generated prior to specific timestamp available for rare ‘breach’ events</a:t>
            </a:r>
          </a:p>
          <a:p>
            <a:r>
              <a:rPr lang="en-US" dirty="0"/>
              <a:t>SSO state invalidated any time User@Device certificate does not match with information stored in SSO state</a:t>
            </a:r>
          </a:p>
        </p:txBody>
      </p:sp>
      <p:sp>
        <p:nvSpPr>
          <p:cNvPr id="4" name="Rectangle 3"/>
          <p:cNvSpPr/>
          <p:nvPr/>
        </p:nvSpPr>
        <p:spPr bwMode="auto">
          <a:xfrm>
            <a:off x="864" y="1357281"/>
            <a:ext cx="12163020" cy="79421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r>
              <a:rPr lang="en-US" sz="3200" dirty="0" smtClean="0"/>
              <a:t>Other Security</a:t>
            </a:r>
            <a:endParaRPr lang="en-US" sz="3200" dirty="0"/>
          </a:p>
        </p:txBody>
      </p:sp>
    </p:spTree>
    <p:extLst>
      <p:ext uri="{BB962C8B-B14F-4D97-AF65-F5344CB8AC3E}">
        <p14:creationId xmlns:p14="http://schemas.microsoft.com/office/powerpoint/2010/main" val="17905859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tection your Users &amp; Devices</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20153435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089529"/>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204: AD Enables End User Productivity &amp; IT Risk Management across a Variety of Devices</a:t>
            </a:r>
            <a:endParaRPr lang="en-US" sz="3600" dirty="0">
              <a:gradFill>
                <a:gsLst>
                  <a:gs pos="1250">
                    <a:schemeClr val="tx1"/>
                  </a:gs>
                  <a:gs pos="100000">
                    <a:schemeClr val="tx1"/>
                  </a:gs>
                </a:gsLst>
                <a:lin ang="5400000" scaled="0"/>
              </a:gradFill>
              <a:latin typeface="+mj-lt"/>
            </a:endParaRPr>
          </a:p>
        </p:txBody>
      </p:sp>
      <p:sp>
        <p:nvSpPr>
          <p:cNvPr id="8" name="Rectangle 7"/>
          <p:cNvSpPr/>
          <p:nvPr/>
        </p:nvSpPr>
        <p:spPr>
          <a:xfrm>
            <a:off x="371669" y="2742328"/>
            <a:ext cx="11790169" cy="1588127"/>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WCA-B333</a:t>
            </a:r>
            <a:r>
              <a:rPr lang="en-US" sz="3600" dirty="0">
                <a:gradFill>
                  <a:gsLst>
                    <a:gs pos="1250">
                      <a:schemeClr val="tx1"/>
                    </a:gs>
                    <a:gs pos="100000">
                      <a:schemeClr val="tx1"/>
                    </a:gs>
                  </a:gsLst>
                  <a:lin ang="5400000" scaled="0"/>
                </a:gradFill>
                <a:latin typeface="+mj-lt"/>
              </a:rPr>
              <a:t>: Enable </a:t>
            </a:r>
            <a:r>
              <a:rPr lang="en-US" sz="3600" dirty="0" smtClean="0">
                <a:gradFill>
                  <a:gsLst>
                    <a:gs pos="1250">
                      <a:schemeClr val="tx1"/>
                    </a:gs>
                    <a:gs pos="100000">
                      <a:schemeClr val="tx1"/>
                    </a:gs>
                  </a:gsLst>
                  <a:lin ang="5400000" scaled="0"/>
                </a:gradFill>
                <a:latin typeface="+mj-lt"/>
              </a:rPr>
              <a:t>Work </a:t>
            </a:r>
            <a:r>
              <a:rPr lang="en-US" sz="3600" dirty="0">
                <a:gradFill>
                  <a:gsLst>
                    <a:gs pos="1250">
                      <a:schemeClr val="tx1"/>
                    </a:gs>
                    <a:gs pos="100000">
                      <a:schemeClr val="tx1"/>
                    </a:gs>
                  </a:gsLst>
                  <a:lin ang="5400000" scaled="0"/>
                </a:gradFill>
                <a:latin typeface="+mj-lt"/>
              </a:rPr>
              <a:t>from </a:t>
            </a:r>
            <a:r>
              <a:rPr lang="en-US" sz="3600" dirty="0" smtClean="0">
                <a:gradFill>
                  <a:gsLst>
                    <a:gs pos="1250">
                      <a:schemeClr val="tx1"/>
                    </a:gs>
                    <a:gs pos="100000">
                      <a:schemeClr val="tx1"/>
                    </a:gs>
                  </a:gsLst>
                  <a:lin ang="5400000" scaled="0"/>
                </a:gradFill>
                <a:latin typeface="+mj-lt"/>
              </a:rPr>
              <a:t>Anywhere </a:t>
            </a:r>
            <a:r>
              <a:rPr lang="en-US" sz="3600" dirty="0">
                <a:gradFill>
                  <a:gsLst>
                    <a:gs pos="1250">
                      <a:schemeClr val="tx1"/>
                    </a:gs>
                    <a:gs pos="100000">
                      <a:schemeClr val="tx1"/>
                    </a:gs>
                  </a:gsLst>
                  <a:lin ang="5400000" scaled="0"/>
                </a:gradFill>
                <a:latin typeface="+mj-lt"/>
              </a:rPr>
              <a:t>without </a:t>
            </a:r>
            <a:r>
              <a:rPr lang="en-US" sz="3600" dirty="0" smtClean="0">
                <a:gradFill>
                  <a:gsLst>
                    <a:gs pos="1250">
                      <a:schemeClr val="tx1"/>
                    </a:gs>
                    <a:gs pos="100000">
                      <a:schemeClr val="tx1"/>
                    </a:gs>
                  </a:gsLst>
                  <a:lin ang="5400000" scaled="0"/>
                </a:gradFill>
                <a:latin typeface="+mj-lt"/>
              </a:rPr>
              <a:t>Losing Sleep</a:t>
            </a:r>
            <a:r>
              <a:rPr lang="en-US" sz="3600" dirty="0">
                <a:gradFill>
                  <a:gsLst>
                    <a:gs pos="1250">
                      <a:schemeClr val="tx1"/>
                    </a:gs>
                    <a:gs pos="100000">
                      <a:schemeClr val="tx1"/>
                    </a:gs>
                  </a:gsLst>
                  <a:lin ang="5400000" scaled="0"/>
                </a:gradFill>
                <a:latin typeface="+mj-lt"/>
              </a:rPr>
              <a:t>: </a:t>
            </a:r>
            <a:r>
              <a:rPr lang="en-US" sz="3600" dirty="0" smtClean="0">
                <a:gradFill>
                  <a:gsLst>
                    <a:gs pos="1250">
                      <a:schemeClr val="tx1"/>
                    </a:gs>
                    <a:gs pos="100000">
                      <a:schemeClr val="tx1"/>
                    </a:gs>
                  </a:gsLst>
                  <a:lin ang="5400000" scaled="0"/>
                </a:gradFill>
                <a:latin typeface="+mj-lt"/>
              </a:rPr>
              <a:t>Remote Access </a:t>
            </a:r>
            <a:r>
              <a:rPr lang="en-US" sz="3600" dirty="0">
                <a:gradFill>
                  <a:gsLst>
                    <a:gs pos="1250">
                      <a:schemeClr val="tx1"/>
                    </a:gs>
                    <a:gs pos="100000">
                      <a:schemeClr val="tx1"/>
                    </a:gs>
                  </a:gsLst>
                  <a:lin ang="5400000" scaled="0"/>
                </a:gradFill>
                <a:latin typeface="+mj-lt"/>
              </a:rPr>
              <a:t>with the Web Application Proxy and VPN </a:t>
            </a:r>
            <a:r>
              <a:rPr lang="en-US" sz="3600" dirty="0" smtClean="0">
                <a:gradFill>
                  <a:gsLst>
                    <a:gs pos="1250">
                      <a:schemeClr val="tx1"/>
                    </a:gs>
                    <a:gs pos="100000">
                      <a:schemeClr val="tx1"/>
                    </a:gs>
                  </a:gsLst>
                  <a:lin ang="5400000" scaled="0"/>
                </a:gradFill>
                <a:latin typeface="+mj-lt"/>
              </a:rPr>
              <a:t>Solutions</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a:xfrm>
            <a:off x="371669" y="4480355"/>
            <a:ext cx="11790169" cy="590931"/>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DN03: Enabling People Centric IT</a:t>
            </a:r>
            <a:endParaRPr lang="en-US" sz="3600" dirty="0">
              <a:gradFill>
                <a:gsLst>
                  <a:gs pos="1250">
                    <a:schemeClr val="tx1"/>
                  </a:gs>
                  <a:gs pos="100000">
                    <a:schemeClr val="tx1"/>
                  </a:gs>
                </a:gsLst>
                <a:lin ang="5400000" scaled="0"/>
              </a:gradFill>
              <a:latin typeface="+mj-lt"/>
            </a:endParaRPr>
          </a:p>
        </p:txBody>
      </p:sp>
    </p:spTree>
    <p:extLst>
      <p:ext uri="{BB962C8B-B14F-4D97-AF65-F5344CB8AC3E}">
        <p14:creationId xmlns:p14="http://schemas.microsoft.com/office/powerpoint/2010/main" val="1574401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7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a:xfrm>
            <a:off x="371669" y="1395987"/>
            <a:ext cx="11790169" cy="1588127"/>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b="1" dirty="0" smtClean="0">
                <a:gradFill>
                  <a:gsLst>
                    <a:gs pos="1250">
                      <a:schemeClr val="tx1"/>
                    </a:gs>
                    <a:gs pos="100000">
                      <a:schemeClr val="tx1"/>
                    </a:gs>
                  </a:gsLst>
                  <a:lin ang="5400000" scaled="0"/>
                </a:gradFill>
                <a:latin typeface="+mj-lt"/>
              </a:rPr>
              <a:t>ADFS Content Map</a:t>
            </a:r>
            <a:r>
              <a:rPr lang="en-US" sz="3600" dirty="0" smtClean="0">
                <a:gradFill>
                  <a:gsLst>
                    <a:gs pos="1250">
                      <a:schemeClr val="tx1"/>
                    </a:gs>
                    <a:gs pos="100000">
                      <a:schemeClr val="tx1"/>
                    </a:gs>
                  </a:gsLst>
                  <a:lin ang="5400000" scaled="0"/>
                </a:gradFill>
                <a:latin typeface="+mj-lt"/>
              </a:rPr>
              <a:t> </a:t>
            </a:r>
            <a:r>
              <a:rPr lang="en-US" sz="3600" dirty="0">
                <a:gradFill>
                  <a:gsLst>
                    <a:gs pos="1250">
                      <a:schemeClr val="tx1"/>
                    </a:gs>
                    <a:gs pos="100000">
                      <a:schemeClr val="tx1"/>
                    </a:gs>
                  </a:gsLst>
                  <a:lin ang="5400000" scaled="0"/>
                </a:gradFill>
                <a:latin typeface="+mj-lt"/>
              </a:rPr>
              <a:t>http://</a:t>
            </a:r>
            <a:r>
              <a:rPr lang="en-US" sz="3600" dirty="0" smtClean="0">
                <a:gradFill>
                  <a:gsLst>
                    <a:gs pos="1250">
                      <a:schemeClr val="tx1"/>
                    </a:gs>
                    <a:gs pos="100000">
                      <a:schemeClr val="tx1"/>
                    </a:gs>
                  </a:gsLst>
                  <a:lin ang="5400000" scaled="0"/>
                </a:gradFill>
                <a:latin typeface="+mj-lt"/>
              </a:rPr>
              <a:t>social.technet.microsoft.com/wiki/contents/articles/2735.ad-fs-2-0-content-map.aspx  </a:t>
            </a:r>
            <a:endParaRPr lang="en-US" sz="3600" dirty="0">
              <a:gradFill>
                <a:gsLst>
                  <a:gs pos="1250">
                    <a:schemeClr val="tx1"/>
                  </a:gs>
                  <a:gs pos="100000">
                    <a:schemeClr val="tx1"/>
                  </a:gs>
                </a:gsLst>
                <a:lin ang="5400000" scaled="0"/>
              </a:gradFill>
              <a:latin typeface="+mj-lt"/>
            </a:endParaRPr>
          </a:p>
        </p:txBody>
      </p:sp>
      <p:sp>
        <p:nvSpPr>
          <p:cNvPr id="9" name="Rectangle 8"/>
          <p:cNvSpPr/>
          <p:nvPr/>
        </p:nvSpPr>
        <p:spPr>
          <a:xfrm>
            <a:off x="371669" y="3219249"/>
            <a:ext cx="11790169" cy="1089529"/>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b="1" dirty="0" smtClean="0">
                <a:gradFill>
                  <a:gsLst>
                    <a:gs pos="1250">
                      <a:schemeClr val="tx1"/>
                    </a:gs>
                    <a:gs pos="100000">
                      <a:schemeClr val="tx1"/>
                    </a:gs>
                  </a:gsLst>
                  <a:lin ang="5400000" scaled="0"/>
                </a:gradFill>
                <a:latin typeface="+mj-lt"/>
              </a:rPr>
              <a:t>Active </a:t>
            </a:r>
            <a:r>
              <a:rPr lang="en-US" sz="3600" b="1" dirty="0">
                <a:gradFill>
                  <a:gsLst>
                    <a:gs pos="1250">
                      <a:schemeClr val="tx1"/>
                    </a:gs>
                    <a:gs pos="100000">
                      <a:schemeClr val="tx1"/>
                    </a:gs>
                  </a:gsLst>
                  <a:lin ang="5400000" scaled="0"/>
                </a:gradFill>
                <a:latin typeface="+mj-lt"/>
              </a:rPr>
              <a:t>Directory Blog</a:t>
            </a:r>
            <a:r>
              <a:rPr lang="en-US" sz="3600" dirty="0">
                <a:gradFill>
                  <a:gsLst>
                    <a:gs pos="1250">
                      <a:schemeClr val="tx1"/>
                    </a:gs>
                    <a:gs pos="100000">
                      <a:schemeClr val="tx1"/>
                    </a:gs>
                  </a:gsLst>
                  <a:lin ang="5400000" scaled="0"/>
                </a:gradFill>
                <a:latin typeface="+mj-lt"/>
              </a:rPr>
              <a:t> http://blogs.msdn.com/b/active_directory_team_blog/</a:t>
            </a: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25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1000" fill="hold"/>
                                        <p:tgtEl>
                                          <p:spTgt spid="9"/>
                                        </p:tgtEl>
                                        <p:attrNameLst>
                                          <p:attrName>ppt_x</p:attrName>
                                        </p:attrNameLst>
                                      </p:cBhvr>
                                      <p:tavLst>
                                        <p:tav tm="0">
                                          <p:val>
                                            <p:strVal val="0-#ppt_w/2"/>
                                          </p:val>
                                        </p:tav>
                                        <p:tav tm="100000">
                                          <p:val>
                                            <p:strVal val="#ppt_x"/>
                                          </p:val>
                                        </p:tav>
                                      </p:tavLst>
                                    </p:anim>
                                    <p:anim calcmode="lin" valueType="num">
                                      <p:cBhvr additive="base">
                                        <p:cTn id="16" dur="10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Track Resources</a:t>
            </a:r>
            <a:endParaRPr lang="en-US" dirty="0"/>
          </a:p>
        </p:txBody>
      </p:sp>
      <p:sp>
        <p:nvSpPr>
          <p:cNvPr id="6" name="Rectangle 5"/>
          <p:cNvSpPr/>
          <p:nvPr/>
        </p:nvSpPr>
        <p:spPr bwMode="auto">
          <a:xfrm>
            <a:off x="266520" y="1295327"/>
            <a:ext cx="11885832" cy="54824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499" y="139628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solidFill>
                  <a:srgbClr val="FFFFFF"/>
                </a:solidFill>
              </a:rPr>
              <a:t>Windows Enterprise: </a:t>
            </a:r>
            <a:r>
              <a:rPr lang="en-US" sz="3599" u="sng" dirty="0">
                <a:solidFill>
                  <a:srgbClr val="00B0F0"/>
                </a:solidFill>
                <a:hlinkClick r:id="rId4" action="ppaction://hlinkfile"/>
              </a:rPr>
              <a:t>windows.com/enterprise</a:t>
            </a:r>
            <a:r>
              <a:rPr lang="en-US" sz="3599" dirty="0">
                <a:solidFill>
                  <a:srgbClr val="FFFFFF"/>
                </a:solidFill>
              </a:rPr>
              <a:t> </a:t>
            </a:r>
          </a:p>
        </p:txBody>
      </p:sp>
      <p:sp>
        <p:nvSpPr>
          <p:cNvPr id="8" name="Rectangle 7"/>
          <p:cNvSpPr/>
          <p:nvPr/>
        </p:nvSpPr>
        <p:spPr bwMode="invGray">
          <a:xfrm>
            <a:off x="372499" y="2307787"/>
            <a:ext cx="11788497" cy="612897"/>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Springboard: </a:t>
            </a:r>
            <a:r>
              <a:rPr lang="en-US" sz="3672" u="sng" dirty="0">
                <a:solidFill>
                  <a:srgbClr val="00B0F0"/>
                </a:solidFill>
                <a:hlinkClick r:id="rId5" action="ppaction://hlinkfile"/>
              </a:rPr>
              <a:t>windows.com/</a:t>
            </a:r>
            <a:r>
              <a:rPr lang="en-US" sz="3672" u="sng" dirty="0" err="1">
                <a:solidFill>
                  <a:srgbClr val="00B0F0"/>
                </a:solidFill>
                <a:hlinkClick r:id="rId5" action="ppaction://hlinkfile"/>
              </a:rPr>
              <a:t>ITpro</a:t>
            </a:r>
            <a:endParaRPr lang="en-US" sz="3599" u="sng" dirty="0">
              <a:solidFill>
                <a:srgbClr val="00B0F0"/>
              </a:solidFill>
            </a:endParaRPr>
          </a:p>
        </p:txBody>
      </p:sp>
      <p:sp>
        <p:nvSpPr>
          <p:cNvPr id="9" name="Rectangle 8"/>
          <p:cNvSpPr/>
          <p:nvPr/>
        </p:nvSpPr>
        <p:spPr bwMode="invGray">
          <a:xfrm>
            <a:off x="372499" y="3219288"/>
            <a:ext cx="11788497" cy="1732356"/>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Microsoft Desktop Optimization Package (MDOP): </a:t>
            </a:r>
            <a:r>
              <a:rPr lang="en-US" sz="3599" u="sng" dirty="0">
                <a:solidFill>
                  <a:srgbClr val="00B0F0"/>
                </a:solidFill>
                <a:hlinkClick r:id="rId6" action="ppaction://hlinkfile"/>
              </a:rPr>
              <a:t>microsoft.com/</a:t>
            </a:r>
            <a:r>
              <a:rPr lang="en-US" sz="3599" u="sng" dirty="0" err="1">
                <a:solidFill>
                  <a:srgbClr val="00B0F0"/>
                </a:solidFill>
                <a:hlinkClick r:id="rId6" action="ppaction://hlinkfile"/>
              </a:rPr>
              <a:t>mdop</a:t>
            </a:r>
            <a:endParaRPr lang="en-US" sz="3599" u="sng" dirty="0">
              <a:solidFill>
                <a:srgbClr val="00B0F0"/>
              </a:solidFill>
            </a:endParaRPr>
          </a:p>
          <a:p>
            <a:pPr defTabSz="932563">
              <a:lnSpc>
                <a:spcPct val="90000"/>
              </a:lnSpc>
              <a:spcBef>
                <a:spcPct val="20000"/>
              </a:spcBef>
              <a:buSzPct val="105000"/>
            </a:pPr>
            <a:endParaRPr lang="en-US" sz="3599" dirty="0">
              <a:gradFill>
                <a:gsLst>
                  <a:gs pos="1250">
                    <a:srgbClr val="FFFFFF"/>
                  </a:gs>
                  <a:gs pos="100000">
                    <a:srgbClr val="FFFFFF"/>
                  </a:gs>
                </a:gsLst>
                <a:lin ang="5400000" scaled="0"/>
              </a:gradFill>
            </a:endParaRPr>
          </a:p>
        </p:txBody>
      </p:sp>
      <p:sp>
        <p:nvSpPr>
          <p:cNvPr id="10" name="Rectangle 9"/>
          <p:cNvSpPr/>
          <p:nvPr/>
        </p:nvSpPr>
        <p:spPr bwMode="invGray">
          <a:xfrm>
            <a:off x="372499" y="4437093"/>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Desktop Virtualization (DV): </a:t>
            </a:r>
            <a:r>
              <a:rPr lang="en-US" sz="3599" u="sng" dirty="0">
                <a:solidFill>
                  <a:srgbClr val="00B0F0"/>
                </a:solidFill>
                <a:hlinkClick r:id="rId7" action="ppaction://hlinkfile"/>
              </a:rPr>
              <a:t>microsoft.com/dv</a:t>
            </a:r>
            <a:endParaRPr lang="en-US" sz="3599" u="sng" dirty="0">
              <a:solidFill>
                <a:srgbClr val="00B0F0"/>
              </a:solidFill>
            </a:endParaRPr>
          </a:p>
        </p:txBody>
      </p:sp>
      <p:sp useBgFill="1">
        <p:nvSpPr>
          <p:cNvPr id="11" name="Freeform 10"/>
          <p:cNvSpPr/>
          <p:nvPr/>
        </p:nvSpPr>
        <p:spPr bwMode="auto">
          <a:xfrm>
            <a:off x="883" y="497"/>
            <a:ext cx="12434711" cy="6993533"/>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invGray">
          <a:xfrm>
            <a:off x="372499" y="5240451"/>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Windows To Go: </a:t>
            </a:r>
            <a:r>
              <a:rPr lang="en-US" sz="3599" u="sng" dirty="0">
                <a:solidFill>
                  <a:srgbClr val="00B0F0"/>
                </a:solidFill>
                <a:hlinkClick r:id="rId8" action="ppaction://hlinkfile"/>
              </a:rPr>
              <a:t>microsoft.com/windows/</a:t>
            </a:r>
            <a:r>
              <a:rPr lang="en-US" sz="3599" u="sng" dirty="0" err="1">
                <a:solidFill>
                  <a:srgbClr val="00B0F0"/>
                </a:solidFill>
                <a:hlinkClick r:id="rId8" action="ppaction://hlinkfile"/>
              </a:rPr>
              <a:t>wtg</a:t>
            </a:r>
            <a:endParaRPr lang="en-US" sz="3599" u="sng" dirty="0">
              <a:solidFill>
                <a:srgbClr val="00B0F0"/>
              </a:solidFill>
            </a:endParaRPr>
          </a:p>
        </p:txBody>
      </p:sp>
      <p:sp>
        <p:nvSpPr>
          <p:cNvPr id="14" name="Rectangle 13"/>
          <p:cNvSpPr/>
          <p:nvPr/>
        </p:nvSpPr>
        <p:spPr bwMode="invGray">
          <a:xfrm>
            <a:off x="372499" y="6026426"/>
            <a:ext cx="11788497" cy="602564"/>
          </a:xfrm>
          <a:prstGeom prst="rect">
            <a:avLst/>
          </a:prstGeom>
        </p:spPr>
        <p:txBody>
          <a:bodyPr wrap="square">
            <a:spAutoFit/>
          </a:bodyPr>
          <a:lstStyle/>
          <a:p>
            <a:pPr marL="571390" indent="-571390" defTabSz="932563">
              <a:lnSpc>
                <a:spcPct val="90000"/>
              </a:lnSpc>
              <a:spcBef>
                <a:spcPct val="20000"/>
              </a:spcBef>
              <a:buSzPct val="105000"/>
              <a:buBlip>
                <a:blip r:embed="rId3"/>
              </a:buBlip>
            </a:pPr>
            <a:r>
              <a:rPr lang="en-US" sz="3599" dirty="0">
                <a:gradFill>
                  <a:gsLst>
                    <a:gs pos="1250">
                      <a:srgbClr val="FFFFFF"/>
                    </a:gs>
                    <a:gs pos="100000">
                      <a:srgbClr val="FFFFFF"/>
                    </a:gs>
                  </a:gsLst>
                  <a:lin ang="5400000" scaled="0"/>
                </a:gradFill>
              </a:rPr>
              <a:t>Outlook.com: </a:t>
            </a:r>
            <a:r>
              <a:rPr lang="en-US" sz="3599" u="sng" dirty="0">
                <a:solidFill>
                  <a:srgbClr val="00B0F0"/>
                </a:solidFill>
                <a:hlinkClick r:id="rId9" action="ppaction://hlinkfile"/>
              </a:rPr>
              <a:t>tryoutlook.com</a:t>
            </a:r>
            <a:endParaRPr lang="en-US" sz="3599" u="sng" dirty="0">
              <a:solidFill>
                <a:srgbClr val="00B0F0"/>
              </a:solidFill>
            </a:endParaRPr>
          </a:p>
        </p:txBody>
      </p:sp>
    </p:spTree>
    <p:extLst>
      <p:ext uri="{BB962C8B-B14F-4D97-AF65-F5344CB8AC3E}">
        <p14:creationId xmlns:p14="http://schemas.microsoft.com/office/powerpoint/2010/main" val="340305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1000" fill="hold"/>
                                        <p:tgtEl>
                                          <p:spTgt spid="9"/>
                                        </p:tgtEl>
                                        <p:attrNameLst>
                                          <p:attrName>ppt_x</p:attrName>
                                        </p:attrNameLst>
                                      </p:cBhvr>
                                      <p:tavLst>
                                        <p:tav tm="0">
                                          <p:val>
                                            <p:strVal val="0-#ppt_w/2"/>
                                          </p:val>
                                        </p:tav>
                                        <p:tav tm="100000">
                                          <p:val>
                                            <p:strVal val="#ppt_x"/>
                                          </p:val>
                                        </p:tav>
                                      </p:tavLst>
                                    </p:anim>
                                    <p:anim calcmode="lin" valueType="num">
                                      <p:cBhvr additive="base">
                                        <p:cTn id="20" dur="1000" fill="hold"/>
                                        <p:tgtEl>
                                          <p:spTgt spid="9"/>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150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1000" fill="hold"/>
                                        <p:tgtEl>
                                          <p:spTgt spid="10"/>
                                        </p:tgtEl>
                                        <p:attrNameLst>
                                          <p:attrName>ppt_x</p:attrName>
                                        </p:attrNameLst>
                                      </p:cBhvr>
                                      <p:tavLst>
                                        <p:tav tm="0">
                                          <p:val>
                                            <p:strVal val="0-#ppt_w/2"/>
                                          </p:val>
                                        </p:tav>
                                        <p:tav tm="100000">
                                          <p:val>
                                            <p:strVal val="#ppt_x"/>
                                          </p:val>
                                        </p:tav>
                                      </p:tavLst>
                                    </p:anim>
                                    <p:anim calcmode="lin" valueType="num">
                                      <p:cBhvr additive="base">
                                        <p:cTn id="24" dur="1000" fill="hold"/>
                                        <p:tgtEl>
                                          <p:spTgt spid="10"/>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000" fill="hold"/>
                                        <p:tgtEl>
                                          <p:spTgt spid="13"/>
                                        </p:tgtEl>
                                        <p:attrNameLst>
                                          <p:attrName>ppt_x</p:attrName>
                                        </p:attrNameLst>
                                      </p:cBhvr>
                                      <p:tavLst>
                                        <p:tav tm="0">
                                          <p:val>
                                            <p:strVal val="0-#ppt_w/2"/>
                                          </p:val>
                                        </p:tav>
                                        <p:tav tm="100000">
                                          <p:val>
                                            <p:strVal val="#ppt_x"/>
                                          </p:val>
                                        </p:tav>
                                      </p:tavLst>
                                    </p:anim>
                                    <p:anim calcmode="lin" valueType="num">
                                      <p:cBhvr additive="base">
                                        <p:cTn id="28" dur="10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150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1000" fill="hold"/>
                                        <p:tgtEl>
                                          <p:spTgt spid="14"/>
                                        </p:tgtEl>
                                        <p:attrNameLst>
                                          <p:attrName>ppt_x</p:attrName>
                                        </p:attrNameLst>
                                      </p:cBhvr>
                                      <p:tavLst>
                                        <p:tav tm="0">
                                          <p:val>
                                            <p:strVal val="0-#ppt_w/2"/>
                                          </p:val>
                                        </p:tav>
                                        <p:tav tm="100000">
                                          <p:val>
                                            <p:strVal val="#ppt_x"/>
                                          </p:val>
                                        </p:tav>
                                      </p:tavLst>
                                    </p:anim>
                                    <p:anim calcmode="lin" valueType="num">
                                      <p:cBhvr additive="base">
                                        <p:cTn id="32" dur="100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P spid="13" grpId="0"/>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1112839" y="1214472"/>
            <a:ext cx="6024123" cy="6014980"/>
          </a:xfrm>
        </p:spPr>
        <p:txBody>
          <a:bodyPr/>
          <a:lstStyle/>
          <a:p>
            <a:pPr defTabSz="932597">
              <a:spcBef>
                <a:spcPts val="600"/>
              </a:spcBef>
              <a:buSzTx/>
            </a:pPr>
            <a:r>
              <a:rPr lang="en-US" sz="2040" dirty="0">
                <a:solidFill>
                  <a:srgbClr val="FFFFFF"/>
                </a:solidFill>
                <a:latin typeface="Segoe UI"/>
              </a:rPr>
              <a:t>System Center 2012 Configuration Manager</a:t>
            </a:r>
          </a:p>
          <a:p>
            <a:pPr defTabSz="932597">
              <a:spcBef>
                <a:spcPts val="600"/>
              </a:spcBef>
              <a:buSzTx/>
            </a:pPr>
            <a:r>
              <a:rPr lang="en-US" sz="1428" dirty="0">
                <a:solidFill>
                  <a:srgbClr val="FFFFFF"/>
                </a:solidFill>
                <a:latin typeface="Segoe UI"/>
                <a:hlinkClick r:id="rId3" action="ppaction://hlinkfile"/>
              </a:rPr>
              <a:t>http://technet.microsoft.com/en-us/evalcenter/hh667640.aspx?wt.mc_id=TEC_105_1_33</a:t>
            </a:r>
            <a:endParaRPr lang="en-US" sz="1428" dirty="0">
              <a:solidFill>
                <a:srgbClr val="FFFFFF"/>
              </a:solidFill>
              <a:latin typeface="Segoe UI"/>
            </a:endParaRPr>
          </a:p>
          <a:p>
            <a:pPr defTabSz="932597">
              <a:spcBef>
                <a:spcPts val="600"/>
              </a:spcBef>
              <a:buSzTx/>
            </a:pPr>
            <a:endParaRPr lang="en-US" sz="816" dirty="0">
              <a:solidFill>
                <a:srgbClr val="FFFFFF"/>
              </a:solidFill>
              <a:latin typeface="Segoe UI"/>
            </a:endParaRPr>
          </a:p>
          <a:p>
            <a:pPr defTabSz="932597">
              <a:spcBef>
                <a:spcPts val="600"/>
              </a:spcBef>
              <a:buSzTx/>
            </a:pPr>
            <a:r>
              <a:rPr lang="en-US" sz="2040" dirty="0">
                <a:solidFill>
                  <a:srgbClr val="FFFFFF"/>
                </a:solidFill>
                <a:latin typeface="Segoe UI"/>
              </a:rPr>
              <a:t>Windows Intune</a:t>
            </a:r>
          </a:p>
          <a:p>
            <a:pPr defTabSz="932597">
              <a:spcBef>
                <a:spcPts val="600"/>
              </a:spcBef>
              <a:buSzTx/>
            </a:pPr>
            <a:r>
              <a:rPr lang="en-US" sz="1428" dirty="0">
                <a:solidFill>
                  <a:srgbClr val="FFFFFF"/>
                </a:solidFill>
                <a:latin typeface="Segoe UI"/>
                <a:hlinkClick r:id="rId4"/>
              </a:rPr>
              <a:t>http://www.microsoft.com/en-us/windows/windowsintune/try-and-buy</a:t>
            </a:r>
            <a:endParaRPr lang="en-US" sz="1428" dirty="0">
              <a:solidFill>
                <a:srgbClr val="FFFFFF"/>
              </a:solidFill>
              <a:latin typeface="Segoe UI"/>
            </a:endParaRPr>
          </a:p>
          <a:p>
            <a:pPr defTabSz="932597">
              <a:spcBef>
                <a:spcPts val="612"/>
              </a:spcBef>
              <a:buSzTx/>
            </a:pPr>
            <a:endParaRPr lang="en-US" sz="816" dirty="0">
              <a:solidFill>
                <a:srgbClr val="FFFFFF"/>
              </a:solidFill>
              <a:latin typeface="Segoe UI"/>
            </a:endParaRPr>
          </a:p>
          <a:p>
            <a:pPr defTabSz="932597">
              <a:spcBef>
                <a:spcPts val="612"/>
              </a:spcBef>
              <a:buSzTx/>
            </a:pPr>
            <a:r>
              <a:rPr lang="en-US" sz="2040" dirty="0">
                <a:solidFill>
                  <a:srgbClr val="FFFFFF"/>
                </a:solidFill>
                <a:latin typeface="Segoe UI"/>
              </a:rPr>
              <a:t>Windows Server 2012 </a:t>
            </a:r>
          </a:p>
          <a:p>
            <a:pPr defTabSz="932597">
              <a:spcBef>
                <a:spcPts val="612"/>
              </a:spcBef>
              <a:buSzTx/>
            </a:pPr>
            <a:r>
              <a:rPr lang="en-US" sz="1428" u="sng" dirty="0">
                <a:solidFill>
                  <a:srgbClr val="FFFFFF"/>
                </a:solidFill>
                <a:hlinkClick r:id="rId5"/>
              </a:rPr>
              <a:t>http://www.microsoft.com/en-us/server-cloud/windows-server</a:t>
            </a:r>
            <a:r>
              <a:rPr lang="en-US" sz="1428" u="sng" dirty="0">
                <a:solidFill>
                  <a:srgbClr val="FFFFFF"/>
                </a:solidFill>
              </a:rPr>
              <a:t> </a:t>
            </a:r>
          </a:p>
          <a:p>
            <a:pPr defTabSz="932597">
              <a:spcBef>
                <a:spcPts val="612"/>
              </a:spcBef>
              <a:buSzTx/>
            </a:pPr>
            <a:endParaRPr lang="en-US" sz="816" u="sng" dirty="0">
              <a:solidFill>
                <a:srgbClr val="FFFFFF"/>
              </a:solidFill>
            </a:endParaRPr>
          </a:p>
          <a:p>
            <a:pPr defTabSz="932597">
              <a:spcBef>
                <a:spcPts val="612"/>
              </a:spcBef>
              <a:buSzTx/>
            </a:pPr>
            <a:r>
              <a:rPr lang="en-US" sz="2040" dirty="0">
                <a:solidFill>
                  <a:srgbClr val="FFFFFF"/>
                </a:solidFill>
                <a:latin typeface="Segoe UI"/>
              </a:rPr>
              <a:t>Windows Server 2012 VDI and </a:t>
            </a:r>
            <a:br>
              <a:rPr lang="en-US" sz="2040" dirty="0">
                <a:solidFill>
                  <a:srgbClr val="FFFFFF"/>
                </a:solidFill>
                <a:latin typeface="Segoe UI"/>
              </a:rPr>
            </a:br>
            <a:r>
              <a:rPr lang="en-US" sz="2040" dirty="0">
                <a:solidFill>
                  <a:srgbClr val="FFFFFF"/>
                </a:solidFill>
                <a:latin typeface="Segoe UI"/>
              </a:rPr>
              <a:t>Remote Desktop Services</a:t>
            </a:r>
          </a:p>
          <a:p>
            <a:pPr defTabSz="932597">
              <a:spcBef>
                <a:spcPts val="612"/>
              </a:spcBef>
              <a:buSzTx/>
            </a:pPr>
            <a:r>
              <a:rPr lang="en-US" sz="1428" dirty="0">
                <a:solidFill>
                  <a:srgbClr val="000000"/>
                </a:solidFill>
                <a:latin typeface="+mn-lt"/>
                <a:hlinkClick r:id="rId6"/>
              </a:rPr>
              <a:t>http://technet.microsoft.com/en-us/evalcenter/hh670538.aspx?ocid=&amp;wt.mc_id=TEC_108_1_33</a:t>
            </a:r>
            <a:endParaRPr lang="en-US" sz="1428" dirty="0">
              <a:solidFill>
                <a:srgbClr val="000000"/>
              </a:solidFill>
              <a:latin typeface="+mn-lt"/>
            </a:endParaRPr>
          </a:p>
          <a:p>
            <a:pPr defTabSz="932597">
              <a:spcBef>
                <a:spcPts val="612"/>
              </a:spcBef>
              <a:buSzTx/>
            </a:pPr>
            <a:r>
              <a:rPr lang="en-US" sz="1428" dirty="0">
                <a:solidFill>
                  <a:srgbClr val="000000"/>
                </a:solidFill>
                <a:latin typeface="+mn-lt"/>
                <a:hlinkClick r:id="rId7"/>
              </a:rPr>
              <a:t>http://www.microsoft.com/en-us/server-cloud/windows-server/virtual-desktop-infrastructure.aspx</a:t>
            </a:r>
            <a:r>
              <a:rPr lang="en-US" sz="1428" dirty="0">
                <a:solidFill>
                  <a:srgbClr val="000000"/>
                </a:solidFill>
                <a:latin typeface="+mn-lt"/>
              </a:rPr>
              <a:t> </a:t>
            </a:r>
          </a:p>
          <a:p>
            <a:pPr defTabSz="932597">
              <a:spcBef>
                <a:spcPts val="612"/>
              </a:spcBef>
              <a:buSzTx/>
            </a:pPr>
            <a:endParaRPr lang="en-US" sz="816" dirty="0">
              <a:solidFill>
                <a:srgbClr val="000000"/>
              </a:solidFill>
              <a:latin typeface="+mn-lt"/>
            </a:endParaRPr>
          </a:p>
          <a:p>
            <a:pPr defTabSz="932597">
              <a:spcBef>
                <a:spcPts val="612"/>
              </a:spcBef>
              <a:buSzTx/>
            </a:pPr>
            <a:r>
              <a:rPr lang="en-US" sz="2000" dirty="0">
                <a:solidFill>
                  <a:srgbClr val="FFFFFF"/>
                </a:solidFill>
                <a:latin typeface="Segoe UI"/>
              </a:rPr>
              <a:t>More Resources:</a:t>
            </a:r>
          </a:p>
          <a:p>
            <a:pPr lvl="1" defTabSz="932597" fontAlgn="base">
              <a:spcAft>
                <a:spcPts val="408"/>
              </a:spcAft>
              <a:buClr>
                <a:srgbClr val="000000">
                  <a:lumMod val="75000"/>
                  <a:lumOff val="25000"/>
                </a:srgbClr>
              </a:buClr>
              <a:tabLst>
                <a:tab pos="642783" algn="l"/>
              </a:tabLst>
            </a:pPr>
            <a:r>
              <a:rPr lang="en-US" sz="1428" dirty="0">
                <a:solidFill>
                  <a:srgbClr val="000000"/>
                </a:solidFill>
                <a:hlinkClick r:id="rId8"/>
              </a:rPr>
              <a:t>microsoft.com/</a:t>
            </a:r>
            <a:r>
              <a:rPr lang="en-US" sz="1428" b="1" dirty="0" err="1">
                <a:solidFill>
                  <a:srgbClr val="000000"/>
                </a:solidFill>
                <a:hlinkClick r:id="rId8"/>
              </a:rPr>
              <a:t>workstyle</a:t>
            </a:r>
            <a:r>
              <a:rPr lang="en-US" sz="1428" dirty="0">
                <a:solidFill>
                  <a:srgbClr val="000000"/>
                </a:solidFill>
              </a:rPr>
              <a:t/>
            </a:r>
            <a:br>
              <a:rPr lang="en-US" sz="1428" dirty="0">
                <a:solidFill>
                  <a:srgbClr val="000000"/>
                </a:solidFill>
              </a:rPr>
            </a:br>
            <a:r>
              <a:rPr lang="en-US" sz="1428" dirty="0">
                <a:solidFill>
                  <a:srgbClr val="000000"/>
                </a:solidFill>
                <a:hlinkClick r:id="rId9"/>
              </a:rPr>
              <a:t>microsoft.com/</a:t>
            </a:r>
            <a:r>
              <a:rPr lang="en-US" sz="1428" b="1" dirty="0">
                <a:solidFill>
                  <a:srgbClr val="000000"/>
                </a:solidFill>
                <a:hlinkClick r:id="rId9"/>
              </a:rPr>
              <a:t>server-cloud/user-device-management</a:t>
            </a:r>
            <a:endParaRPr lang="en-US" sz="1399" b="1" dirty="0">
              <a:solidFill>
                <a:srgbClr val="000000"/>
              </a:solidFill>
            </a:endParaRPr>
          </a:p>
          <a:p>
            <a:pPr lvl="1" defTabSz="932597" fontAlgn="base">
              <a:spcAft>
                <a:spcPts val="408"/>
              </a:spcAft>
              <a:buClr>
                <a:srgbClr val="000000">
                  <a:lumMod val="75000"/>
                  <a:lumOff val="25000"/>
                </a:srgbClr>
              </a:buClr>
              <a:tabLst>
                <a:tab pos="642783" algn="l"/>
              </a:tabLst>
            </a:pPr>
            <a:endParaRPr lang="en-US" i="1" dirty="0" smtClean="0">
              <a:solidFill>
                <a:srgbClr val="FFFFFF"/>
              </a:solidFill>
            </a:endParaRPr>
          </a:p>
          <a:p>
            <a:pPr lvl="1" defTabSz="932597" fontAlgn="base">
              <a:spcBef>
                <a:spcPts val="0"/>
              </a:spcBef>
              <a:spcAft>
                <a:spcPts val="1248"/>
              </a:spcAft>
              <a:buClr>
                <a:srgbClr val="FFFFFF">
                  <a:lumMod val="75000"/>
                  <a:lumOff val="25000"/>
                </a:srgbClr>
              </a:buClr>
              <a:tabLst>
                <a:tab pos="655700" algn="l"/>
                <a:tab pos="1843224" algn="l"/>
              </a:tabLst>
            </a:pPr>
            <a:endParaRPr lang="en-US" sz="1632" dirty="0">
              <a:solidFill>
                <a:srgbClr val="000000"/>
              </a:solidFill>
            </a:endParaRPr>
          </a:p>
        </p:txBody>
      </p:sp>
      <p:sp>
        <p:nvSpPr>
          <p:cNvPr id="30" name="Rectangle 29"/>
          <p:cNvSpPr/>
          <p:nvPr/>
        </p:nvSpPr>
        <p:spPr>
          <a:xfrm>
            <a:off x="751389" y="8226659"/>
            <a:ext cx="8964879" cy="376689"/>
          </a:xfrm>
          <a:prstGeom prst="rect">
            <a:avLst/>
          </a:prstGeom>
          <a:noFill/>
        </p:spPr>
        <p:txBody>
          <a:bodyPr wrap="square" lIns="93264" tIns="46632" rIns="93264" bIns="46632">
            <a:spAutoFit/>
          </a:bodyPr>
          <a:lstStyle/>
          <a:p>
            <a:pPr marL="0" lvl="1" defTabSz="932597" fontAlgn="base">
              <a:lnSpc>
                <a:spcPct val="90000"/>
              </a:lnSpc>
              <a:spcBef>
                <a:spcPct val="20000"/>
              </a:spcBef>
              <a:spcAft>
                <a:spcPts val="408"/>
              </a:spcAft>
              <a:buClr>
                <a:srgbClr val="FFFFFF">
                  <a:lumMod val="75000"/>
                  <a:lumOff val="25000"/>
                </a:srgbClr>
              </a:buClr>
              <a:buSzPct val="90000"/>
              <a:tabLst>
                <a:tab pos="642783" algn="l"/>
              </a:tabLst>
            </a:pPr>
            <a:endParaRPr lang="en-US" sz="2000" b="1" spc="-51" dirty="0">
              <a:solidFill>
                <a:srgbClr val="000000"/>
              </a:solidFill>
            </a:endParaRPr>
          </a:p>
        </p:txBody>
      </p:sp>
      <p:sp>
        <p:nvSpPr>
          <p:cNvPr id="23" name="Freeform 9"/>
          <p:cNvSpPr>
            <a:spLocks noEditPoints="1"/>
          </p:cNvSpPr>
          <p:nvPr/>
        </p:nvSpPr>
        <p:spPr bwMode="black">
          <a:xfrm>
            <a:off x="422584" y="5734519"/>
            <a:ext cx="637146"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5" name="Title 4"/>
          <p:cNvSpPr>
            <a:spLocks noGrp="1"/>
          </p:cNvSpPr>
          <p:nvPr>
            <p:ph type="title"/>
          </p:nvPr>
        </p:nvSpPr>
        <p:spPr/>
        <p:txBody>
          <a:bodyPr/>
          <a:lstStyle/>
          <a:p>
            <a:r>
              <a:rPr lang="en-US" sz="4896" dirty="0">
                <a:solidFill>
                  <a:schemeClr val="tx2"/>
                </a:solidFill>
                <a:latin typeface="Segoe UI Light" pitchFamily="34" charset="0"/>
              </a:rPr>
              <a:t>For More Information</a:t>
            </a:r>
            <a:endParaRPr lang="en-US" dirty="0"/>
          </a:p>
        </p:txBody>
      </p:sp>
      <p:sp>
        <p:nvSpPr>
          <p:cNvPr id="11" name="Freeform 9"/>
          <p:cNvSpPr>
            <a:spLocks noEditPoints="1"/>
          </p:cNvSpPr>
          <p:nvPr/>
        </p:nvSpPr>
        <p:spPr bwMode="black">
          <a:xfrm>
            <a:off x="422584" y="1301554"/>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12" name="Freeform 9"/>
          <p:cNvSpPr>
            <a:spLocks noEditPoints="1"/>
          </p:cNvSpPr>
          <p:nvPr/>
        </p:nvSpPr>
        <p:spPr bwMode="black">
          <a:xfrm>
            <a:off x="422584" y="2190280"/>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sp>
        <p:nvSpPr>
          <p:cNvPr id="13" name="Freeform 9"/>
          <p:cNvSpPr>
            <a:spLocks noEditPoints="1"/>
          </p:cNvSpPr>
          <p:nvPr/>
        </p:nvSpPr>
        <p:spPr bwMode="black">
          <a:xfrm>
            <a:off x="422584" y="3079006"/>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pic>
        <p:nvPicPr>
          <p:cNvPr id="15" name="Picture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bwMode="invGray">
          <a:xfrm>
            <a:off x="10252632" y="6009852"/>
            <a:ext cx="1569764" cy="336267"/>
          </a:xfrm>
          <a:prstGeom prst="rect">
            <a:avLst/>
          </a:prstGeom>
        </p:spPr>
      </p:pic>
      <p:sp>
        <p:nvSpPr>
          <p:cNvPr id="20" name="Freeform 9"/>
          <p:cNvSpPr>
            <a:spLocks noEditPoints="1"/>
          </p:cNvSpPr>
          <p:nvPr/>
        </p:nvSpPr>
        <p:spPr bwMode="black">
          <a:xfrm>
            <a:off x="422584" y="3967733"/>
            <a:ext cx="637145" cy="63689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2"/>
          </a:solidFill>
          <a:ln>
            <a:noFill/>
          </a:ln>
          <a:extLst/>
        </p:spPr>
        <p:txBody>
          <a:bodyPr vert="horz" wrap="square" lIns="91413" tIns="45707" rIns="91413" bIns="45707" numCol="1" anchor="t" anchorCtr="0" compatLnSpc="1">
            <a:prstTxWarp prst="textNoShape">
              <a:avLst/>
            </a:prstTxWarp>
          </a:bodyPr>
          <a:lstStyle/>
          <a:p>
            <a:pPr defTabSz="932597"/>
            <a:endParaRPr lang="en-US">
              <a:solidFill>
                <a:prstClr val="black"/>
              </a:solidFill>
            </a:endParaRPr>
          </a:p>
        </p:txBody>
      </p:sp>
      <p:grpSp>
        <p:nvGrpSpPr>
          <p:cNvPr id="24" name="Group 23"/>
          <p:cNvGrpSpPr/>
          <p:nvPr/>
        </p:nvGrpSpPr>
        <p:grpSpPr>
          <a:xfrm>
            <a:off x="7424749" y="2215415"/>
            <a:ext cx="4709054" cy="2300750"/>
            <a:chOff x="269239" y="2376280"/>
            <a:chExt cx="4617139" cy="2255842"/>
          </a:xfrm>
        </p:grpSpPr>
        <p:sp>
          <p:nvSpPr>
            <p:cNvPr id="25" name="Freeform 9"/>
            <p:cNvSpPr>
              <a:spLocks noEditPoints="1"/>
            </p:cNvSpPr>
            <p:nvPr/>
          </p:nvSpPr>
          <p:spPr bwMode="auto">
            <a:xfrm>
              <a:off x="269240" y="3280554"/>
              <a:ext cx="3828481" cy="399007"/>
            </a:xfrm>
            <a:custGeom>
              <a:avLst/>
              <a:gdLst>
                <a:gd name="T0" fmla="*/ 89 w 1963"/>
                <a:gd name="T1" fmla="*/ 187 h 202"/>
                <a:gd name="T2" fmla="*/ 0 w 1963"/>
                <a:gd name="T3" fmla="*/ 174 h 202"/>
                <a:gd name="T4" fmla="*/ 421 w 1963"/>
                <a:gd name="T5" fmla="*/ 40 h 202"/>
                <a:gd name="T6" fmla="*/ 307 w 1963"/>
                <a:gd name="T7" fmla="*/ 141 h 202"/>
                <a:gd name="T8" fmla="*/ 1849 w 1963"/>
                <a:gd name="T9" fmla="*/ 106 h 202"/>
                <a:gd name="T10" fmla="*/ 1815 w 1963"/>
                <a:gd name="T11" fmla="*/ 162 h 202"/>
                <a:gd name="T12" fmla="*/ 1877 w 1963"/>
                <a:gd name="T13" fmla="*/ 160 h 202"/>
                <a:gd name="T14" fmla="*/ 1858 w 1963"/>
                <a:gd name="T15" fmla="*/ 70 h 202"/>
                <a:gd name="T16" fmla="*/ 805 w 1963"/>
                <a:gd name="T17" fmla="*/ 95 h 202"/>
                <a:gd name="T18" fmla="*/ 832 w 1963"/>
                <a:gd name="T19" fmla="*/ 145 h 202"/>
                <a:gd name="T20" fmla="*/ 777 w 1963"/>
                <a:gd name="T21" fmla="*/ 145 h 202"/>
                <a:gd name="T22" fmla="*/ 621 w 1963"/>
                <a:gd name="T23" fmla="*/ 34 h 202"/>
                <a:gd name="T24" fmla="*/ 620 w 1963"/>
                <a:gd name="T25" fmla="*/ 86 h 202"/>
                <a:gd name="T26" fmla="*/ 580 w 1963"/>
                <a:gd name="T27" fmla="*/ 163 h 202"/>
                <a:gd name="T28" fmla="*/ 620 w 1963"/>
                <a:gd name="T29" fmla="*/ 130 h 202"/>
                <a:gd name="T30" fmla="*/ 621 w 1963"/>
                <a:gd name="T31" fmla="*/ 109 h 202"/>
                <a:gd name="T32" fmla="*/ 1555 w 1963"/>
                <a:gd name="T33" fmla="*/ 42 h 202"/>
                <a:gd name="T34" fmla="*/ 1611 w 1963"/>
                <a:gd name="T35" fmla="*/ 100 h 202"/>
                <a:gd name="T36" fmla="*/ 1548 w 1963"/>
                <a:gd name="T37" fmla="*/ 77 h 202"/>
                <a:gd name="T38" fmla="*/ 1121 w 1963"/>
                <a:gd name="T39" fmla="*/ 93 h 202"/>
                <a:gd name="T40" fmla="*/ 1118 w 1963"/>
                <a:gd name="T41" fmla="*/ 157 h 202"/>
                <a:gd name="T42" fmla="*/ 1064 w 1963"/>
                <a:gd name="T43" fmla="*/ 127 h 202"/>
                <a:gd name="T44" fmla="*/ 1105 w 1963"/>
                <a:gd name="T45" fmla="*/ 92 h 202"/>
                <a:gd name="T46" fmla="*/ 1280 w 1963"/>
                <a:gd name="T47" fmla="*/ 143 h 202"/>
                <a:gd name="T48" fmla="*/ 1311 w 1963"/>
                <a:gd name="T49" fmla="*/ 152 h 202"/>
                <a:gd name="T50" fmla="*/ 1301 w 1963"/>
                <a:gd name="T51" fmla="*/ 90 h 202"/>
                <a:gd name="T52" fmla="*/ 1012 w 1963"/>
                <a:gd name="T53" fmla="*/ 38 h 202"/>
                <a:gd name="T54" fmla="*/ 1010 w 1963"/>
                <a:gd name="T55" fmla="*/ 150 h 202"/>
                <a:gd name="T56" fmla="*/ 1018 w 1963"/>
                <a:gd name="T57" fmla="*/ 161 h 202"/>
                <a:gd name="T58" fmla="*/ 1005 w 1963"/>
                <a:gd name="T59" fmla="*/ 51 h 202"/>
                <a:gd name="T60" fmla="*/ 656 w 1963"/>
                <a:gd name="T61" fmla="*/ 138 h 202"/>
                <a:gd name="T62" fmla="*/ 704 w 1963"/>
                <a:gd name="T63" fmla="*/ 86 h 202"/>
                <a:gd name="T64" fmla="*/ 667 w 1963"/>
                <a:gd name="T65" fmla="*/ 126 h 202"/>
                <a:gd name="T66" fmla="*/ 1918 w 1963"/>
                <a:gd name="T67" fmla="*/ 149 h 202"/>
                <a:gd name="T68" fmla="*/ 1936 w 1963"/>
                <a:gd name="T69" fmla="*/ 40 h 202"/>
                <a:gd name="T70" fmla="*/ 1924 w 1963"/>
                <a:gd name="T71" fmla="*/ 50 h 202"/>
                <a:gd name="T72" fmla="*/ 1963 w 1963"/>
                <a:gd name="T73" fmla="*/ 149 h 202"/>
                <a:gd name="T74" fmla="*/ 1487 w 1963"/>
                <a:gd name="T75" fmla="*/ 115 h 202"/>
                <a:gd name="T76" fmla="*/ 1449 w 1963"/>
                <a:gd name="T77" fmla="*/ 63 h 202"/>
                <a:gd name="T78" fmla="*/ 1475 w 1963"/>
                <a:gd name="T79" fmla="*/ 110 h 202"/>
                <a:gd name="T80" fmla="*/ 1700 w 1963"/>
                <a:gd name="T81" fmla="*/ 149 h 202"/>
                <a:gd name="T82" fmla="*/ 1716 w 1963"/>
                <a:gd name="T83" fmla="*/ 39 h 202"/>
                <a:gd name="T84" fmla="*/ 1742 w 1963"/>
                <a:gd name="T85" fmla="*/ 67 h 202"/>
                <a:gd name="T86" fmla="*/ 1761 w 1963"/>
                <a:gd name="T87" fmla="*/ 162 h 202"/>
                <a:gd name="T88" fmla="*/ 523 w 1963"/>
                <a:gd name="T89" fmla="*/ 98 h 202"/>
                <a:gd name="T90" fmla="*/ 535 w 1963"/>
                <a:gd name="T91" fmla="*/ 88 h 202"/>
                <a:gd name="T92" fmla="*/ 467 w 1963"/>
                <a:gd name="T93" fmla="*/ 162 h 202"/>
                <a:gd name="T94" fmla="*/ 1232 w 1963"/>
                <a:gd name="T95" fmla="*/ 146 h 202"/>
                <a:gd name="T96" fmla="*/ 872 w 1963"/>
                <a:gd name="T97" fmla="*/ 160 h 202"/>
                <a:gd name="T98" fmla="*/ 898 w 1963"/>
                <a:gd name="T99" fmla="*/ 85 h 202"/>
                <a:gd name="T100" fmla="*/ 890 w 1963"/>
                <a:gd name="T101" fmla="*/ 123 h 202"/>
                <a:gd name="T102" fmla="*/ 1649 w 1963"/>
                <a:gd name="T103" fmla="*/ 162 h 202"/>
                <a:gd name="T104" fmla="*/ 1649 w 1963"/>
                <a:gd name="T105" fmla="*/ 57 h 202"/>
                <a:gd name="T106" fmla="*/ 1141 w 1963"/>
                <a:gd name="T107" fmla="*/ 75 h 202"/>
                <a:gd name="T108" fmla="*/ 1186 w 1963"/>
                <a:gd name="T109" fmla="*/ 89 h 202"/>
                <a:gd name="T110" fmla="*/ 1388 w 1963"/>
                <a:gd name="T111" fmla="*/ 94 h 202"/>
                <a:gd name="T112" fmla="*/ 1381 w 1963"/>
                <a:gd name="T113" fmla="*/ 92 h 202"/>
                <a:gd name="T114" fmla="*/ 432 w 1963"/>
                <a:gd name="T115" fmla="*/ 16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63" h="202">
                  <a:moveTo>
                    <a:pt x="89" y="99"/>
                  </a:moveTo>
                  <a:cubicBezTo>
                    <a:pt x="89" y="71"/>
                    <a:pt x="89" y="44"/>
                    <a:pt x="89" y="16"/>
                  </a:cubicBezTo>
                  <a:cubicBezTo>
                    <a:pt x="127" y="10"/>
                    <a:pt x="164" y="5"/>
                    <a:pt x="202" y="0"/>
                  </a:cubicBezTo>
                  <a:cubicBezTo>
                    <a:pt x="202" y="2"/>
                    <a:pt x="202" y="97"/>
                    <a:pt x="202" y="99"/>
                  </a:cubicBezTo>
                  <a:cubicBezTo>
                    <a:pt x="165" y="99"/>
                    <a:pt x="127" y="99"/>
                    <a:pt x="89" y="99"/>
                  </a:cubicBezTo>
                  <a:close/>
                  <a:moveTo>
                    <a:pt x="202" y="103"/>
                  </a:moveTo>
                  <a:cubicBezTo>
                    <a:pt x="164" y="103"/>
                    <a:pt x="127" y="103"/>
                    <a:pt x="89" y="103"/>
                  </a:cubicBezTo>
                  <a:cubicBezTo>
                    <a:pt x="89" y="131"/>
                    <a:pt x="89" y="159"/>
                    <a:pt x="89" y="187"/>
                  </a:cubicBezTo>
                  <a:cubicBezTo>
                    <a:pt x="127" y="192"/>
                    <a:pt x="164" y="197"/>
                    <a:pt x="202" y="202"/>
                  </a:cubicBezTo>
                  <a:cubicBezTo>
                    <a:pt x="202" y="169"/>
                    <a:pt x="202" y="136"/>
                    <a:pt x="202" y="103"/>
                  </a:cubicBezTo>
                  <a:close/>
                  <a:moveTo>
                    <a:pt x="86" y="99"/>
                  </a:moveTo>
                  <a:cubicBezTo>
                    <a:pt x="86" y="72"/>
                    <a:pt x="86" y="44"/>
                    <a:pt x="86" y="16"/>
                  </a:cubicBezTo>
                  <a:cubicBezTo>
                    <a:pt x="57" y="20"/>
                    <a:pt x="28" y="24"/>
                    <a:pt x="0" y="28"/>
                  </a:cubicBezTo>
                  <a:cubicBezTo>
                    <a:pt x="0" y="52"/>
                    <a:pt x="0" y="76"/>
                    <a:pt x="0" y="99"/>
                  </a:cubicBezTo>
                  <a:cubicBezTo>
                    <a:pt x="29" y="99"/>
                    <a:pt x="57" y="99"/>
                    <a:pt x="86" y="99"/>
                  </a:cubicBezTo>
                  <a:close/>
                  <a:moveTo>
                    <a:pt x="0" y="174"/>
                  </a:moveTo>
                  <a:cubicBezTo>
                    <a:pt x="28" y="178"/>
                    <a:pt x="57" y="182"/>
                    <a:pt x="86" y="186"/>
                  </a:cubicBezTo>
                  <a:cubicBezTo>
                    <a:pt x="86" y="158"/>
                    <a:pt x="86" y="131"/>
                    <a:pt x="86" y="103"/>
                  </a:cubicBezTo>
                  <a:cubicBezTo>
                    <a:pt x="57" y="103"/>
                    <a:pt x="29" y="103"/>
                    <a:pt x="0" y="103"/>
                  </a:cubicBezTo>
                  <a:cubicBezTo>
                    <a:pt x="0" y="127"/>
                    <a:pt x="0" y="150"/>
                    <a:pt x="0" y="174"/>
                  </a:cubicBezTo>
                  <a:close/>
                  <a:moveTo>
                    <a:pt x="343" y="66"/>
                  </a:moveTo>
                  <a:cubicBezTo>
                    <a:pt x="352" y="98"/>
                    <a:pt x="361" y="130"/>
                    <a:pt x="370" y="162"/>
                  </a:cubicBezTo>
                  <a:cubicBezTo>
                    <a:pt x="375" y="162"/>
                    <a:pt x="381" y="162"/>
                    <a:pt x="386" y="162"/>
                  </a:cubicBezTo>
                  <a:cubicBezTo>
                    <a:pt x="398" y="121"/>
                    <a:pt x="409" y="81"/>
                    <a:pt x="421" y="40"/>
                  </a:cubicBezTo>
                  <a:cubicBezTo>
                    <a:pt x="415" y="40"/>
                    <a:pt x="410" y="40"/>
                    <a:pt x="405" y="40"/>
                  </a:cubicBezTo>
                  <a:cubicBezTo>
                    <a:pt x="396" y="74"/>
                    <a:pt x="387" y="108"/>
                    <a:pt x="378" y="142"/>
                  </a:cubicBezTo>
                  <a:cubicBezTo>
                    <a:pt x="378" y="142"/>
                    <a:pt x="378" y="142"/>
                    <a:pt x="378" y="142"/>
                  </a:cubicBezTo>
                  <a:cubicBezTo>
                    <a:pt x="369" y="108"/>
                    <a:pt x="359" y="74"/>
                    <a:pt x="350" y="41"/>
                  </a:cubicBezTo>
                  <a:cubicBezTo>
                    <a:pt x="345" y="41"/>
                    <a:pt x="341" y="41"/>
                    <a:pt x="336" y="41"/>
                  </a:cubicBezTo>
                  <a:cubicBezTo>
                    <a:pt x="326" y="74"/>
                    <a:pt x="317" y="107"/>
                    <a:pt x="307" y="141"/>
                  </a:cubicBezTo>
                  <a:cubicBezTo>
                    <a:pt x="307" y="141"/>
                    <a:pt x="307" y="141"/>
                    <a:pt x="307" y="141"/>
                  </a:cubicBezTo>
                  <a:cubicBezTo>
                    <a:pt x="307" y="141"/>
                    <a:pt x="307" y="141"/>
                    <a:pt x="307" y="141"/>
                  </a:cubicBezTo>
                  <a:cubicBezTo>
                    <a:pt x="307" y="141"/>
                    <a:pt x="307" y="141"/>
                    <a:pt x="306" y="141"/>
                  </a:cubicBezTo>
                  <a:cubicBezTo>
                    <a:pt x="297" y="108"/>
                    <a:pt x="288" y="74"/>
                    <a:pt x="278" y="40"/>
                  </a:cubicBezTo>
                  <a:cubicBezTo>
                    <a:pt x="273" y="40"/>
                    <a:pt x="268" y="40"/>
                    <a:pt x="263" y="40"/>
                  </a:cubicBezTo>
                  <a:cubicBezTo>
                    <a:pt x="275" y="81"/>
                    <a:pt x="286" y="121"/>
                    <a:pt x="298" y="162"/>
                  </a:cubicBezTo>
                  <a:cubicBezTo>
                    <a:pt x="304" y="162"/>
                    <a:pt x="309" y="162"/>
                    <a:pt x="315" y="162"/>
                  </a:cubicBezTo>
                  <a:cubicBezTo>
                    <a:pt x="324" y="130"/>
                    <a:pt x="333" y="98"/>
                    <a:pt x="342" y="66"/>
                  </a:cubicBezTo>
                  <a:cubicBezTo>
                    <a:pt x="342" y="66"/>
                    <a:pt x="342" y="66"/>
                    <a:pt x="343" y="66"/>
                  </a:cubicBezTo>
                  <a:close/>
                  <a:moveTo>
                    <a:pt x="1849" y="106"/>
                  </a:moveTo>
                  <a:cubicBezTo>
                    <a:pt x="1862" y="102"/>
                    <a:pt x="1870" y="94"/>
                    <a:pt x="1873" y="81"/>
                  </a:cubicBezTo>
                  <a:cubicBezTo>
                    <a:pt x="1874" y="77"/>
                    <a:pt x="1874" y="73"/>
                    <a:pt x="1873" y="69"/>
                  </a:cubicBezTo>
                  <a:cubicBezTo>
                    <a:pt x="1873" y="58"/>
                    <a:pt x="1867" y="50"/>
                    <a:pt x="1857" y="44"/>
                  </a:cubicBezTo>
                  <a:cubicBezTo>
                    <a:pt x="1852" y="42"/>
                    <a:pt x="1846" y="40"/>
                    <a:pt x="1840" y="40"/>
                  </a:cubicBezTo>
                  <a:cubicBezTo>
                    <a:pt x="1827" y="40"/>
                    <a:pt x="1815" y="40"/>
                    <a:pt x="1802" y="40"/>
                  </a:cubicBezTo>
                  <a:cubicBezTo>
                    <a:pt x="1801" y="40"/>
                    <a:pt x="1801" y="40"/>
                    <a:pt x="1800" y="40"/>
                  </a:cubicBezTo>
                  <a:cubicBezTo>
                    <a:pt x="1800" y="43"/>
                    <a:pt x="1800" y="160"/>
                    <a:pt x="1801" y="162"/>
                  </a:cubicBezTo>
                  <a:cubicBezTo>
                    <a:pt x="1805" y="162"/>
                    <a:pt x="1813" y="162"/>
                    <a:pt x="1815" y="162"/>
                  </a:cubicBezTo>
                  <a:cubicBezTo>
                    <a:pt x="1815" y="145"/>
                    <a:pt x="1815" y="127"/>
                    <a:pt x="1815" y="110"/>
                  </a:cubicBezTo>
                  <a:cubicBezTo>
                    <a:pt x="1819" y="110"/>
                    <a:pt x="1822" y="110"/>
                    <a:pt x="1826" y="110"/>
                  </a:cubicBezTo>
                  <a:cubicBezTo>
                    <a:pt x="1832" y="110"/>
                    <a:pt x="1837" y="112"/>
                    <a:pt x="1840" y="117"/>
                  </a:cubicBezTo>
                  <a:cubicBezTo>
                    <a:pt x="1843" y="120"/>
                    <a:pt x="1844" y="122"/>
                    <a:pt x="1845" y="126"/>
                  </a:cubicBezTo>
                  <a:cubicBezTo>
                    <a:pt x="1850" y="137"/>
                    <a:pt x="1855" y="148"/>
                    <a:pt x="1860" y="160"/>
                  </a:cubicBezTo>
                  <a:cubicBezTo>
                    <a:pt x="1861" y="160"/>
                    <a:pt x="1861" y="161"/>
                    <a:pt x="1861" y="162"/>
                  </a:cubicBezTo>
                  <a:cubicBezTo>
                    <a:pt x="1867" y="162"/>
                    <a:pt x="1873" y="162"/>
                    <a:pt x="1878" y="162"/>
                  </a:cubicBezTo>
                  <a:cubicBezTo>
                    <a:pt x="1878" y="161"/>
                    <a:pt x="1878" y="160"/>
                    <a:pt x="1877" y="160"/>
                  </a:cubicBezTo>
                  <a:cubicBezTo>
                    <a:pt x="1874" y="153"/>
                    <a:pt x="1871" y="147"/>
                    <a:pt x="1868" y="141"/>
                  </a:cubicBezTo>
                  <a:cubicBezTo>
                    <a:pt x="1865" y="134"/>
                    <a:pt x="1862" y="126"/>
                    <a:pt x="1858" y="119"/>
                  </a:cubicBezTo>
                  <a:cubicBezTo>
                    <a:pt x="1856" y="114"/>
                    <a:pt x="1852" y="109"/>
                    <a:pt x="1846" y="107"/>
                  </a:cubicBezTo>
                  <a:cubicBezTo>
                    <a:pt x="1848" y="106"/>
                    <a:pt x="1849" y="106"/>
                    <a:pt x="1849" y="106"/>
                  </a:cubicBezTo>
                  <a:close/>
                  <a:moveTo>
                    <a:pt x="1816" y="53"/>
                  </a:moveTo>
                  <a:cubicBezTo>
                    <a:pt x="1823" y="53"/>
                    <a:pt x="1831" y="53"/>
                    <a:pt x="1838" y="53"/>
                  </a:cubicBezTo>
                  <a:cubicBezTo>
                    <a:pt x="1841" y="54"/>
                    <a:pt x="1843" y="54"/>
                    <a:pt x="1846" y="55"/>
                  </a:cubicBezTo>
                  <a:cubicBezTo>
                    <a:pt x="1853" y="57"/>
                    <a:pt x="1857" y="62"/>
                    <a:pt x="1858" y="70"/>
                  </a:cubicBezTo>
                  <a:cubicBezTo>
                    <a:pt x="1860" y="81"/>
                    <a:pt x="1856" y="89"/>
                    <a:pt x="1847" y="94"/>
                  </a:cubicBezTo>
                  <a:cubicBezTo>
                    <a:pt x="1844" y="96"/>
                    <a:pt x="1840" y="97"/>
                    <a:pt x="1837" y="97"/>
                  </a:cubicBezTo>
                  <a:cubicBezTo>
                    <a:pt x="1830" y="97"/>
                    <a:pt x="1823" y="97"/>
                    <a:pt x="1816" y="97"/>
                  </a:cubicBezTo>
                  <a:cubicBezTo>
                    <a:pt x="1815" y="97"/>
                    <a:pt x="1815" y="97"/>
                    <a:pt x="1815" y="97"/>
                  </a:cubicBezTo>
                  <a:cubicBezTo>
                    <a:pt x="1815" y="83"/>
                    <a:pt x="1815" y="68"/>
                    <a:pt x="1815" y="53"/>
                  </a:cubicBezTo>
                  <a:cubicBezTo>
                    <a:pt x="1815" y="53"/>
                    <a:pt x="1815" y="53"/>
                    <a:pt x="1816" y="53"/>
                  </a:cubicBezTo>
                  <a:close/>
                  <a:moveTo>
                    <a:pt x="804" y="95"/>
                  </a:moveTo>
                  <a:cubicBezTo>
                    <a:pt x="804" y="95"/>
                    <a:pt x="805" y="95"/>
                    <a:pt x="805" y="95"/>
                  </a:cubicBezTo>
                  <a:cubicBezTo>
                    <a:pt x="811" y="117"/>
                    <a:pt x="818" y="140"/>
                    <a:pt x="824" y="162"/>
                  </a:cubicBezTo>
                  <a:cubicBezTo>
                    <a:pt x="829" y="162"/>
                    <a:pt x="834" y="162"/>
                    <a:pt x="839" y="162"/>
                  </a:cubicBezTo>
                  <a:cubicBezTo>
                    <a:pt x="847" y="133"/>
                    <a:pt x="856" y="104"/>
                    <a:pt x="865" y="75"/>
                  </a:cubicBezTo>
                  <a:cubicBezTo>
                    <a:pt x="860" y="75"/>
                    <a:pt x="855" y="75"/>
                    <a:pt x="851" y="75"/>
                  </a:cubicBezTo>
                  <a:cubicBezTo>
                    <a:pt x="849" y="81"/>
                    <a:pt x="848" y="87"/>
                    <a:pt x="846" y="93"/>
                  </a:cubicBezTo>
                  <a:cubicBezTo>
                    <a:pt x="844" y="99"/>
                    <a:pt x="843" y="104"/>
                    <a:pt x="841" y="110"/>
                  </a:cubicBezTo>
                  <a:cubicBezTo>
                    <a:pt x="840" y="116"/>
                    <a:pt x="838" y="122"/>
                    <a:pt x="837" y="128"/>
                  </a:cubicBezTo>
                  <a:cubicBezTo>
                    <a:pt x="835" y="133"/>
                    <a:pt x="834" y="139"/>
                    <a:pt x="832" y="145"/>
                  </a:cubicBezTo>
                  <a:cubicBezTo>
                    <a:pt x="832" y="145"/>
                    <a:pt x="831" y="145"/>
                    <a:pt x="831" y="145"/>
                  </a:cubicBezTo>
                  <a:cubicBezTo>
                    <a:pt x="825" y="122"/>
                    <a:pt x="818" y="98"/>
                    <a:pt x="812" y="75"/>
                  </a:cubicBezTo>
                  <a:cubicBezTo>
                    <a:pt x="807" y="75"/>
                    <a:pt x="803" y="75"/>
                    <a:pt x="799" y="75"/>
                  </a:cubicBezTo>
                  <a:cubicBezTo>
                    <a:pt x="799" y="75"/>
                    <a:pt x="799" y="75"/>
                    <a:pt x="799" y="76"/>
                  </a:cubicBezTo>
                  <a:cubicBezTo>
                    <a:pt x="792" y="98"/>
                    <a:pt x="785" y="121"/>
                    <a:pt x="778" y="144"/>
                  </a:cubicBezTo>
                  <a:cubicBezTo>
                    <a:pt x="778" y="144"/>
                    <a:pt x="778" y="144"/>
                    <a:pt x="778" y="144"/>
                  </a:cubicBezTo>
                  <a:cubicBezTo>
                    <a:pt x="778" y="145"/>
                    <a:pt x="778" y="145"/>
                    <a:pt x="778" y="145"/>
                  </a:cubicBezTo>
                  <a:cubicBezTo>
                    <a:pt x="778" y="145"/>
                    <a:pt x="777" y="145"/>
                    <a:pt x="777" y="145"/>
                  </a:cubicBezTo>
                  <a:cubicBezTo>
                    <a:pt x="777" y="145"/>
                    <a:pt x="777" y="145"/>
                    <a:pt x="777" y="145"/>
                  </a:cubicBezTo>
                  <a:cubicBezTo>
                    <a:pt x="771" y="122"/>
                    <a:pt x="764" y="98"/>
                    <a:pt x="758" y="75"/>
                  </a:cubicBezTo>
                  <a:cubicBezTo>
                    <a:pt x="753" y="75"/>
                    <a:pt x="748" y="75"/>
                    <a:pt x="743" y="75"/>
                  </a:cubicBezTo>
                  <a:cubicBezTo>
                    <a:pt x="752" y="104"/>
                    <a:pt x="761" y="133"/>
                    <a:pt x="769" y="162"/>
                  </a:cubicBezTo>
                  <a:cubicBezTo>
                    <a:pt x="774" y="162"/>
                    <a:pt x="779" y="162"/>
                    <a:pt x="783" y="162"/>
                  </a:cubicBezTo>
                  <a:cubicBezTo>
                    <a:pt x="790" y="140"/>
                    <a:pt x="797" y="117"/>
                    <a:pt x="804" y="95"/>
                  </a:cubicBezTo>
                  <a:close/>
                  <a:moveTo>
                    <a:pt x="635" y="34"/>
                  </a:moveTo>
                  <a:cubicBezTo>
                    <a:pt x="632" y="33"/>
                    <a:pt x="623" y="33"/>
                    <a:pt x="621" y="34"/>
                  </a:cubicBezTo>
                  <a:cubicBezTo>
                    <a:pt x="621" y="34"/>
                    <a:pt x="621" y="34"/>
                    <a:pt x="621" y="34"/>
                  </a:cubicBezTo>
                  <a:cubicBezTo>
                    <a:pt x="621" y="34"/>
                    <a:pt x="621" y="34"/>
                    <a:pt x="621" y="34"/>
                  </a:cubicBezTo>
                  <a:cubicBezTo>
                    <a:pt x="621" y="51"/>
                    <a:pt x="621" y="68"/>
                    <a:pt x="621" y="85"/>
                  </a:cubicBezTo>
                  <a:cubicBezTo>
                    <a:pt x="621" y="85"/>
                    <a:pt x="621" y="86"/>
                    <a:pt x="621" y="86"/>
                  </a:cubicBezTo>
                  <a:cubicBezTo>
                    <a:pt x="621" y="86"/>
                    <a:pt x="621" y="86"/>
                    <a:pt x="621" y="86"/>
                  </a:cubicBezTo>
                  <a:cubicBezTo>
                    <a:pt x="621" y="86"/>
                    <a:pt x="621" y="86"/>
                    <a:pt x="621" y="86"/>
                  </a:cubicBezTo>
                  <a:cubicBezTo>
                    <a:pt x="621" y="86"/>
                    <a:pt x="621" y="86"/>
                    <a:pt x="621" y="86"/>
                  </a:cubicBezTo>
                  <a:cubicBezTo>
                    <a:pt x="620" y="86"/>
                    <a:pt x="620" y="86"/>
                    <a:pt x="620" y="86"/>
                  </a:cubicBezTo>
                  <a:cubicBezTo>
                    <a:pt x="620" y="85"/>
                    <a:pt x="619" y="85"/>
                    <a:pt x="619" y="84"/>
                  </a:cubicBezTo>
                  <a:cubicBezTo>
                    <a:pt x="615" y="79"/>
                    <a:pt x="609" y="75"/>
                    <a:pt x="602" y="74"/>
                  </a:cubicBezTo>
                  <a:cubicBezTo>
                    <a:pt x="598" y="73"/>
                    <a:pt x="594" y="73"/>
                    <a:pt x="590" y="73"/>
                  </a:cubicBezTo>
                  <a:cubicBezTo>
                    <a:pt x="582" y="74"/>
                    <a:pt x="575" y="77"/>
                    <a:pt x="570" y="82"/>
                  </a:cubicBezTo>
                  <a:cubicBezTo>
                    <a:pt x="564" y="87"/>
                    <a:pt x="560" y="94"/>
                    <a:pt x="557" y="102"/>
                  </a:cubicBezTo>
                  <a:cubicBezTo>
                    <a:pt x="555" y="111"/>
                    <a:pt x="554" y="120"/>
                    <a:pt x="555" y="129"/>
                  </a:cubicBezTo>
                  <a:cubicBezTo>
                    <a:pt x="556" y="134"/>
                    <a:pt x="557" y="140"/>
                    <a:pt x="560" y="145"/>
                  </a:cubicBezTo>
                  <a:cubicBezTo>
                    <a:pt x="564" y="153"/>
                    <a:pt x="571" y="160"/>
                    <a:pt x="580" y="163"/>
                  </a:cubicBezTo>
                  <a:cubicBezTo>
                    <a:pt x="586" y="164"/>
                    <a:pt x="592" y="165"/>
                    <a:pt x="598" y="164"/>
                  </a:cubicBezTo>
                  <a:cubicBezTo>
                    <a:pt x="607" y="162"/>
                    <a:pt x="614" y="157"/>
                    <a:pt x="619" y="149"/>
                  </a:cubicBezTo>
                  <a:cubicBezTo>
                    <a:pt x="620" y="149"/>
                    <a:pt x="620" y="148"/>
                    <a:pt x="621" y="148"/>
                  </a:cubicBezTo>
                  <a:cubicBezTo>
                    <a:pt x="621" y="148"/>
                    <a:pt x="621" y="148"/>
                    <a:pt x="621" y="148"/>
                  </a:cubicBezTo>
                  <a:cubicBezTo>
                    <a:pt x="621" y="153"/>
                    <a:pt x="621" y="157"/>
                    <a:pt x="621" y="162"/>
                  </a:cubicBezTo>
                  <a:cubicBezTo>
                    <a:pt x="626" y="162"/>
                    <a:pt x="630" y="162"/>
                    <a:pt x="635" y="162"/>
                  </a:cubicBezTo>
                  <a:cubicBezTo>
                    <a:pt x="635" y="119"/>
                    <a:pt x="635" y="76"/>
                    <a:pt x="635" y="34"/>
                  </a:cubicBezTo>
                  <a:close/>
                  <a:moveTo>
                    <a:pt x="620" y="130"/>
                  </a:moveTo>
                  <a:cubicBezTo>
                    <a:pt x="619" y="137"/>
                    <a:pt x="616" y="143"/>
                    <a:pt x="610" y="147"/>
                  </a:cubicBezTo>
                  <a:cubicBezTo>
                    <a:pt x="601" y="154"/>
                    <a:pt x="582" y="155"/>
                    <a:pt x="574" y="140"/>
                  </a:cubicBezTo>
                  <a:cubicBezTo>
                    <a:pt x="571" y="135"/>
                    <a:pt x="570" y="130"/>
                    <a:pt x="569" y="124"/>
                  </a:cubicBezTo>
                  <a:cubicBezTo>
                    <a:pt x="569" y="117"/>
                    <a:pt x="569" y="111"/>
                    <a:pt x="571" y="104"/>
                  </a:cubicBezTo>
                  <a:cubicBezTo>
                    <a:pt x="572" y="103"/>
                    <a:pt x="572" y="101"/>
                    <a:pt x="573" y="100"/>
                  </a:cubicBezTo>
                  <a:cubicBezTo>
                    <a:pt x="578" y="90"/>
                    <a:pt x="586" y="85"/>
                    <a:pt x="597" y="85"/>
                  </a:cubicBezTo>
                  <a:cubicBezTo>
                    <a:pt x="608" y="85"/>
                    <a:pt x="615" y="90"/>
                    <a:pt x="619" y="99"/>
                  </a:cubicBezTo>
                  <a:cubicBezTo>
                    <a:pt x="620" y="102"/>
                    <a:pt x="621" y="106"/>
                    <a:pt x="621" y="109"/>
                  </a:cubicBezTo>
                  <a:cubicBezTo>
                    <a:pt x="621" y="111"/>
                    <a:pt x="621" y="114"/>
                    <a:pt x="621" y="117"/>
                  </a:cubicBezTo>
                  <a:cubicBezTo>
                    <a:pt x="621" y="117"/>
                    <a:pt x="621" y="117"/>
                    <a:pt x="621" y="117"/>
                  </a:cubicBezTo>
                  <a:cubicBezTo>
                    <a:pt x="621" y="121"/>
                    <a:pt x="621" y="125"/>
                    <a:pt x="620" y="130"/>
                  </a:cubicBezTo>
                  <a:close/>
                  <a:moveTo>
                    <a:pt x="1608" y="73"/>
                  </a:moveTo>
                  <a:cubicBezTo>
                    <a:pt x="1607" y="66"/>
                    <a:pt x="1605" y="59"/>
                    <a:pt x="1601" y="53"/>
                  </a:cubicBezTo>
                  <a:cubicBezTo>
                    <a:pt x="1597" y="47"/>
                    <a:pt x="1591" y="42"/>
                    <a:pt x="1585" y="40"/>
                  </a:cubicBezTo>
                  <a:cubicBezTo>
                    <a:pt x="1582" y="39"/>
                    <a:pt x="1578" y="39"/>
                    <a:pt x="1575" y="38"/>
                  </a:cubicBezTo>
                  <a:cubicBezTo>
                    <a:pt x="1568" y="38"/>
                    <a:pt x="1562" y="39"/>
                    <a:pt x="1555" y="42"/>
                  </a:cubicBezTo>
                  <a:cubicBezTo>
                    <a:pt x="1549" y="46"/>
                    <a:pt x="1544" y="51"/>
                    <a:pt x="1540" y="58"/>
                  </a:cubicBezTo>
                  <a:cubicBezTo>
                    <a:pt x="1536" y="66"/>
                    <a:pt x="1534" y="75"/>
                    <a:pt x="1533" y="84"/>
                  </a:cubicBezTo>
                  <a:cubicBezTo>
                    <a:pt x="1531" y="96"/>
                    <a:pt x="1531" y="109"/>
                    <a:pt x="1533" y="122"/>
                  </a:cubicBezTo>
                  <a:cubicBezTo>
                    <a:pt x="1534" y="130"/>
                    <a:pt x="1535" y="137"/>
                    <a:pt x="1539" y="144"/>
                  </a:cubicBezTo>
                  <a:cubicBezTo>
                    <a:pt x="1545" y="155"/>
                    <a:pt x="1553" y="163"/>
                    <a:pt x="1566" y="164"/>
                  </a:cubicBezTo>
                  <a:cubicBezTo>
                    <a:pt x="1579" y="165"/>
                    <a:pt x="1590" y="161"/>
                    <a:pt x="1598" y="151"/>
                  </a:cubicBezTo>
                  <a:cubicBezTo>
                    <a:pt x="1602" y="145"/>
                    <a:pt x="1605" y="138"/>
                    <a:pt x="1607" y="131"/>
                  </a:cubicBezTo>
                  <a:cubicBezTo>
                    <a:pt x="1610" y="121"/>
                    <a:pt x="1611" y="111"/>
                    <a:pt x="1611" y="100"/>
                  </a:cubicBezTo>
                  <a:cubicBezTo>
                    <a:pt x="1611" y="91"/>
                    <a:pt x="1610" y="82"/>
                    <a:pt x="1608" y="73"/>
                  </a:cubicBezTo>
                  <a:close/>
                  <a:moveTo>
                    <a:pt x="1594" y="129"/>
                  </a:moveTo>
                  <a:cubicBezTo>
                    <a:pt x="1593" y="134"/>
                    <a:pt x="1591" y="138"/>
                    <a:pt x="1589" y="142"/>
                  </a:cubicBezTo>
                  <a:cubicBezTo>
                    <a:pt x="1585" y="147"/>
                    <a:pt x="1581" y="151"/>
                    <a:pt x="1575" y="152"/>
                  </a:cubicBezTo>
                  <a:cubicBezTo>
                    <a:pt x="1567" y="153"/>
                    <a:pt x="1560" y="151"/>
                    <a:pt x="1555" y="144"/>
                  </a:cubicBezTo>
                  <a:cubicBezTo>
                    <a:pt x="1551" y="140"/>
                    <a:pt x="1550" y="135"/>
                    <a:pt x="1548" y="129"/>
                  </a:cubicBezTo>
                  <a:cubicBezTo>
                    <a:pt x="1547" y="122"/>
                    <a:pt x="1546" y="115"/>
                    <a:pt x="1546" y="107"/>
                  </a:cubicBezTo>
                  <a:cubicBezTo>
                    <a:pt x="1546" y="97"/>
                    <a:pt x="1546" y="87"/>
                    <a:pt x="1548" y="77"/>
                  </a:cubicBezTo>
                  <a:cubicBezTo>
                    <a:pt x="1549" y="72"/>
                    <a:pt x="1550" y="67"/>
                    <a:pt x="1552" y="63"/>
                  </a:cubicBezTo>
                  <a:cubicBezTo>
                    <a:pt x="1554" y="61"/>
                    <a:pt x="1555" y="59"/>
                    <a:pt x="1556" y="57"/>
                  </a:cubicBezTo>
                  <a:cubicBezTo>
                    <a:pt x="1563" y="48"/>
                    <a:pt x="1580" y="47"/>
                    <a:pt x="1588" y="59"/>
                  </a:cubicBezTo>
                  <a:cubicBezTo>
                    <a:pt x="1591" y="64"/>
                    <a:pt x="1593" y="70"/>
                    <a:pt x="1594" y="76"/>
                  </a:cubicBezTo>
                  <a:cubicBezTo>
                    <a:pt x="1596" y="84"/>
                    <a:pt x="1596" y="92"/>
                    <a:pt x="1596" y="104"/>
                  </a:cubicBezTo>
                  <a:cubicBezTo>
                    <a:pt x="1596" y="111"/>
                    <a:pt x="1596" y="120"/>
                    <a:pt x="1594" y="129"/>
                  </a:cubicBezTo>
                  <a:close/>
                  <a:moveTo>
                    <a:pt x="1125" y="114"/>
                  </a:moveTo>
                  <a:cubicBezTo>
                    <a:pt x="1125" y="107"/>
                    <a:pt x="1124" y="100"/>
                    <a:pt x="1121" y="93"/>
                  </a:cubicBezTo>
                  <a:cubicBezTo>
                    <a:pt x="1117" y="85"/>
                    <a:pt x="1112" y="78"/>
                    <a:pt x="1103" y="75"/>
                  </a:cubicBezTo>
                  <a:cubicBezTo>
                    <a:pt x="1096" y="73"/>
                    <a:pt x="1090" y="72"/>
                    <a:pt x="1083" y="73"/>
                  </a:cubicBezTo>
                  <a:cubicBezTo>
                    <a:pt x="1070" y="76"/>
                    <a:pt x="1061" y="83"/>
                    <a:pt x="1055" y="94"/>
                  </a:cubicBezTo>
                  <a:cubicBezTo>
                    <a:pt x="1050" y="103"/>
                    <a:pt x="1049" y="114"/>
                    <a:pt x="1049" y="124"/>
                  </a:cubicBezTo>
                  <a:cubicBezTo>
                    <a:pt x="1050" y="131"/>
                    <a:pt x="1051" y="137"/>
                    <a:pt x="1054" y="143"/>
                  </a:cubicBezTo>
                  <a:cubicBezTo>
                    <a:pt x="1059" y="154"/>
                    <a:pt x="1068" y="161"/>
                    <a:pt x="1080" y="163"/>
                  </a:cubicBezTo>
                  <a:cubicBezTo>
                    <a:pt x="1088" y="165"/>
                    <a:pt x="1096" y="164"/>
                    <a:pt x="1103" y="163"/>
                  </a:cubicBezTo>
                  <a:cubicBezTo>
                    <a:pt x="1109" y="161"/>
                    <a:pt x="1113" y="160"/>
                    <a:pt x="1118" y="157"/>
                  </a:cubicBezTo>
                  <a:cubicBezTo>
                    <a:pt x="1119" y="156"/>
                    <a:pt x="1119" y="155"/>
                    <a:pt x="1119" y="154"/>
                  </a:cubicBezTo>
                  <a:cubicBezTo>
                    <a:pt x="1119" y="151"/>
                    <a:pt x="1119" y="148"/>
                    <a:pt x="1119" y="144"/>
                  </a:cubicBezTo>
                  <a:cubicBezTo>
                    <a:pt x="1119" y="144"/>
                    <a:pt x="1119" y="144"/>
                    <a:pt x="1119" y="143"/>
                  </a:cubicBezTo>
                  <a:cubicBezTo>
                    <a:pt x="1119" y="143"/>
                    <a:pt x="1118" y="143"/>
                    <a:pt x="1118" y="143"/>
                  </a:cubicBezTo>
                  <a:cubicBezTo>
                    <a:pt x="1118" y="144"/>
                    <a:pt x="1117" y="144"/>
                    <a:pt x="1116" y="145"/>
                  </a:cubicBezTo>
                  <a:cubicBezTo>
                    <a:pt x="1107" y="151"/>
                    <a:pt x="1096" y="153"/>
                    <a:pt x="1085" y="152"/>
                  </a:cubicBezTo>
                  <a:cubicBezTo>
                    <a:pt x="1076" y="150"/>
                    <a:pt x="1070" y="145"/>
                    <a:pt x="1066" y="137"/>
                  </a:cubicBezTo>
                  <a:cubicBezTo>
                    <a:pt x="1065" y="134"/>
                    <a:pt x="1065" y="130"/>
                    <a:pt x="1064" y="127"/>
                  </a:cubicBezTo>
                  <a:cubicBezTo>
                    <a:pt x="1064" y="126"/>
                    <a:pt x="1064" y="124"/>
                    <a:pt x="1064" y="122"/>
                  </a:cubicBezTo>
                  <a:cubicBezTo>
                    <a:pt x="1084" y="122"/>
                    <a:pt x="1104" y="122"/>
                    <a:pt x="1125" y="122"/>
                  </a:cubicBezTo>
                  <a:cubicBezTo>
                    <a:pt x="1125" y="119"/>
                    <a:pt x="1125" y="117"/>
                    <a:pt x="1125" y="114"/>
                  </a:cubicBezTo>
                  <a:close/>
                  <a:moveTo>
                    <a:pt x="1064" y="110"/>
                  </a:moveTo>
                  <a:cubicBezTo>
                    <a:pt x="1064" y="108"/>
                    <a:pt x="1064" y="107"/>
                    <a:pt x="1065" y="105"/>
                  </a:cubicBezTo>
                  <a:cubicBezTo>
                    <a:pt x="1066" y="100"/>
                    <a:pt x="1069" y="94"/>
                    <a:pt x="1074" y="90"/>
                  </a:cubicBezTo>
                  <a:cubicBezTo>
                    <a:pt x="1081" y="84"/>
                    <a:pt x="1089" y="84"/>
                    <a:pt x="1098" y="86"/>
                  </a:cubicBezTo>
                  <a:cubicBezTo>
                    <a:pt x="1101" y="88"/>
                    <a:pt x="1103" y="90"/>
                    <a:pt x="1105" y="92"/>
                  </a:cubicBezTo>
                  <a:cubicBezTo>
                    <a:pt x="1109" y="98"/>
                    <a:pt x="1110" y="104"/>
                    <a:pt x="1111" y="110"/>
                  </a:cubicBezTo>
                  <a:cubicBezTo>
                    <a:pt x="1095" y="110"/>
                    <a:pt x="1080" y="110"/>
                    <a:pt x="1064" y="110"/>
                  </a:cubicBezTo>
                  <a:close/>
                  <a:moveTo>
                    <a:pt x="1351" y="109"/>
                  </a:moveTo>
                  <a:cubicBezTo>
                    <a:pt x="1351" y="103"/>
                    <a:pt x="1349" y="97"/>
                    <a:pt x="1347" y="92"/>
                  </a:cubicBezTo>
                  <a:cubicBezTo>
                    <a:pt x="1343" y="84"/>
                    <a:pt x="1337" y="78"/>
                    <a:pt x="1329" y="75"/>
                  </a:cubicBezTo>
                  <a:cubicBezTo>
                    <a:pt x="1323" y="73"/>
                    <a:pt x="1316" y="72"/>
                    <a:pt x="1309" y="74"/>
                  </a:cubicBezTo>
                  <a:cubicBezTo>
                    <a:pt x="1297" y="76"/>
                    <a:pt x="1288" y="82"/>
                    <a:pt x="1282" y="93"/>
                  </a:cubicBezTo>
                  <a:cubicBezTo>
                    <a:pt x="1273" y="108"/>
                    <a:pt x="1274" y="130"/>
                    <a:pt x="1280" y="143"/>
                  </a:cubicBezTo>
                  <a:cubicBezTo>
                    <a:pt x="1285" y="154"/>
                    <a:pt x="1294" y="161"/>
                    <a:pt x="1306" y="163"/>
                  </a:cubicBezTo>
                  <a:cubicBezTo>
                    <a:pt x="1314" y="165"/>
                    <a:pt x="1322" y="164"/>
                    <a:pt x="1330" y="163"/>
                  </a:cubicBezTo>
                  <a:cubicBezTo>
                    <a:pt x="1334" y="162"/>
                    <a:pt x="1339" y="160"/>
                    <a:pt x="1343" y="157"/>
                  </a:cubicBezTo>
                  <a:cubicBezTo>
                    <a:pt x="1345" y="156"/>
                    <a:pt x="1345" y="155"/>
                    <a:pt x="1345" y="153"/>
                  </a:cubicBezTo>
                  <a:cubicBezTo>
                    <a:pt x="1345" y="151"/>
                    <a:pt x="1345" y="148"/>
                    <a:pt x="1345" y="145"/>
                  </a:cubicBezTo>
                  <a:cubicBezTo>
                    <a:pt x="1345" y="144"/>
                    <a:pt x="1345" y="144"/>
                    <a:pt x="1345" y="143"/>
                  </a:cubicBezTo>
                  <a:cubicBezTo>
                    <a:pt x="1344" y="143"/>
                    <a:pt x="1343" y="144"/>
                    <a:pt x="1343" y="144"/>
                  </a:cubicBezTo>
                  <a:cubicBezTo>
                    <a:pt x="1333" y="151"/>
                    <a:pt x="1323" y="154"/>
                    <a:pt x="1311" y="152"/>
                  </a:cubicBezTo>
                  <a:cubicBezTo>
                    <a:pt x="1303" y="150"/>
                    <a:pt x="1296" y="145"/>
                    <a:pt x="1293" y="137"/>
                  </a:cubicBezTo>
                  <a:cubicBezTo>
                    <a:pt x="1292" y="134"/>
                    <a:pt x="1291" y="131"/>
                    <a:pt x="1290" y="128"/>
                  </a:cubicBezTo>
                  <a:cubicBezTo>
                    <a:pt x="1290" y="126"/>
                    <a:pt x="1290" y="124"/>
                    <a:pt x="1290" y="122"/>
                  </a:cubicBezTo>
                  <a:cubicBezTo>
                    <a:pt x="1310" y="122"/>
                    <a:pt x="1331" y="122"/>
                    <a:pt x="1351" y="122"/>
                  </a:cubicBezTo>
                  <a:cubicBezTo>
                    <a:pt x="1351" y="118"/>
                    <a:pt x="1351" y="113"/>
                    <a:pt x="1351" y="109"/>
                  </a:cubicBezTo>
                  <a:close/>
                  <a:moveTo>
                    <a:pt x="1290" y="110"/>
                  </a:moveTo>
                  <a:cubicBezTo>
                    <a:pt x="1291" y="108"/>
                    <a:pt x="1291" y="106"/>
                    <a:pt x="1291" y="105"/>
                  </a:cubicBezTo>
                  <a:cubicBezTo>
                    <a:pt x="1293" y="99"/>
                    <a:pt x="1296" y="94"/>
                    <a:pt x="1301" y="90"/>
                  </a:cubicBezTo>
                  <a:cubicBezTo>
                    <a:pt x="1308" y="84"/>
                    <a:pt x="1316" y="84"/>
                    <a:pt x="1324" y="86"/>
                  </a:cubicBezTo>
                  <a:cubicBezTo>
                    <a:pt x="1328" y="88"/>
                    <a:pt x="1331" y="91"/>
                    <a:pt x="1333" y="94"/>
                  </a:cubicBezTo>
                  <a:cubicBezTo>
                    <a:pt x="1336" y="98"/>
                    <a:pt x="1337" y="105"/>
                    <a:pt x="1337" y="110"/>
                  </a:cubicBezTo>
                  <a:cubicBezTo>
                    <a:pt x="1321" y="110"/>
                    <a:pt x="1306" y="110"/>
                    <a:pt x="1290" y="110"/>
                  </a:cubicBezTo>
                  <a:close/>
                  <a:moveTo>
                    <a:pt x="1033" y="56"/>
                  </a:moveTo>
                  <a:cubicBezTo>
                    <a:pt x="1033" y="53"/>
                    <a:pt x="1033" y="51"/>
                    <a:pt x="1033" y="48"/>
                  </a:cubicBezTo>
                  <a:cubicBezTo>
                    <a:pt x="1033" y="42"/>
                    <a:pt x="1033" y="42"/>
                    <a:pt x="1027" y="40"/>
                  </a:cubicBezTo>
                  <a:cubicBezTo>
                    <a:pt x="1022" y="39"/>
                    <a:pt x="1017" y="38"/>
                    <a:pt x="1012" y="38"/>
                  </a:cubicBezTo>
                  <a:cubicBezTo>
                    <a:pt x="1005" y="38"/>
                    <a:pt x="999" y="38"/>
                    <a:pt x="992" y="41"/>
                  </a:cubicBezTo>
                  <a:cubicBezTo>
                    <a:pt x="980" y="45"/>
                    <a:pt x="972" y="53"/>
                    <a:pt x="971" y="66"/>
                  </a:cubicBezTo>
                  <a:cubicBezTo>
                    <a:pt x="969" y="76"/>
                    <a:pt x="972" y="85"/>
                    <a:pt x="979" y="93"/>
                  </a:cubicBezTo>
                  <a:cubicBezTo>
                    <a:pt x="984" y="97"/>
                    <a:pt x="989" y="101"/>
                    <a:pt x="995" y="104"/>
                  </a:cubicBezTo>
                  <a:cubicBezTo>
                    <a:pt x="999" y="107"/>
                    <a:pt x="1003" y="109"/>
                    <a:pt x="1007" y="112"/>
                  </a:cubicBezTo>
                  <a:cubicBezTo>
                    <a:pt x="1010" y="114"/>
                    <a:pt x="1013" y="116"/>
                    <a:pt x="1016" y="118"/>
                  </a:cubicBezTo>
                  <a:cubicBezTo>
                    <a:pt x="1020" y="122"/>
                    <a:pt x="1022" y="126"/>
                    <a:pt x="1023" y="131"/>
                  </a:cubicBezTo>
                  <a:cubicBezTo>
                    <a:pt x="1023" y="141"/>
                    <a:pt x="1019" y="147"/>
                    <a:pt x="1010" y="150"/>
                  </a:cubicBezTo>
                  <a:cubicBezTo>
                    <a:pt x="1008" y="150"/>
                    <a:pt x="1005" y="151"/>
                    <a:pt x="1002" y="151"/>
                  </a:cubicBezTo>
                  <a:cubicBezTo>
                    <a:pt x="991" y="152"/>
                    <a:pt x="981" y="148"/>
                    <a:pt x="972" y="142"/>
                  </a:cubicBezTo>
                  <a:cubicBezTo>
                    <a:pt x="971" y="141"/>
                    <a:pt x="971" y="141"/>
                    <a:pt x="970" y="141"/>
                  </a:cubicBezTo>
                  <a:cubicBezTo>
                    <a:pt x="970" y="142"/>
                    <a:pt x="970" y="142"/>
                    <a:pt x="970" y="143"/>
                  </a:cubicBezTo>
                  <a:cubicBezTo>
                    <a:pt x="970" y="146"/>
                    <a:pt x="970" y="150"/>
                    <a:pt x="970" y="153"/>
                  </a:cubicBezTo>
                  <a:cubicBezTo>
                    <a:pt x="970" y="158"/>
                    <a:pt x="970" y="158"/>
                    <a:pt x="974" y="159"/>
                  </a:cubicBezTo>
                  <a:cubicBezTo>
                    <a:pt x="981" y="162"/>
                    <a:pt x="988" y="164"/>
                    <a:pt x="995" y="164"/>
                  </a:cubicBezTo>
                  <a:cubicBezTo>
                    <a:pt x="1003" y="164"/>
                    <a:pt x="1011" y="164"/>
                    <a:pt x="1018" y="161"/>
                  </a:cubicBezTo>
                  <a:cubicBezTo>
                    <a:pt x="1035" y="154"/>
                    <a:pt x="1040" y="140"/>
                    <a:pt x="1037" y="125"/>
                  </a:cubicBezTo>
                  <a:cubicBezTo>
                    <a:pt x="1036" y="118"/>
                    <a:pt x="1032" y="113"/>
                    <a:pt x="1027" y="108"/>
                  </a:cubicBezTo>
                  <a:cubicBezTo>
                    <a:pt x="1022" y="104"/>
                    <a:pt x="1017" y="100"/>
                    <a:pt x="1011" y="97"/>
                  </a:cubicBezTo>
                  <a:cubicBezTo>
                    <a:pt x="1007" y="95"/>
                    <a:pt x="1003" y="92"/>
                    <a:pt x="999" y="90"/>
                  </a:cubicBezTo>
                  <a:cubicBezTo>
                    <a:pt x="996" y="88"/>
                    <a:pt x="994" y="87"/>
                    <a:pt x="992" y="85"/>
                  </a:cubicBezTo>
                  <a:cubicBezTo>
                    <a:pt x="988" y="82"/>
                    <a:pt x="986" y="78"/>
                    <a:pt x="985" y="73"/>
                  </a:cubicBezTo>
                  <a:cubicBezTo>
                    <a:pt x="984" y="64"/>
                    <a:pt x="988" y="57"/>
                    <a:pt x="996" y="53"/>
                  </a:cubicBezTo>
                  <a:cubicBezTo>
                    <a:pt x="999" y="52"/>
                    <a:pt x="1002" y="51"/>
                    <a:pt x="1005" y="51"/>
                  </a:cubicBezTo>
                  <a:cubicBezTo>
                    <a:pt x="1015" y="51"/>
                    <a:pt x="1024" y="52"/>
                    <a:pt x="1032" y="58"/>
                  </a:cubicBezTo>
                  <a:cubicBezTo>
                    <a:pt x="1032" y="58"/>
                    <a:pt x="1032" y="58"/>
                    <a:pt x="1033" y="58"/>
                  </a:cubicBezTo>
                  <a:cubicBezTo>
                    <a:pt x="1033" y="58"/>
                    <a:pt x="1033" y="57"/>
                    <a:pt x="1033" y="56"/>
                  </a:cubicBezTo>
                  <a:close/>
                  <a:moveTo>
                    <a:pt x="736" y="100"/>
                  </a:moveTo>
                  <a:cubicBezTo>
                    <a:pt x="731" y="87"/>
                    <a:pt x="723" y="78"/>
                    <a:pt x="709" y="74"/>
                  </a:cubicBezTo>
                  <a:cubicBezTo>
                    <a:pt x="702" y="72"/>
                    <a:pt x="694" y="72"/>
                    <a:pt x="687" y="74"/>
                  </a:cubicBezTo>
                  <a:cubicBezTo>
                    <a:pt x="673" y="76"/>
                    <a:pt x="662" y="84"/>
                    <a:pt x="657" y="98"/>
                  </a:cubicBezTo>
                  <a:cubicBezTo>
                    <a:pt x="651" y="111"/>
                    <a:pt x="651" y="124"/>
                    <a:pt x="656" y="138"/>
                  </a:cubicBezTo>
                  <a:cubicBezTo>
                    <a:pt x="660" y="149"/>
                    <a:pt x="668" y="158"/>
                    <a:pt x="680" y="162"/>
                  </a:cubicBezTo>
                  <a:cubicBezTo>
                    <a:pt x="687" y="164"/>
                    <a:pt x="694" y="165"/>
                    <a:pt x="701" y="164"/>
                  </a:cubicBezTo>
                  <a:cubicBezTo>
                    <a:pt x="717" y="162"/>
                    <a:pt x="728" y="154"/>
                    <a:pt x="734" y="139"/>
                  </a:cubicBezTo>
                  <a:cubicBezTo>
                    <a:pt x="737" y="133"/>
                    <a:pt x="738" y="125"/>
                    <a:pt x="738" y="118"/>
                  </a:cubicBezTo>
                  <a:cubicBezTo>
                    <a:pt x="738" y="112"/>
                    <a:pt x="737" y="105"/>
                    <a:pt x="736" y="100"/>
                  </a:cubicBezTo>
                  <a:close/>
                  <a:moveTo>
                    <a:pt x="670" y="103"/>
                  </a:moveTo>
                  <a:cubicBezTo>
                    <a:pt x="674" y="92"/>
                    <a:pt x="683" y="85"/>
                    <a:pt x="694" y="85"/>
                  </a:cubicBezTo>
                  <a:cubicBezTo>
                    <a:pt x="698" y="85"/>
                    <a:pt x="701" y="85"/>
                    <a:pt x="704" y="86"/>
                  </a:cubicBezTo>
                  <a:cubicBezTo>
                    <a:pt x="711" y="88"/>
                    <a:pt x="717" y="92"/>
                    <a:pt x="720" y="99"/>
                  </a:cubicBezTo>
                  <a:cubicBezTo>
                    <a:pt x="723" y="104"/>
                    <a:pt x="723" y="109"/>
                    <a:pt x="724" y="114"/>
                  </a:cubicBezTo>
                  <a:cubicBezTo>
                    <a:pt x="724" y="120"/>
                    <a:pt x="724" y="127"/>
                    <a:pt x="722" y="133"/>
                  </a:cubicBezTo>
                  <a:cubicBezTo>
                    <a:pt x="722" y="134"/>
                    <a:pt x="721" y="136"/>
                    <a:pt x="721" y="137"/>
                  </a:cubicBezTo>
                  <a:cubicBezTo>
                    <a:pt x="717" y="146"/>
                    <a:pt x="709" y="151"/>
                    <a:pt x="700" y="152"/>
                  </a:cubicBezTo>
                  <a:cubicBezTo>
                    <a:pt x="695" y="152"/>
                    <a:pt x="691" y="152"/>
                    <a:pt x="687" y="151"/>
                  </a:cubicBezTo>
                  <a:cubicBezTo>
                    <a:pt x="677" y="148"/>
                    <a:pt x="672" y="141"/>
                    <a:pt x="669" y="132"/>
                  </a:cubicBezTo>
                  <a:cubicBezTo>
                    <a:pt x="668" y="130"/>
                    <a:pt x="668" y="128"/>
                    <a:pt x="667" y="126"/>
                  </a:cubicBezTo>
                  <a:cubicBezTo>
                    <a:pt x="667" y="124"/>
                    <a:pt x="667" y="121"/>
                    <a:pt x="667" y="120"/>
                  </a:cubicBezTo>
                  <a:cubicBezTo>
                    <a:pt x="667" y="113"/>
                    <a:pt x="668" y="108"/>
                    <a:pt x="670" y="103"/>
                  </a:cubicBezTo>
                  <a:close/>
                  <a:moveTo>
                    <a:pt x="1955" y="149"/>
                  </a:moveTo>
                  <a:cubicBezTo>
                    <a:pt x="1953" y="149"/>
                    <a:pt x="1950" y="149"/>
                    <a:pt x="1948" y="149"/>
                  </a:cubicBezTo>
                  <a:cubicBezTo>
                    <a:pt x="1945" y="149"/>
                    <a:pt x="1943" y="149"/>
                    <a:pt x="1940" y="149"/>
                  </a:cubicBezTo>
                  <a:cubicBezTo>
                    <a:pt x="1938" y="149"/>
                    <a:pt x="1935" y="149"/>
                    <a:pt x="1933" y="149"/>
                  </a:cubicBezTo>
                  <a:cubicBezTo>
                    <a:pt x="1930" y="149"/>
                    <a:pt x="1928" y="149"/>
                    <a:pt x="1925" y="149"/>
                  </a:cubicBezTo>
                  <a:cubicBezTo>
                    <a:pt x="1923" y="149"/>
                    <a:pt x="1920" y="149"/>
                    <a:pt x="1918" y="149"/>
                  </a:cubicBezTo>
                  <a:cubicBezTo>
                    <a:pt x="1915" y="149"/>
                    <a:pt x="1913" y="149"/>
                    <a:pt x="1910" y="149"/>
                  </a:cubicBezTo>
                  <a:cubicBezTo>
                    <a:pt x="1908" y="149"/>
                    <a:pt x="1905" y="150"/>
                    <a:pt x="1903" y="149"/>
                  </a:cubicBezTo>
                  <a:cubicBezTo>
                    <a:pt x="1902" y="144"/>
                    <a:pt x="1904" y="139"/>
                    <a:pt x="1907" y="135"/>
                  </a:cubicBezTo>
                  <a:cubicBezTo>
                    <a:pt x="1909" y="133"/>
                    <a:pt x="1911" y="130"/>
                    <a:pt x="1913" y="128"/>
                  </a:cubicBezTo>
                  <a:cubicBezTo>
                    <a:pt x="1919" y="124"/>
                    <a:pt x="1925" y="119"/>
                    <a:pt x="1931" y="115"/>
                  </a:cubicBezTo>
                  <a:cubicBezTo>
                    <a:pt x="1936" y="111"/>
                    <a:pt x="1941" y="107"/>
                    <a:pt x="1945" y="103"/>
                  </a:cubicBezTo>
                  <a:cubicBezTo>
                    <a:pt x="1955" y="93"/>
                    <a:pt x="1959" y="81"/>
                    <a:pt x="1958" y="67"/>
                  </a:cubicBezTo>
                  <a:cubicBezTo>
                    <a:pt x="1957" y="53"/>
                    <a:pt x="1949" y="44"/>
                    <a:pt x="1936" y="40"/>
                  </a:cubicBezTo>
                  <a:cubicBezTo>
                    <a:pt x="1930" y="38"/>
                    <a:pt x="1924" y="38"/>
                    <a:pt x="1917" y="39"/>
                  </a:cubicBezTo>
                  <a:cubicBezTo>
                    <a:pt x="1908" y="39"/>
                    <a:pt x="1901" y="43"/>
                    <a:pt x="1894" y="49"/>
                  </a:cubicBezTo>
                  <a:cubicBezTo>
                    <a:pt x="1893" y="50"/>
                    <a:pt x="1893" y="50"/>
                    <a:pt x="1893" y="51"/>
                  </a:cubicBezTo>
                  <a:cubicBezTo>
                    <a:pt x="1893" y="55"/>
                    <a:pt x="1893" y="59"/>
                    <a:pt x="1893" y="63"/>
                  </a:cubicBezTo>
                  <a:cubicBezTo>
                    <a:pt x="1893" y="63"/>
                    <a:pt x="1893" y="64"/>
                    <a:pt x="1893" y="65"/>
                  </a:cubicBezTo>
                  <a:cubicBezTo>
                    <a:pt x="1894" y="64"/>
                    <a:pt x="1894" y="63"/>
                    <a:pt x="1895" y="63"/>
                  </a:cubicBezTo>
                  <a:cubicBezTo>
                    <a:pt x="1898" y="59"/>
                    <a:pt x="1902" y="56"/>
                    <a:pt x="1906" y="54"/>
                  </a:cubicBezTo>
                  <a:cubicBezTo>
                    <a:pt x="1912" y="51"/>
                    <a:pt x="1918" y="50"/>
                    <a:pt x="1924" y="50"/>
                  </a:cubicBezTo>
                  <a:cubicBezTo>
                    <a:pt x="1936" y="51"/>
                    <a:pt x="1944" y="59"/>
                    <a:pt x="1944" y="71"/>
                  </a:cubicBezTo>
                  <a:cubicBezTo>
                    <a:pt x="1944" y="81"/>
                    <a:pt x="1941" y="89"/>
                    <a:pt x="1935" y="96"/>
                  </a:cubicBezTo>
                  <a:cubicBezTo>
                    <a:pt x="1931" y="101"/>
                    <a:pt x="1926" y="104"/>
                    <a:pt x="1921" y="108"/>
                  </a:cubicBezTo>
                  <a:cubicBezTo>
                    <a:pt x="1914" y="113"/>
                    <a:pt x="1908" y="118"/>
                    <a:pt x="1902" y="124"/>
                  </a:cubicBezTo>
                  <a:cubicBezTo>
                    <a:pt x="1893" y="131"/>
                    <a:pt x="1888" y="141"/>
                    <a:pt x="1888" y="152"/>
                  </a:cubicBezTo>
                  <a:cubicBezTo>
                    <a:pt x="1888" y="155"/>
                    <a:pt x="1888" y="159"/>
                    <a:pt x="1888" y="162"/>
                  </a:cubicBezTo>
                  <a:cubicBezTo>
                    <a:pt x="1913" y="162"/>
                    <a:pt x="1938" y="162"/>
                    <a:pt x="1963" y="162"/>
                  </a:cubicBezTo>
                  <a:cubicBezTo>
                    <a:pt x="1963" y="158"/>
                    <a:pt x="1963" y="154"/>
                    <a:pt x="1963" y="149"/>
                  </a:cubicBezTo>
                  <a:cubicBezTo>
                    <a:pt x="1960" y="149"/>
                    <a:pt x="1958" y="149"/>
                    <a:pt x="1955" y="149"/>
                  </a:cubicBezTo>
                  <a:close/>
                  <a:moveTo>
                    <a:pt x="1504" y="149"/>
                  </a:moveTo>
                  <a:cubicBezTo>
                    <a:pt x="1499" y="149"/>
                    <a:pt x="1494" y="149"/>
                    <a:pt x="1489" y="149"/>
                  </a:cubicBezTo>
                  <a:cubicBezTo>
                    <a:pt x="1484" y="149"/>
                    <a:pt x="1479" y="149"/>
                    <a:pt x="1474" y="149"/>
                  </a:cubicBezTo>
                  <a:cubicBezTo>
                    <a:pt x="1469" y="149"/>
                    <a:pt x="1464" y="149"/>
                    <a:pt x="1459" y="149"/>
                  </a:cubicBezTo>
                  <a:cubicBezTo>
                    <a:pt x="1459" y="145"/>
                    <a:pt x="1460" y="140"/>
                    <a:pt x="1463" y="136"/>
                  </a:cubicBezTo>
                  <a:cubicBezTo>
                    <a:pt x="1465" y="132"/>
                    <a:pt x="1468" y="130"/>
                    <a:pt x="1471" y="127"/>
                  </a:cubicBezTo>
                  <a:cubicBezTo>
                    <a:pt x="1476" y="123"/>
                    <a:pt x="1482" y="119"/>
                    <a:pt x="1487" y="115"/>
                  </a:cubicBezTo>
                  <a:cubicBezTo>
                    <a:pt x="1491" y="112"/>
                    <a:pt x="1495" y="109"/>
                    <a:pt x="1499" y="106"/>
                  </a:cubicBezTo>
                  <a:cubicBezTo>
                    <a:pt x="1503" y="102"/>
                    <a:pt x="1506" y="98"/>
                    <a:pt x="1509" y="93"/>
                  </a:cubicBezTo>
                  <a:cubicBezTo>
                    <a:pt x="1514" y="86"/>
                    <a:pt x="1515" y="77"/>
                    <a:pt x="1515" y="69"/>
                  </a:cubicBezTo>
                  <a:cubicBezTo>
                    <a:pt x="1514" y="55"/>
                    <a:pt x="1506" y="44"/>
                    <a:pt x="1492" y="40"/>
                  </a:cubicBezTo>
                  <a:cubicBezTo>
                    <a:pt x="1486" y="38"/>
                    <a:pt x="1480" y="38"/>
                    <a:pt x="1474" y="39"/>
                  </a:cubicBezTo>
                  <a:cubicBezTo>
                    <a:pt x="1465" y="39"/>
                    <a:pt x="1457" y="43"/>
                    <a:pt x="1450" y="49"/>
                  </a:cubicBezTo>
                  <a:cubicBezTo>
                    <a:pt x="1449" y="50"/>
                    <a:pt x="1449" y="51"/>
                    <a:pt x="1449" y="52"/>
                  </a:cubicBezTo>
                  <a:cubicBezTo>
                    <a:pt x="1449" y="55"/>
                    <a:pt x="1449" y="59"/>
                    <a:pt x="1449" y="63"/>
                  </a:cubicBezTo>
                  <a:cubicBezTo>
                    <a:pt x="1449" y="63"/>
                    <a:pt x="1449" y="64"/>
                    <a:pt x="1449" y="65"/>
                  </a:cubicBezTo>
                  <a:cubicBezTo>
                    <a:pt x="1450" y="64"/>
                    <a:pt x="1450" y="63"/>
                    <a:pt x="1451" y="63"/>
                  </a:cubicBezTo>
                  <a:cubicBezTo>
                    <a:pt x="1454" y="60"/>
                    <a:pt x="1457" y="58"/>
                    <a:pt x="1460" y="56"/>
                  </a:cubicBezTo>
                  <a:cubicBezTo>
                    <a:pt x="1466" y="52"/>
                    <a:pt x="1473" y="50"/>
                    <a:pt x="1481" y="50"/>
                  </a:cubicBezTo>
                  <a:cubicBezTo>
                    <a:pt x="1491" y="51"/>
                    <a:pt x="1498" y="57"/>
                    <a:pt x="1500" y="66"/>
                  </a:cubicBezTo>
                  <a:cubicBezTo>
                    <a:pt x="1501" y="70"/>
                    <a:pt x="1501" y="74"/>
                    <a:pt x="1500" y="78"/>
                  </a:cubicBezTo>
                  <a:cubicBezTo>
                    <a:pt x="1499" y="86"/>
                    <a:pt x="1495" y="92"/>
                    <a:pt x="1490" y="98"/>
                  </a:cubicBezTo>
                  <a:cubicBezTo>
                    <a:pt x="1485" y="102"/>
                    <a:pt x="1480" y="106"/>
                    <a:pt x="1475" y="110"/>
                  </a:cubicBezTo>
                  <a:cubicBezTo>
                    <a:pt x="1468" y="115"/>
                    <a:pt x="1462" y="120"/>
                    <a:pt x="1456" y="126"/>
                  </a:cubicBezTo>
                  <a:cubicBezTo>
                    <a:pt x="1450" y="131"/>
                    <a:pt x="1446" y="138"/>
                    <a:pt x="1445" y="146"/>
                  </a:cubicBezTo>
                  <a:cubicBezTo>
                    <a:pt x="1444" y="151"/>
                    <a:pt x="1444" y="156"/>
                    <a:pt x="1444" y="162"/>
                  </a:cubicBezTo>
                  <a:cubicBezTo>
                    <a:pt x="1444" y="162"/>
                    <a:pt x="1445" y="162"/>
                    <a:pt x="1445" y="162"/>
                  </a:cubicBezTo>
                  <a:cubicBezTo>
                    <a:pt x="1469" y="162"/>
                    <a:pt x="1494" y="162"/>
                    <a:pt x="1519" y="162"/>
                  </a:cubicBezTo>
                  <a:cubicBezTo>
                    <a:pt x="1519" y="158"/>
                    <a:pt x="1519" y="154"/>
                    <a:pt x="1519" y="149"/>
                  </a:cubicBezTo>
                  <a:cubicBezTo>
                    <a:pt x="1514" y="149"/>
                    <a:pt x="1509" y="149"/>
                    <a:pt x="1504" y="149"/>
                  </a:cubicBezTo>
                  <a:close/>
                  <a:moveTo>
                    <a:pt x="1700" y="149"/>
                  </a:moveTo>
                  <a:cubicBezTo>
                    <a:pt x="1700" y="149"/>
                    <a:pt x="1700" y="148"/>
                    <a:pt x="1700" y="148"/>
                  </a:cubicBezTo>
                  <a:cubicBezTo>
                    <a:pt x="1700" y="143"/>
                    <a:pt x="1702" y="139"/>
                    <a:pt x="1705" y="135"/>
                  </a:cubicBezTo>
                  <a:cubicBezTo>
                    <a:pt x="1707" y="132"/>
                    <a:pt x="1710" y="129"/>
                    <a:pt x="1713" y="126"/>
                  </a:cubicBezTo>
                  <a:cubicBezTo>
                    <a:pt x="1718" y="123"/>
                    <a:pt x="1724" y="119"/>
                    <a:pt x="1729" y="115"/>
                  </a:cubicBezTo>
                  <a:cubicBezTo>
                    <a:pt x="1733" y="112"/>
                    <a:pt x="1738" y="108"/>
                    <a:pt x="1742" y="104"/>
                  </a:cubicBezTo>
                  <a:cubicBezTo>
                    <a:pt x="1753" y="94"/>
                    <a:pt x="1757" y="81"/>
                    <a:pt x="1756" y="67"/>
                  </a:cubicBezTo>
                  <a:cubicBezTo>
                    <a:pt x="1755" y="54"/>
                    <a:pt x="1747" y="44"/>
                    <a:pt x="1734" y="40"/>
                  </a:cubicBezTo>
                  <a:cubicBezTo>
                    <a:pt x="1728" y="38"/>
                    <a:pt x="1722" y="38"/>
                    <a:pt x="1716" y="39"/>
                  </a:cubicBezTo>
                  <a:cubicBezTo>
                    <a:pt x="1706" y="39"/>
                    <a:pt x="1699" y="43"/>
                    <a:pt x="1692" y="49"/>
                  </a:cubicBezTo>
                  <a:cubicBezTo>
                    <a:pt x="1691" y="50"/>
                    <a:pt x="1690" y="50"/>
                    <a:pt x="1691" y="52"/>
                  </a:cubicBezTo>
                  <a:cubicBezTo>
                    <a:pt x="1691" y="55"/>
                    <a:pt x="1691" y="59"/>
                    <a:pt x="1691" y="63"/>
                  </a:cubicBezTo>
                  <a:cubicBezTo>
                    <a:pt x="1691" y="63"/>
                    <a:pt x="1691" y="64"/>
                    <a:pt x="1691" y="65"/>
                  </a:cubicBezTo>
                  <a:cubicBezTo>
                    <a:pt x="1692" y="64"/>
                    <a:pt x="1692" y="63"/>
                    <a:pt x="1693" y="63"/>
                  </a:cubicBezTo>
                  <a:cubicBezTo>
                    <a:pt x="1696" y="59"/>
                    <a:pt x="1700" y="56"/>
                    <a:pt x="1705" y="54"/>
                  </a:cubicBezTo>
                  <a:cubicBezTo>
                    <a:pt x="1711" y="51"/>
                    <a:pt x="1717" y="50"/>
                    <a:pt x="1723" y="50"/>
                  </a:cubicBezTo>
                  <a:cubicBezTo>
                    <a:pt x="1733" y="51"/>
                    <a:pt x="1740" y="58"/>
                    <a:pt x="1742" y="67"/>
                  </a:cubicBezTo>
                  <a:cubicBezTo>
                    <a:pt x="1742" y="71"/>
                    <a:pt x="1742" y="76"/>
                    <a:pt x="1741" y="80"/>
                  </a:cubicBezTo>
                  <a:cubicBezTo>
                    <a:pt x="1740" y="87"/>
                    <a:pt x="1736" y="93"/>
                    <a:pt x="1731" y="98"/>
                  </a:cubicBezTo>
                  <a:cubicBezTo>
                    <a:pt x="1727" y="102"/>
                    <a:pt x="1722" y="106"/>
                    <a:pt x="1717" y="109"/>
                  </a:cubicBezTo>
                  <a:cubicBezTo>
                    <a:pt x="1710" y="114"/>
                    <a:pt x="1704" y="119"/>
                    <a:pt x="1698" y="125"/>
                  </a:cubicBezTo>
                  <a:cubicBezTo>
                    <a:pt x="1693" y="130"/>
                    <a:pt x="1689" y="136"/>
                    <a:pt x="1687" y="143"/>
                  </a:cubicBezTo>
                  <a:cubicBezTo>
                    <a:pt x="1686" y="149"/>
                    <a:pt x="1686" y="155"/>
                    <a:pt x="1686" y="162"/>
                  </a:cubicBezTo>
                  <a:cubicBezTo>
                    <a:pt x="1686" y="162"/>
                    <a:pt x="1686" y="162"/>
                    <a:pt x="1686" y="162"/>
                  </a:cubicBezTo>
                  <a:cubicBezTo>
                    <a:pt x="1711" y="162"/>
                    <a:pt x="1736" y="162"/>
                    <a:pt x="1761" y="162"/>
                  </a:cubicBezTo>
                  <a:cubicBezTo>
                    <a:pt x="1761" y="158"/>
                    <a:pt x="1761" y="154"/>
                    <a:pt x="1761" y="149"/>
                  </a:cubicBezTo>
                  <a:cubicBezTo>
                    <a:pt x="1741" y="149"/>
                    <a:pt x="1721" y="149"/>
                    <a:pt x="1700" y="149"/>
                  </a:cubicBezTo>
                  <a:close/>
                  <a:moveTo>
                    <a:pt x="481" y="159"/>
                  </a:moveTo>
                  <a:cubicBezTo>
                    <a:pt x="481" y="144"/>
                    <a:pt x="481" y="128"/>
                    <a:pt x="481" y="113"/>
                  </a:cubicBezTo>
                  <a:cubicBezTo>
                    <a:pt x="481" y="111"/>
                    <a:pt x="481" y="109"/>
                    <a:pt x="481" y="107"/>
                  </a:cubicBezTo>
                  <a:cubicBezTo>
                    <a:pt x="482" y="100"/>
                    <a:pt x="485" y="95"/>
                    <a:pt x="490" y="91"/>
                  </a:cubicBezTo>
                  <a:cubicBezTo>
                    <a:pt x="497" y="85"/>
                    <a:pt x="504" y="84"/>
                    <a:pt x="512" y="86"/>
                  </a:cubicBezTo>
                  <a:cubicBezTo>
                    <a:pt x="518" y="88"/>
                    <a:pt x="521" y="92"/>
                    <a:pt x="523" y="98"/>
                  </a:cubicBezTo>
                  <a:cubicBezTo>
                    <a:pt x="525" y="102"/>
                    <a:pt x="525" y="107"/>
                    <a:pt x="525" y="111"/>
                  </a:cubicBezTo>
                  <a:cubicBezTo>
                    <a:pt x="525" y="127"/>
                    <a:pt x="525" y="143"/>
                    <a:pt x="525" y="159"/>
                  </a:cubicBezTo>
                  <a:cubicBezTo>
                    <a:pt x="525" y="160"/>
                    <a:pt x="525" y="161"/>
                    <a:pt x="525" y="162"/>
                  </a:cubicBezTo>
                  <a:cubicBezTo>
                    <a:pt x="530" y="162"/>
                    <a:pt x="534" y="162"/>
                    <a:pt x="539" y="162"/>
                  </a:cubicBezTo>
                  <a:cubicBezTo>
                    <a:pt x="539" y="161"/>
                    <a:pt x="539" y="160"/>
                    <a:pt x="539" y="159"/>
                  </a:cubicBezTo>
                  <a:cubicBezTo>
                    <a:pt x="539" y="143"/>
                    <a:pt x="539" y="126"/>
                    <a:pt x="539" y="110"/>
                  </a:cubicBezTo>
                  <a:cubicBezTo>
                    <a:pt x="539" y="108"/>
                    <a:pt x="539" y="106"/>
                    <a:pt x="539" y="104"/>
                  </a:cubicBezTo>
                  <a:cubicBezTo>
                    <a:pt x="539" y="98"/>
                    <a:pt x="538" y="93"/>
                    <a:pt x="535" y="88"/>
                  </a:cubicBezTo>
                  <a:cubicBezTo>
                    <a:pt x="532" y="81"/>
                    <a:pt x="527" y="77"/>
                    <a:pt x="520" y="74"/>
                  </a:cubicBezTo>
                  <a:cubicBezTo>
                    <a:pt x="518" y="74"/>
                    <a:pt x="515" y="73"/>
                    <a:pt x="513" y="73"/>
                  </a:cubicBezTo>
                  <a:cubicBezTo>
                    <a:pt x="500" y="72"/>
                    <a:pt x="490" y="77"/>
                    <a:pt x="483" y="87"/>
                  </a:cubicBezTo>
                  <a:cubicBezTo>
                    <a:pt x="482" y="88"/>
                    <a:pt x="482" y="88"/>
                    <a:pt x="481" y="89"/>
                  </a:cubicBezTo>
                  <a:cubicBezTo>
                    <a:pt x="481" y="89"/>
                    <a:pt x="481" y="89"/>
                    <a:pt x="481" y="89"/>
                  </a:cubicBezTo>
                  <a:cubicBezTo>
                    <a:pt x="481" y="84"/>
                    <a:pt x="481" y="80"/>
                    <a:pt x="481" y="75"/>
                  </a:cubicBezTo>
                  <a:cubicBezTo>
                    <a:pt x="477" y="75"/>
                    <a:pt x="469" y="75"/>
                    <a:pt x="467" y="75"/>
                  </a:cubicBezTo>
                  <a:cubicBezTo>
                    <a:pt x="467" y="104"/>
                    <a:pt x="467" y="133"/>
                    <a:pt x="467" y="162"/>
                  </a:cubicBezTo>
                  <a:cubicBezTo>
                    <a:pt x="472" y="162"/>
                    <a:pt x="476" y="162"/>
                    <a:pt x="481" y="162"/>
                  </a:cubicBezTo>
                  <a:cubicBezTo>
                    <a:pt x="481" y="161"/>
                    <a:pt x="481" y="160"/>
                    <a:pt x="481" y="159"/>
                  </a:cubicBezTo>
                  <a:close/>
                  <a:moveTo>
                    <a:pt x="1273" y="75"/>
                  </a:moveTo>
                  <a:cubicBezTo>
                    <a:pt x="1268" y="75"/>
                    <a:pt x="1263" y="75"/>
                    <a:pt x="1258" y="75"/>
                  </a:cubicBezTo>
                  <a:cubicBezTo>
                    <a:pt x="1256" y="83"/>
                    <a:pt x="1253" y="91"/>
                    <a:pt x="1250" y="99"/>
                  </a:cubicBezTo>
                  <a:cubicBezTo>
                    <a:pt x="1247" y="107"/>
                    <a:pt x="1244" y="115"/>
                    <a:pt x="1241" y="123"/>
                  </a:cubicBezTo>
                  <a:cubicBezTo>
                    <a:pt x="1238" y="130"/>
                    <a:pt x="1236" y="138"/>
                    <a:pt x="1232" y="146"/>
                  </a:cubicBezTo>
                  <a:cubicBezTo>
                    <a:pt x="1232" y="146"/>
                    <a:pt x="1232" y="146"/>
                    <a:pt x="1232" y="146"/>
                  </a:cubicBezTo>
                  <a:cubicBezTo>
                    <a:pt x="1224" y="122"/>
                    <a:pt x="1216" y="99"/>
                    <a:pt x="1207" y="75"/>
                  </a:cubicBezTo>
                  <a:cubicBezTo>
                    <a:pt x="1205" y="75"/>
                    <a:pt x="1202" y="75"/>
                    <a:pt x="1200" y="75"/>
                  </a:cubicBezTo>
                  <a:cubicBezTo>
                    <a:pt x="1197" y="75"/>
                    <a:pt x="1195" y="75"/>
                    <a:pt x="1192" y="75"/>
                  </a:cubicBezTo>
                  <a:cubicBezTo>
                    <a:pt x="1203" y="104"/>
                    <a:pt x="1214" y="133"/>
                    <a:pt x="1225" y="162"/>
                  </a:cubicBezTo>
                  <a:cubicBezTo>
                    <a:pt x="1229" y="162"/>
                    <a:pt x="1234" y="162"/>
                    <a:pt x="1238" y="162"/>
                  </a:cubicBezTo>
                  <a:cubicBezTo>
                    <a:pt x="1241" y="156"/>
                    <a:pt x="1273" y="77"/>
                    <a:pt x="1273" y="75"/>
                  </a:cubicBezTo>
                  <a:close/>
                  <a:moveTo>
                    <a:pt x="870" y="157"/>
                  </a:moveTo>
                  <a:cubicBezTo>
                    <a:pt x="870" y="159"/>
                    <a:pt x="871" y="159"/>
                    <a:pt x="872" y="160"/>
                  </a:cubicBezTo>
                  <a:cubicBezTo>
                    <a:pt x="883" y="165"/>
                    <a:pt x="895" y="166"/>
                    <a:pt x="906" y="162"/>
                  </a:cubicBezTo>
                  <a:cubicBezTo>
                    <a:pt x="918" y="158"/>
                    <a:pt x="924" y="149"/>
                    <a:pt x="923" y="137"/>
                  </a:cubicBezTo>
                  <a:cubicBezTo>
                    <a:pt x="923" y="131"/>
                    <a:pt x="921" y="126"/>
                    <a:pt x="917" y="122"/>
                  </a:cubicBezTo>
                  <a:cubicBezTo>
                    <a:pt x="914" y="120"/>
                    <a:pt x="911" y="118"/>
                    <a:pt x="908" y="117"/>
                  </a:cubicBezTo>
                  <a:cubicBezTo>
                    <a:pt x="905" y="115"/>
                    <a:pt x="901" y="113"/>
                    <a:pt x="897" y="112"/>
                  </a:cubicBezTo>
                  <a:cubicBezTo>
                    <a:pt x="895" y="110"/>
                    <a:pt x="892" y="108"/>
                    <a:pt x="889" y="107"/>
                  </a:cubicBezTo>
                  <a:cubicBezTo>
                    <a:pt x="884" y="103"/>
                    <a:pt x="883" y="94"/>
                    <a:pt x="888" y="89"/>
                  </a:cubicBezTo>
                  <a:cubicBezTo>
                    <a:pt x="891" y="87"/>
                    <a:pt x="894" y="85"/>
                    <a:pt x="898" y="85"/>
                  </a:cubicBezTo>
                  <a:cubicBezTo>
                    <a:pt x="905" y="85"/>
                    <a:pt x="912" y="86"/>
                    <a:pt x="918" y="90"/>
                  </a:cubicBezTo>
                  <a:cubicBezTo>
                    <a:pt x="918" y="90"/>
                    <a:pt x="919" y="91"/>
                    <a:pt x="919" y="91"/>
                  </a:cubicBezTo>
                  <a:cubicBezTo>
                    <a:pt x="919" y="86"/>
                    <a:pt x="919" y="82"/>
                    <a:pt x="919" y="77"/>
                  </a:cubicBezTo>
                  <a:cubicBezTo>
                    <a:pt x="919" y="77"/>
                    <a:pt x="918" y="76"/>
                    <a:pt x="917" y="76"/>
                  </a:cubicBezTo>
                  <a:cubicBezTo>
                    <a:pt x="910" y="73"/>
                    <a:pt x="902" y="72"/>
                    <a:pt x="895" y="73"/>
                  </a:cubicBezTo>
                  <a:cubicBezTo>
                    <a:pt x="888" y="74"/>
                    <a:pt x="883" y="77"/>
                    <a:pt x="878" y="81"/>
                  </a:cubicBezTo>
                  <a:cubicBezTo>
                    <a:pt x="867" y="90"/>
                    <a:pt x="867" y="110"/>
                    <a:pt x="880" y="118"/>
                  </a:cubicBezTo>
                  <a:cubicBezTo>
                    <a:pt x="884" y="120"/>
                    <a:pt x="887" y="122"/>
                    <a:pt x="890" y="123"/>
                  </a:cubicBezTo>
                  <a:cubicBezTo>
                    <a:pt x="895" y="126"/>
                    <a:pt x="900" y="128"/>
                    <a:pt x="905" y="131"/>
                  </a:cubicBezTo>
                  <a:cubicBezTo>
                    <a:pt x="909" y="134"/>
                    <a:pt x="910" y="138"/>
                    <a:pt x="909" y="143"/>
                  </a:cubicBezTo>
                  <a:cubicBezTo>
                    <a:pt x="908" y="147"/>
                    <a:pt x="905" y="150"/>
                    <a:pt x="901" y="151"/>
                  </a:cubicBezTo>
                  <a:cubicBezTo>
                    <a:pt x="901" y="151"/>
                    <a:pt x="900" y="151"/>
                    <a:pt x="899" y="152"/>
                  </a:cubicBezTo>
                  <a:cubicBezTo>
                    <a:pt x="890" y="153"/>
                    <a:pt x="881" y="151"/>
                    <a:pt x="873" y="146"/>
                  </a:cubicBezTo>
                  <a:cubicBezTo>
                    <a:pt x="872" y="145"/>
                    <a:pt x="871" y="145"/>
                    <a:pt x="870" y="144"/>
                  </a:cubicBezTo>
                  <a:cubicBezTo>
                    <a:pt x="870" y="149"/>
                    <a:pt x="870" y="153"/>
                    <a:pt x="870" y="157"/>
                  </a:cubicBezTo>
                  <a:close/>
                  <a:moveTo>
                    <a:pt x="1649" y="162"/>
                  </a:moveTo>
                  <a:cubicBezTo>
                    <a:pt x="1653" y="162"/>
                    <a:pt x="1658" y="162"/>
                    <a:pt x="1662" y="162"/>
                  </a:cubicBezTo>
                  <a:cubicBezTo>
                    <a:pt x="1662" y="120"/>
                    <a:pt x="1662" y="79"/>
                    <a:pt x="1662" y="38"/>
                  </a:cubicBezTo>
                  <a:cubicBezTo>
                    <a:pt x="1661" y="38"/>
                    <a:pt x="1660" y="38"/>
                    <a:pt x="1659" y="38"/>
                  </a:cubicBezTo>
                  <a:cubicBezTo>
                    <a:pt x="1658" y="38"/>
                    <a:pt x="1657" y="38"/>
                    <a:pt x="1656" y="39"/>
                  </a:cubicBezTo>
                  <a:cubicBezTo>
                    <a:pt x="1646" y="47"/>
                    <a:pt x="1634" y="53"/>
                    <a:pt x="1622" y="57"/>
                  </a:cubicBezTo>
                  <a:cubicBezTo>
                    <a:pt x="1621" y="57"/>
                    <a:pt x="1621" y="57"/>
                    <a:pt x="1620" y="57"/>
                  </a:cubicBezTo>
                  <a:cubicBezTo>
                    <a:pt x="1620" y="62"/>
                    <a:pt x="1620" y="66"/>
                    <a:pt x="1620" y="71"/>
                  </a:cubicBezTo>
                  <a:cubicBezTo>
                    <a:pt x="1631" y="68"/>
                    <a:pt x="1640" y="64"/>
                    <a:pt x="1649" y="57"/>
                  </a:cubicBezTo>
                  <a:cubicBezTo>
                    <a:pt x="1649" y="92"/>
                    <a:pt x="1649" y="127"/>
                    <a:pt x="1649" y="162"/>
                  </a:cubicBezTo>
                  <a:close/>
                  <a:moveTo>
                    <a:pt x="1177" y="74"/>
                  </a:moveTo>
                  <a:cubicBezTo>
                    <a:pt x="1172" y="74"/>
                    <a:pt x="1167" y="76"/>
                    <a:pt x="1163" y="80"/>
                  </a:cubicBezTo>
                  <a:cubicBezTo>
                    <a:pt x="1160" y="83"/>
                    <a:pt x="1157" y="86"/>
                    <a:pt x="1156" y="90"/>
                  </a:cubicBezTo>
                  <a:cubicBezTo>
                    <a:pt x="1155" y="91"/>
                    <a:pt x="1155" y="91"/>
                    <a:pt x="1155" y="92"/>
                  </a:cubicBezTo>
                  <a:cubicBezTo>
                    <a:pt x="1155" y="92"/>
                    <a:pt x="1154" y="92"/>
                    <a:pt x="1154" y="92"/>
                  </a:cubicBezTo>
                  <a:cubicBezTo>
                    <a:pt x="1154" y="86"/>
                    <a:pt x="1154" y="81"/>
                    <a:pt x="1154" y="75"/>
                  </a:cubicBezTo>
                  <a:cubicBezTo>
                    <a:pt x="1150" y="75"/>
                    <a:pt x="1145" y="75"/>
                    <a:pt x="1141" y="75"/>
                  </a:cubicBezTo>
                  <a:cubicBezTo>
                    <a:pt x="1141" y="104"/>
                    <a:pt x="1141" y="133"/>
                    <a:pt x="1141" y="162"/>
                  </a:cubicBezTo>
                  <a:cubicBezTo>
                    <a:pt x="1143" y="162"/>
                    <a:pt x="1153" y="162"/>
                    <a:pt x="1154" y="162"/>
                  </a:cubicBezTo>
                  <a:cubicBezTo>
                    <a:pt x="1154" y="161"/>
                    <a:pt x="1154" y="160"/>
                    <a:pt x="1154" y="159"/>
                  </a:cubicBezTo>
                  <a:cubicBezTo>
                    <a:pt x="1154" y="146"/>
                    <a:pt x="1154" y="132"/>
                    <a:pt x="1154" y="119"/>
                  </a:cubicBezTo>
                  <a:cubicBezTo>
                    <a:pt x="1154" y="116"/>
                    <a:pt x="1155" y="113"/>
                    <a:pt x="1155" y="110"/>
                  </a:cubicBezTo>
                  <a:cubicBezTo>
                    <a:pt x="1156" y="104"/>
                    <a:pt x="1158" y="98"/>
                    <a:pt x="1161" y="93"/>
                  </a:cubicBezTo>
                  <a:cubicBezTo>
                    <a:pt x="1168" y="85"/>
                    <a:pt x="1178" y="85"/>
                    <a:pt x="1184" y="88"/>
                  </a:cubicBezTo>
                  <a:cubicBezTo>
                    <a:pt x="1185" y="88"/>
                    <a:pt x="1185" y="89"/>
                    <a:pt x="1186" y="89"/>
                  </a:cubicBezTo>
                  <a:cubicBezTo>
                    <a:pt x="1186" y="84"/>
                    <a:pt x="1186" y="80"/>
                    <a:pt x="1186" y="75"/>
                  </a:cubicBezTo>
                  <a:cubicBezTo>
                    <a:pt x="1183" y="74"/>
                    <a:pt x="1180" y="74"/>
                    <a:pt x="1177" y="74"/>
                  </a:cubicBezTo>
                  <a:close/>
                  <a:moveTo>
                    <a:pt x="1367" y="162"/>
                  </a:moveTo>
                  <a:cubicBezTo>
                    <a:pt x="1372" y="162"/>
                    <a:pt x="1376" y="162"/>
                    <a:pt x="1381" y="162"/>
                  </a:cubicBezTo>
                  <a:cubicBezTo>
                    <a:pt x="1381" y="161"/>
                    <a:pt x="1381" y="160"/>
                    <a:pt x="1381" y="159"/>
                  </a:cubicBezTo>
                  <a:cubicBezTo>
                    <a:pt x="1381" y="145"/>
                    <a:pt x="1381" y="132"/>
                    <a:pt x="1381" y="118"/>
                  </a:cubicBezTo>
                  <a:cubicBezTo>
                    <a:pt x="1381" y="115"/>
                    <a:pt x="1381" y="112"/>
                    <a:pt x="1381" y="109"/>
                  </a:cubicBezTo>
                  <a:cubicBezTo>
                    <a:pt x="1382" y="103"/>
                    <a:pt x="1384" y="98"/>
                    <a:pt x="1388" y="94"/>
                  </a:cubicBezTo>
                  <a:cubicBezTo>
                    <a:pt x="1394" y="85"/>
                    <a:pt x="1404" y="85"/>
                    <a:pt x="1411" y="88"/>
                  </a:cubicBezTo>
                  <a:cubicBezTo>
                    <a:pt x="1411" y="88"/>
                    <a:pt x="1411" y="89"/>
                    <a:pt x="1412" y="89"/>
                  </a:cubicBezTo>
                  <a:cubicBezTo>
                    <a:pt x="1412" y="84"/>
                    <a:pt x="1412" y="79"/>
                    <a:pt x="1412" y="75"/>
                  </a:cubicBezTo>
                  <a:cubicBezTo>
                    <a:pt x="1411" y="74"/>
                    <a:pt x="1410" y="74"/>
                    <a:pt x="1409" y="74"/>
                  </a:cubicBezTo>
                  <a:cubicBezTo>
                    <a:pt x="1407" y="74"/>
                    <a:pt x="1406" y="74"/>
                    <a:pt x="1404" y="74"/>
                  </a:cubicBezTo>
                  <a:cubicBezTo>
                    <a:pt x="1398" y="74"/>
                    <a:pt x="1393" y="76"/>
                    <a:pt x="1389" y="79"/>
                  </a:cubicBezTo>
                  <a:cubicBezTo>
                    <a:pt x="1386" y="82"/>
                    <a:pt x="1384" y="86"/>
                    <a:pt x="1382" y="90"/>
                  </a:cubicBezTo>
                  <a:cubicBezTo>
                    <a:pt x="1382" y="91"/>
                    <a:pt x="1382" y="91"/>
                    <a:pt x="1381" y="92"/>
                  </a:cubicBezTo>
                  <a:cubicBezTo>
                    <a:pt x="1381" y="92"/>
                    <a:pt x="1381" y="92"/>
                    <a:pt x="1381" y="92"/>
                  </a:cubicBezTo>
                  <a:cubicBezTo>
                    <a:pt x="1381" y="89"/>
                    <a:pt x="1381" y="86"/>
                    <a:pt x="1381" y="84"/>
                  </a:cubicBezTo>
                  <a:cubicBezTo>
                    <a:pt x="1381" y="81"/>
                    <a:pt x="1381" y="78"/>
                    <a:pt x="1381" y="75"/>
                  </a:cubicBezTo>
                  <a:cubicBezTo>
                    <a:pt x="1376" y="75"/>
                    <a:pt x="1372" y="75"/>
                    <a:pt x="1367" y="75"/>
                  </a:cubicBezTo>
                  <a:cubicBezTo>
                    <a:pt x="1367" y="78"/>
                    <a:pt x="1367" y="160"/>
                    <a:pt x="1367" y="162"/>
                  </a:cubicBezTo>
                  <a:close/>
                  <a:moveTo>
                    <a:pt x="446" y="75"/>
                  </a:moveTo>
                  <a:cubicBezTo>
                    <a:pt x="441" y="75"/>
                    <a:pt x="437" y="75"/>
                    <a:pt x="432" y="75"/>
                  </a:cubicBezTo>
                  <a:cubicBezTo>
                    <a:pt x="432" y="104"/>
                    <a:pt x="432" y="133"/>
                    <a:pt x="432" y="162"/>
                  </a:cubicBezTo>
                  <a:cubicBezTo>
                    <a:pt x="437" y="162"/>
                    <a:pt x="441" y="162"/>
                    <a:pt x="446" y="162"/>
                  </a:cubicBezTo>
                  <a:cubicBezTo>
                    <a:pt x="446" y="157"/>
                    <a:pt x="446" y="77"/>
                    <a:pt x="446" y="75"/>
                  </a:cubicBezTo>
                  <a:close/>
                  <a:moveTo>
                    <a:pt x="448" y="47"/>
                  </a:moveTo>
                  <a:cubicBezTo>
                    <a:pt x="448" y="42"/>
                    <a:pt x="444" y="38"/>
                    <a:pt x="439" y="38"/>
                  </a:cubicBezTo>
                  <a:cubicBezTo>
                    <a:pt x="434" y="38"/>
                    <a:pt x="430" y="42"/>
                    <a:pt x="430" y="47"/>
                  </a:cubicBezTo>
                  <a:cubicBezTo>
                    <a:pt x="430" y="52"/>
                    <a:pt x="434" y="56"/>
                    <a:pt x="439" y="56"/>
                  </a:cubicBezTo>
                  <a:cubicBezTo>
                    <a:pt x="444" y="56"/>
                    <a:pt x="448" y="52"/>
                    <a:pt x="448" y="47"/>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sp>
          <p:nvSpPr>
            <p:cNvPr id="26" name="Freeform 5"/>
            <p:cNvSpPr>
              <a:spLocks noEditPoints="1"/>
            </p:cNvSpPr>
            <p:nvPr/>
          </p:nvSpPr>
          <p:spPr bwMode="auto">
            <a:xfrm>
              <a:off x="269408" y="2376280"/>
              <a:ext cx="2801159" cy="406857"/>
            </a:xfrm>
            <a:custGeom>
              <a:avLst/>
              <a:gdLst>
                <a:gd name="T0" fmla="*/ 51 w 807"/>
                <a:gd name="T1" fmla="*/ 106 h 115"/>
                <a:gd name="T2" fmla="*/ 115 w 807"/>
                <a:gd name="T3" fmla="*/ 0 h 115"/>
                <a:gd name="T4" fmla="*/ 48 w 807"/>
                <a:gd name="T5" fmla="*/ 59 h 115"/>
                <a:gd name="T6" fmla="*/ 195 w 807"/>
                <a:gd name="T7" fmla="*/ 37 h 115"/>
                <a:gd name="T8" fmla="*/ 221 w 807"/>
                <a:gd name="T9" fmla="*/ 88 h 115"/>
                <a:gd name="T10" fmla="*/ 224 w 807"/>
                <a:gd name="T11" fmla="*/ 48 h 115"/>
                <a:gd name="T12" fmla="*/ 175 w 807"/>
                <a:gd name="T13" fmla="*/ 80 h 115"/>
                <a:gd name="T14" fmla="*/ 168 w 807"/>
                <a:gd name="T15" fmla="*/ 85 h 115"/>
                <a:gd name="T16" fmla="*/ 0 w 807"/>
                <a:gd name="T17" fmla="*/ 56 h 115"/>
                <a:gd name="T18" fmla="*/ 0 w 807"/>
                <a:gd name="T19" fmla="*/ 56 h 115"/>
                <a:gd name="T20" fmla="*/ 488 w 807"/>
                <a:gd name="T21" fmla="*/ 54 h 115"/>
                <a:gd name="T22" fmla="*/ 473 w 807"/>
                <a:gd name="T23" fmla="*/ 81 h 115"/>
                <a:gd name="T24" fmla="*/ 442 w 807"/>
                <a:gd name="T25" fmla="*/ 82 h 115"/>
                <a:gd name="T26" fmla="*/ 448 w 807"/>
                <a:gd name="T27" fmla="*/ 85 h 115"/>
                <a:gd name="T28" fmla="*/ 353 w 807"/>
                <a:gd name="T29" fmla="*/ 19 h 115"/>
                <a:gd name="T30" fmla="*/ 318 w 807"/>
                <a:gd name="T31" fmla="*/ 56 h 115"/>
                <a:gd name="T32" fmla="*/ 354 w 807"/>
                <a:gd name="T33" fmla="*/ 92 h 115"/>
                <a:gd name="T34" fmla="*/ 338 w 807"/>
                <a:gd name="T35" fmla="*/ 86 h 115"/>
                <a:gd name="T36" fmla="*/ 353 w 807"/>
                <a:gd name="T37" fmla="*/ 63 h 115"/>
                <a:gd name="T38" fmla="*/ 804 w 807"/>
                <a:gd name="T39" fmla="*/ 53 h 115"/>
                <a:gd name="T40" fmla="*/ 779 w 807"/>
                <a:gd name="T41" fmla="*/ 92 h 115"/>
                <a:gd name="T42" fmla="*/ 807 w 807"/>
                <a:gd name="T43" fmla="*/ 69 h 115"/>
                <a:gd name="T44" fmla="*/ 772 w 807"/>
                <a:gd name="T45" fmla="*/ 62 h 115"/>
                <a:gd name="T46" fmla="*/ 389 w 807"/>
                <a:gd name="T47" fmla="*/ 93 h 115"/>
                <a:gd name="T48" fmla="*/ 390 w 807"/>
                <a:gd name="T49" fmla="*/ 85 h 115"/>
                <a:gd name="T50" fmla="*/ 392 w 807"/>
                <a:gd name="T51" fmla="*/ 86 h 115"/>
                <a:gd name="T52" fmla="*/ 693 w 807"/>
                <a:gd name="T53" fmla="*/ 91 h 115"/>
                <a:gd name="T54" fmla="*/ 693 w 807"/>
                <a:gd name="T55" fmla="*/ 69 h 115"/>
                <a:gd name="T56" fmla="*/ 668 w 807"/>
                <a:gd name="T57" fmla="*/ 68 h 115"/>
                <a:gd name="T58" fmla="*/ 722 w 807"/>
                <a:gd name="T59" fmla="*/ 64 h 115"/>
                <a:gd name="T60" fmla="*/ 747 w 807"/>
                <a:gd name="T61" fmla="*/ 72 h 115"/>
                <a:gd name="T62" fmla="*/ 754 w 807"/>
                <a:gd name="T63" fmla="*/ 54 h 115"/>
                <a:gd name="T64" fmla="*/ 714 w 807"/>
                <a:gd name="T65" fmla="*/ 43 h 115"/>
                <a:gd name="T66" fmla="*/ 585 w 807"/>
                <a:gd name="T67" fmla="*/ 91 h 115"/>
                <a:gd name="T68" fmla="*/ 610 w 807"/>
                <a:gd name="T69" fmla="*/ 58 h 115"/>
                <a:gd name="T70" fmla="*/ 617 w 807"/>
                <a:gd name="T71" fmla="*/ 55 h 115"/>
                <a:gd name="T72" fmla="*/ 577 w 807"/>
                <a:gd name="T73" fmla="*/ 43 h 115"/>
                <a:gd name="T74" fmla="*/ 274 w 807"/>
                <a:gd name="T75" fmla="*/ 92 h 115"/>
                <a:gd name="T76" fmla="*/ 298 w 807"/>
                <a:gd name="T77" fmla="*/ 60 h 115"/>
                <a:gd name="T78" fmla="*/ 307 w 807"/>
                <a:gd name="T79" fmla="*/ 63 h 115"/>
                <a:gd name="T80" fmla="*/ 274 w 807"/>
                <a:gd name="T81" fmla="*/ 43 h 115"/>
                <a:gd name="T82" fmla="*/ 510 w 807"/>
                <a:gd name="T83" fmla="*/ 41 h 115"/>
                <a:gd name="T84" fmla="*/ 517 w 807"/>
                <a:gd name="T85" fmla="*/ 81 h 115"/>
                <a:gd name="T86" fmla="*/ 503 w 807"/>
                <a:gd name="T87" fmla="*/ 93 h 115"/>
                <a:gd name="T88" fmla="*/ 508 w 807"/>
                <a:gd name="T89" fmla="*/ 62 h 115"/>
                <a:gd name="T90" fmla="*/ 515 w 807"/>
                <a:gd name="T91" fmla="*/ 41 h 115"/>
                <a:gd name="T92" fmla="*/ 653 w 807"/>
                <a:gd name="T93" fmla="*/ 42 h 115"/>
                <a:gd name="T94" fmla="*/ 625 w 807"/>
                <a:gd name="T95" fmla="*/ 43 h 115"/>
                <a:gd name="T96" fmla="*/ 633 w 807"/>
                <a:gd name="T97" fmla="*/ 80 h 115"/>
                <a:gd name="T98" fmla="*/ 563 w 807"/>
                <a:gd name="T99" fmla="*/ 91 h 115"/>
                <a:gd name="T100" fmla="*/ 563 w 807"/>
                <a:gd name="T101" fmla="*/ 91 h 115"/>
                <a:gd name="T102" fmla="*/ 246 w 807"/>
                <a:gd name="T103" fmla="*/ 43 h 115"/>
                <a:gd name="T104" fmla="*/ 250 w 807"/>
                <a:gd name="T105" fmla="*/ 2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7" h="115">
                  <a:moveTo>
                    <a:pt x="51" y="59"/>
                  </a:moveTo>
                  <a:cubicBezTo>
                    <a:pt x="73" y="59"/>
                    <a:pt x="94" y="59"/>
                    <a:pt x="115" y="59"/>
                  </a:cubicBezTo>
                  <a:cubicBezTo>
                    <a:pt x="115" y="77"/>
                    <a:pt x="115" y="96"/>
                    <a:pt x="115" y="115"/>
                  </a:cubicBezTo>
                  <a:cubicBezTo>
                    <a:pt x="94" y="112"/>
                    <a:pt x="73" y="109"/>
                    <a:pt x="51" y="106"/>
                  </a:cubicBezTo>
                  <a:cubicBezTo>
                    <a:pt x="51" y="90"/>
                    <a:pt x="51" y="75"/>
                    <a:pt x="51" y="59"/>
                  </a:cubicBezTo>
                  <a:close/>
                  <a:moveTo>
                    <a:pt x="52" y="56"/>
                  </a:moveTo>
                  <a:cubicBezTo>
                    <a:pt x="73" y="56"/>
                    <a:pt x="94" y="56"/>
                    <a:pt x="115" y="56"/>
                  </a:cubicBezTo>
                  <a:cubicBezTo>
                    <a:pt x="115" y="37"/>
                    <a:pt x="115" y="18"/>
                    <a:pt x="115" y="0"/>
                  </a:cubicBezTo>
                  <a:cubicBezTo>
                    <a:pt x="94" y="3"/>
                    <a:pt x="73" y="5"/>
                    <a:pt x="52" y="8"/>
                  </a:cubicBezTo>
                  <a:cubicBezTo>
                    <a:pt x="52" y="25"/>
                    <a:pt x="52" y="40"/>
                    <a:pt x="52" y="56"/>
                  </a:cubicBezTo>
                  <a:close/>
                  <a:moveTo>
                    <a:pt x="48" y="106"/>
                  </a:moveTo>
                  <a:cubicBezTo>
                    <a:pt x="48" y="90"/>
                    <a:pt x="48" y="74"/>
                    <a:pt x="48" y="59"/>
                  </a:cubicBezTo>
                  <a:cubicBezTo>
                    <a:pt x="32" y="59"/>
                    <a:pt x="16" y="59"/>
                    <a:pt x="0" y="59"/>
                  </a:cubicBezTo>
                  <a:cubicBezTo>
                    <a:pt x="0" y="72"/>
                    <a:pt x="0" y="86"/>
                    <a:pt x="0" y="99"/>
                  </a:cubicBezTo>
                  <a:cubicBezTo>
                    <a:pt x="16" y="101"/>
                    <a:pt x="32" y="103"/>
                    <a:pt x="48" y="106"/>
                  </a:cubicBezTo>
                  <a:close/>
                  <a:moveTo>
                    <a:pt x="195" y="37"/>
                  </a:moveTo>
                  <a:cubicBezTo>
                    <a:pt x="195" y="39"/>
                    <a:pt x="196" y="40"/>
                    <a:pt x="196" y="41"/>
                  </a:cubicBezTo>
                  <a:cubicBezTo>
                    <a:pt x="200" y="57"/>
                    <a:pt x="205" y="72"/>
                    <a:pt x="209" y="88"/>
                  </a:cubicBezTo>
                  <a:cubicBezTo>
                    <a:pt x="210" y="92"/>
                    <a:pt x="212" y="92"/>
                    <a:pt x="215" y="92"/>
                  </a:cubicBezTo>
                  <a:cubicBezTo>
                    <a:pt x="219" y="92"/>
                    <a:pt x="220" y="91"/>
                    <a:pt x="221" y="88"/>
                  </a:cubicBezTo>
                  <a:cubicBezTo>
                    <a:pt x="225" y="72"/>
                    <a:pt x="230" y="56"/>
                    <a:pt x="234" y="41"/>
                  </a:cubicBezTo>
                  <a:cubicBezTo>
                    <a:pt x="236" y="35"/>
                    <a:pt x="238" y="29"/>
                    <a:pt x="239" y="23"/>
                  </a:cubicBezTo>
                  <a:cubicBezTo>
                    <a:pt x="231" y="22"/>
                    <a:pt x="231" y="22"/>
                    <a:pt x="229" y="30"/>
                  </a:cubicBezTo>
                  <a:cubicBezTo>
                    <a:pt x="227" y="36"/>
                    <a:pt x="225" y="42"/>
                    <a:pt x="224" y="48"/>
                  </a:cubicBezTo>
                  <a:cubicBezTo>
                    <a:pt x="221" y="59"/>
                    <a:pt x="218" y="69"/>
                    <a:pt x="215" y="80"/>
                  </a:cubicBezTo>
                  <a:cubicBezTo>
                    <a:pt x="210" y="62"/>
                    <a:pt x="206" y="46"/>
                    <a:pt x="201" y="29"/>
                  </a:cubicBezTo>
                  <a:cubicBezTo>
                    <a:pt x="199" y="22"/>
                    <a:pt x="199" y="22"/>
                    <a:pt x="191" y="23"/>
                  </a:cubicBezTo>
                  <a:cubicBezTo>
                    <a:pt x="186" y="42"/>
                    <a:pt x="180" y="60"/>
                    <a:pt x="175" y="80"/>
                  </a:cubicBezTo>
                  <a:cubicBezTo>
                    <a:pt x="169" y="60"/>
                    <a:pt x="164" y="42"/>
                    <a:pt x="159" y="23"/>
                  </a:cubicBezTo>
                  <a:cubicBezTo>
                    <a:pt x="156" y="23"/>
                    <a:pt x="153" y="23"/>
                    <a:pt x="150" y="23"/>
                  </a:cubicBezTo>
                  <a:cubicBezTo>
                    <a:pt x="150" y="25"/>
                    <a:pt x="151" y="26"/>
                    <a:pt x="151" y="28"/>
                  </a:cubicBezTo>
                  <a:cubicBezTo>
                    <a:pt x="156" y="47"/>
                    <a:pt x="162" y="66"/>
                    <a:pt x="168" y="85"/>
                  </a:cubicBezTo>
                  <a:cubicBezTo>
                    <a:pt x="170" y="93"/>
                    <a:pt x="170" y="93"/>
                    <a:pt x="179" y="92"/>
                  </a:cubicBezTo>
                  <a:cubicBezTo>
                    <a:pt x="179" y="92"/>
                    <a:pt x="179" y="92"/>
                    <a:pt x="180" y="91"/>
                  </a:cubicBezTo>
                  <a:cubicBezTo>
                    <a:pt x="185" y="74"/>
                    <a:pt x="190" y="56"/>
                    <a:pt x="195" y="37"/>
                  </a:cubicBezTo>
                  <a:close/>
                  <a:moveTo>
                    <a:pt x="0" y="56"/>
                  </a:moveTo>
                  <a:cubicBezTo>
                    <a:pt x="16" y="56"/>
                    <a:pt x="32" y="56"/>
                    <a:pt x="48" y="56"/>
                  </a:cubicBezTo>
                  <a:cubicBezTo>
                    <a:pt x="48" y="40"/>
                    <a:pt x="48" y="25"/>
                    <a:pt x="48" y="9"/>
                  </a:cubicBezTo>
                  <a:cubicBezTo>
                    <a:pt x="32" y="11"/>
                    <a:pt x="16" y="13"/>
                    <a:pt x="0" y="16"/>
                  </a:cubicBezTo>
                  <a:cubicBezTo>
                    <a:pt x="0" y="29"/>
                    <a:pt x="0" y="43"/>
                    <a:pt x="0" y="56"/>
                  </a:cubicBezTo>
                  <a:close/>
                  <a:moveTo>
                    <a:pt x="467" y="88"/>
                  </a:moveTo>
                  <a:cubicBezTo>
                    <a:pt x="468" y="92"/>
                    <a:pt x="470" y="92"/>
                    <a:pt x="472" y="92"/>
                  </a:cubicBezTo>
                  <a:cubicBezTo>
                    <a:pt x="475" y="92"/>
                    <a:pt x="477" y="92"/>
                    <a:pt x="478" y="88"/>
                  </a:cubicBezTo>
                  <a:cubicBezTo>
                    <a:pt x="481" y="77"/>
                    <a:pt x="485" y="66"/>
                    <a:pt x="488" y="54"/>
                  </a:cubicBezTo>
                  <a:cubicBezTo>
                    <a:pt x="489" y="50"/>
                    <a:pt x="490" y="47"/>
                    <a:pt x="492" y="43"/>
                  </a:cubicBezTo>
                  <a:cubicBezTo>
                    <a:pt x="484" y="42"/>
                    <a:pt x="484" y="42"/>
                    <a:pt x="482" y="49"/>
                  </a:cubicBezTo>
                  <a:cubicBezTo>
                    <a:pt x="482" y="50"/>
                    <a:pt x="481" y="51"/>
                    <a:pt x="481" y="52"/>
                  </a:cubicBezTo>
                  <a:cubicBezTo>
                    <a:pt x="479" y="61"/>
                    <a:pt x="476" y="71"/>
                    <a:pt x="473" y="81"/>
                  </a:cubicBezTo>
                  <a:cubicBezTo>
                    <a:pt x="473" y="81"/>
                    <a:pt x="473" y="81"/>
                    <a:pt x="472" y="80"/>
                  </a:cubicBezTo>
                  <a:cubicBezTo>
                    <a:pt x="469" y="68"/>
                    <a:pt x="465" y="55"/>
                    <a:pt x="462" y="43"/>
                  </a:cubicBezTo>
                  <a:cubicBezTo>
                    <a:pt x="456" y="41"/>
                    <a:pt x="454" y="43"/>
                    <a:pt x="452" y="48"/>
                  </a:cubicBezTo>
                  <a:cubicBezTo>
                    <a:pt x="449" y="59"/>
                    <a:pt x="446" y="70"/>
                    <a:pt x="442" y="82"/>
                  </a:cubicBezTo>
                  <a:cubicBezTo>
                    <a:pt x="438" y="68"/>
                    <a:pt x="435" y="55"/>
                    <a:pt x="431" y="43"/>
                  </a:cubicBezTo>
                  <a:cubicBezTo>
                    <a:pt x="428" y="43"/>
                    <a:pt x="426" y="43"/>
                    <a:pt x="423" y="43"/>
                  </a:cubicBezTo>
                  <a:cubicBezTo>
                    <a:pt x="428" y="59"/>
                    <a:pt x="432" y="76"/>
                    <a:pt x="437" y="92"/>
                  </a:cubicBezTo>
                  <a:cubicBezTo>
                    <a:pt x="445" y="93"/>
                    <a:pt x="445" y="93"/>
                    <a:pt x="448" y="85"/>
                  </a:cubicBezTo>
                  <a:cubicBezTo>
                    <a:pt x="451" y="75"/>
                    <a:pt x="454" y="65"/>
                    <a:pt x="457" y="54"/>
                  </a:cubicBezTo>
                  <a:cubicBezTo>
                    <a:pt x="461" y="66"/>
                    <a:pt x="464" y="77"/>
                    <a:pt x="467" y="88"/>
                  </a:cubicBezTo>
                  <a:close/>
                  <a:moveTo>
                    <a:pt x="361" y="19"/>
                  </a:moveTo>
                  <a:cubicBezTo>
                    <a:pt x="359" y="19"/>
                    <a:pt x="356" y="19"/>
                    <a:pt x="353" y="19"/>
                  </a:cubicBezTo>
                  <a:cubicBezTo>
                    <a:pt x="353" y="24"/>
                    <a:pt x="353" y="28"/>
                    <a:pt x="353" y="33"/>
                  </a:cubicBezTo>
                  <a:cubicBezTo>
                    <a:pt x="353" y="38"/>
                    <a:pt x="353" y="42"/>
                    <a:pt x="353" y="47"/>
                  </a:cubicBezTo>
                  <a:cubicBezTo>
                    <a:pt x="353" y="47"/>
                    <a:pt x="352" y="47"/>
                    <a:pt x="352" y="47"/>
                  </a:cubicBezTo>
                  <a:cubicBezTo>
                    <a:pt x="340" y="37"/>
                    <a:pt x="324" y="41"/>
                    <a:pt x="318" y="56"/>
                  </a:cubicBezTo>
                  <a:cubicBezTo>
                    <a:pt x="315" y="63"/>
                    <a:pt x="315" y="70"/>
                    <a:pt x="317" y="78"/>
                  </a:cubicBezTo>
                  <a:cubicBezTo>
                    <a:pt x="320" y="90"/>
                    <a:pt x="331" y="96"/>
                    <a:pt x="343" y="92"/>
                  </a:cubicBezTo>
                  <a:cubicBezTo>
                    <a:pt x="347" y="91"/>
                    <a:pt x="350" y="88"/>
                    <a:pt x="353" y="86"/>
                  </a:cubicBezTo>
                  <a:cubicBezTo>
                    <a:pt x="353" y="88"/>
                    <a:pt x="354" y="90"/>
                    <a:pt x="354" y="92"/>
                  </a:cubicBezTo>
                  <a:cubicBezTo>
                    <a:pt x="356" y="92"/>
                    <a:pt x="359" y="92"/>
                    <a:pt x="361" y="92"/>
                  </a:cubicBezTo>
                  <a:cubicBezTo>
                    <a:pt x="361" y="67"/>
                    <a:pt x="361" y="43"/>
                    <a:pt x="361" y="19"/>
                  </a:cubicBezTo>
                  <a:close/>
                  <a:moveTo>
                    <a:pt x="352" y="77"/>
                  </a:moveTo>
                  <a:cubicBezTo>
                    <a:pt x="350" y="83"/>
                    <a:pt x="344" y="86"/>
                    <a:pt x="338" y="86"/>
                  </a:cubicBezTo>
                  <a:cubicBezTo>
                    <a:pt x="332" y="86"/>
                    <a:pt x="327" y="82"/>
                    <a:pt x="325" y="76"/>
                  </a:cubicBezTo>
                  <a:cubicBezTo>
                    <a:pt x="323" y="70"/>
                    <a:pt x="324" y="64"/>
                    <a:pt x="326" y="58"/>
                  </a:cubicBezTo>
                  <a:cubicBezTo>
                    <a:pt x="328" y="51"/>
                    <a:pt x="335" y="47"/>
                    <a:pt x="342" y="48"/>
                  </a:cubicBezTo>
                  <a:cubicBezTo>
                    <a:pt x="349" y="50"/>
                    <a:pt x="353" y="55"/>
                    <a:pt x="353" y="63"/>
                  </a:cubicBezTo>
                  <a:cubicBezTo>
                    <a:pt x="353" y="64"/>
                    <a:pt x="353" y="65"/>
                    <a:pt x="353" y="66"/>
                  </a:cubicBezTo>
                  <a:cubicBezTo>
                    <a:pt x="354" y="66"/>
                    <a:pt x="354" y="66"/>
                    <a:pt x="354" y="66"/>
                  </a:cubicBezTo>
                  <a:cubicBezTo>
                    <a:pt x="353" y="70"/>
                    <a:pt x="353" y="74"/>
                    <a:pt x="352" y="77"/>
                  </a:cubicBezTo>
                  <a:close/>
                  <a:moveTo>
                    <a:pt x="804" y="53"/>
                  </a:moveTo>
                  <a:cubicBezTo>
                    <a:pt x="801" y="46"/>
                    <a:pt x="796" y="42"/>
                    <a:pt x="789" y="42"/>
                  </a:cubicBezTo>
                  <a:cubicBezTo>
                    <a:pt x="777" y="40"/>
                    <a:pt x="768" y="46"/>
                    <a:pt x="765" y="57"/>
                  </a:cubicBezTo>
                  <a:cubicBezTo>
                    <a:pt x="760" y="69"/>
                    <a:pt x="764" y="84"/>
                    <a:pt x="773" y="90"/>
                  </a:cubicBezTo>
                  <a:cubicBezTo>
                    <a:pt x="775" y="91"/>
                    <a:pt x="777" y="92"/>
                    <a:pt x="779" y="92"/>
                  </a:cubicBezTo>
                  <a:cubicBezTo>
                    <a:pt x="785" y="92"/>
                    <a:pt x="791" y="92"/>
                    <a:pt x="797" y="91"/>
                  </a:cubicBezTo>
                  <a:cubicBezTo>
                    <a:pt x="803" y="90"/>
                    <a:pt x="803" y="88"/>
                    <a:pt x="802" y="82"/>
                  </a:cubicBezTo>
                  <a:cubicBezTo>
                    <a:pt x="784" y="90"/>
                    <a:pt x="773" y="86"/>
                    <a:pt x="772" y="69"/>
                  </a:cubicBezTo>
                  <a:cubicBezTo>
                    <a:pt x="783" y="69"/>
                    <a:pt x="794" y="69"/>
                    <a:pt x="807" y="69"/>
                  </a:cubicBezTo>
                  <a:cubicBezTo>
                    <a:pt x="806" y="63"/>
                    <a:pt x="805" y="58"/>
                    <a:pt x="804" y="53"/>
                  </a:cubicBezTo>
                  <a:close/>
                  <a:moveTo>
                    <a:pt x="786" y="48"/>
                  </a:moveTo>
                  <a:cubicBezTo>
                    <a:pt x="793" y="49"/>
                    <a:pt x="797" y="52"/>
                    <a:pt x="798" y="62"/>
                  </a:cubicBezTo>
                  <a:cubicBezTo>
                    <a:pt x="789" y="62"/>
                    <a:pt x="781" y="62"/>
                    <a:pt x="772" y="62"/>
                  </a:cubicBezTo>
                  <a:cubicBezTo>
                    <a:pt x="772" y="55"/>
                    <a:pt x="779" y="48"/>
                    <a:pt x="786" y="48"/>
                  </a:cubicBezTo>
                  <a:close/>
                  <a:moveTo>
                    <a:pt x="404" y="42"/>
                  </a:moveTo>
                  <a:cubicBezTo>
                    <a:pt x="389" y="39"/>
                    <a:pt x="373" y="44"/>
                    <a:pt x="371" y="64"/>
                  </a:cubicBezTo>
                  <a:cubicBezTo>
                    <a:pt x="369" y="78"/>
                    <a:pt x="377" y="90"/>
                    <a:pt x="389" y="93"/>
                  </a:cubicBezTo>
                  <a:cubicBezTo>
                    <a:pt x="407" y="96"/>
                    <a:pt x="420" y="85"/>
                    <a:pt x="420" y="67"/>
                  </a:cubicBezTo>
                  <a:cubicBezTo>
                    <a:pt x="420" y="54"/>
                    <a:pt x="414" y="45"/>
                    <a:pt x="404" y="42"/>
                  </a:cubicBezTo>
                  <a:close/>
                  <a:moveTo>
                    <a:pt x="392" y="86"/>
                  </a:moveTo>
                  <a:cubicBezTo>
                    <a:pt x="391" y="86"/>
                    <a:pt x="391" y="86"/>
                    <a:pt x="390" y="85"/>
                  </a:cubicBezTo>
                  <a:cubicBezTo>
                    <a:pt x="382" y="83"/>
                    <a:pt x="377" y="72"/>
                    <a:pt x="380" y="60"/>
                  </a:cubicBezTo>
                  <a:cubicBezTo>
                    <a:pt x="383" y="51"/>
                    <a:pt x="391" y="46"/>
                    <a:pt x="400" y="49"/>
                  </a:cubicBezTo>
                  <a:cubicBezTo>
                    <a:pt x="408" y="51"/>
                    <a:pt x="411" y="57"/>
                    <a:pt x="411" y="68"/>
                  </a:cubicBezTo>
                  <a:cubicBezTo>
                    <a:pt x="411" y="81"/>
                    <a:pt x="404" y="88"/>
                    <a:pt x="392" y="86"/>
                  </a:cubicBezTo>
                  <a:close/>
                  <a:moveTo>
                    <a:pt x="660" y="77"/>
                  </a:moveTo>
                  <a:cubicBezTo>
                    <a:pt x="661" y="89"/>
                    <a:pt x="669" y="95"/>
                    <a:pt x="681" y="93"/>
                  </a:cubicBezTo>
                  <a:cubicBezTo>
                    <a:pt x="685" y="92"/>
                    <a:pt x="689" y="89"/>
                    <a:pt x="692" y="87"/>
                  </a:cubicBezTo>
                  <a:cubicBezTo>
                    <a:pt x="693" y="88"/>
                    <a:pt x="693" y="90"/>
                    <a:pt x="693" y="91"/>
                  </a:cubicBezTo>
                  <a:cubicBezTo>
                    <a:pt x="696" y="91"/>
                    <a:pt x="698" y="91"/>
                    <a:pt x="701" y="91"/>
                  </a:cubicBezTo>
                  <a:cubicBezTo>
                    <a:pt x="701" y="75"/>
                    <a:pt x="701" y="59"/>
                    <a:pt x="701" y="43"/>
                  </a:cubicBezTo>
                  <a:cubicBezTo>
                    <a:pt x="698" y="43"/>
                    <a:pt x="695" y="43"/>
                    <a:pt x="693" y="43"/>
                  </a:cubicBezTo>
                  <a:cubicBezTo>
                    <a:pt x="693" y="52"/>
                    <a:pt x="693" y="61"/>
                    <a:pt x="693" y="69"/>
                  </a:cubicBezTo>
                  <a:cubicBezTo>
                    <a:pt x="692" y="72"/>
                    <a:pt x="692" y="76"/>
                    <a:pt x="691" y="79"/>
                  </a:cubicBezTo>
                  <a:cubicBezTo>
                    <a:pt x="689" y="84"/>
                    <a:pt x="684" y="87"/>
                    <a:pt x="677" y="86"/>
                  </a:cubicBezTo>
                  <a:cubicBezTo>
                    <a:pt x="672" y="85"/>
                    <a:pt x="669" y="82"/>
                    <a:pt x="668" y="75"/>
                  </a:cubicBezTo>
                  <a:cubicBezTo>
                    <a:pt x="668" y="73"/>
                    <a:pt x="668" y="71"/>
                    <a:pt x="668" y="68"/>
                  </a:cubicBezTo>
                  <a:cubicBezTo>
                    <a:pt x="668" y="60"/>
                    <a:pt x="668" y="51"/>
                    <a:pt x="668" y="43"/>
                  </a:cubicBezTo>
                  <a:cubicBezTo>
                    <a:pt x="665" y="43"/>
                    <a:pt x="663" y="43"/>
                    <a:pt x="660" y="43"/>
                  </a:cubicBezTo>
                  <a:cubicBezTo>
                    <a:pt x="660" y="54"/>
                    <a:pt x="659" y="65"/>
                    <a:pt x="660" y="77"/>
                  </a:cubicBezTo>
                  <a:close/>
                  <a:moveTo>
                    <a:pt x="722" y="64"/>
                  </a:moveTo>
                  <a:cubicBezTo>
                    <a:pt x="722" y="61"/>
                    <a:pt x="723" y="59"/>
                    <a:pt x="724" y="56"/>
                  </a:cubicBezTo>
                  <a:cubicBezTo>
                    <a:pt x="726" y="51"/>
                    <a:pt x="732" y="48"/>
                    <a:pt x="737" y="48"/>
                  </a:cubicBezTo>
                  <a:cubicBezTo>
                    <a:pt x="742" y="49"/>
                    <a:pt x="746" y="53"/>
                    <a:pt x="746" y="59"/>
                  </a:cubicBezTo>
                  <a:cubicBezTo>
                    <a:pt x="747" y="64"/>
                    <a:pt x="747" y="68"/>
                    <a:pt x="747" y="72"/>
                  </a:cubicBezTo>
                  <a:cubicBezTo>
                    <a:pt x="747" y="78"/>
                    <a:pt x="747" y="85"/>
                    <a:pt x="747" y="91"/>
                  </a:cubicBezTo>
                  <a:cubicBezTo>
                    <a:pt x="750" y="91"/>
                    <a:pt x="752" y="91"/>
                    <a:pt x="755" y="91"/>
                  </a:cubicBezTo>
                  <a:cubicBezTo>
                    <a:pt x="755" y="86"/>
                    <a:pt x="755" y="80"/>
                    <a:pt x="755" y="74"/>
                  </a:cubicBezTo>
                  <a:cubicBezTo>
                    <a:pt x="755" y="67"/>
                    <a:pt x="755" y="61"/>
                    <a:pt x="754" y="54"/>
                  </a:cubicBezTo>
                  <a:cubicBezTo>
                    <a:pt x="752" y="46"/>
                    <a:pt x="747" y="42"/>
                    <a:pt x="738" y="41"/>
                  </a:cubicBezTo>
                  <a:cubicBezTo>
                    <a:pt x="732" y="41"/>
                    <a:pt x="727" y="44"/>
                    <a:pt x="722" y="49"/>
                  </a:cubicBezTo>
                  <a:cubicBezTo>
                    <a:pt x="722" y="47"/>
                    <a:pt x="722" y="45"/>
                    <a:pt x="722" y="43"/>
                  </a:cubicBezTo>
                  <a:cubicBezTo>
                    <a:pt x="719" y="43"/>
                    <a:pt x="717" y="43"/>
                    <a:pt x="714" y="43"/>
                  </a:cubicBezTo>
                  <a:cubicBezTo>
                    <a:pt x="714" y="59"/>
                    <a:pt x="714" y="75"/>
                    <a:pt x="714" y="91"/>
                  </a:cubicBezTo>
                  <a:cubicBezTo>
                    <a:pt x="717" y="91"/>
                    <a:pt x="719" y="91"/>
                    <a:pt x="722" y="91"/>
                  </a:cubicBezTo>
                  <a:cubicBezTo>
                    <a:pt x="722" y="82"/>
                    <a:pt x="722" y="73"/>
                    <a:pt x="722" y="64"/>
                  </a:cubicBezTo>
                  <a:close/>
                  <a:moveTo>
                    <a:pt x="585" y="91"/>
                  </a:moveTo>
                  <a:cubicBezTo>
                    <a:pt x="585" y="82"/>
                    <a:pt x="585" y="73"/>
                    <a:pt x="586" y="65"/>
                  </a:cubicBezTo>
                  <a:cubicBezTo>
                    <a:pt x="586" y="61"/>
                    <a:pt x="587" y="56"/>
                    <a:pt x="589" y="53"/>
                  </a:cubicBezTo>
                  <a:cubicBezTo>
                    <a:pt x="592" y="49"/>
                    <a:pt x="597" y="48"/>
                    <a:pt x="602" y="49"/>
                  </a:cubicBezTo>
                  <a:cubicBezTo>
                    <a:pt x="607" y="50"/>
                    <a:pt x="609" y="53"/>
                    <a:pt x="610" y="58"/>
                  </a:cubicBezTo>
                  <a:cubicBezTo>
                    <a:pt x="610" y="61"/>
                    <a:pt x="610" y="64"/>
                    <a:pt x="610" y="66"/>
                  </a:cubicBezTo>
                  <a:cubicBezTo>
                    <a:pt x="610" y="75"/>
                    <a:pt x="610" y="83"/>
                    <a:pt x="610" y="91"/>
                  </a:cubicBezTo>
                  <a:cubicBezTo>
                    <a:pt x="613" y="91"/>
                    <a:pt x="616" y="91"/>
                    <a:pt x="618" y="91"/>
                  </a:cubicBezTo>
                  <a:cubicBezTo>
                    <a:pt x="618" y="79"/>
                    <a:pt x="618" y="67"/>
                    <a:pt x="617" y="55"/>
                  </a:cubicBezTo>
                  <a:cubicBezTo>
                    <a:pt x="617" y="46"/>
                    <a:pt x="611" y="42"/>
                    <a:pt x="601" y="41"/>
                  </a:cubicBezTo>
                  <a:cubicBezTo>
                    <a:pt x="595" y="41"/>
                    <a:pt x="590" y="44"/>
                    <a:pt x="586" y="49"/>
                  </a:cubicBezTo>
                  <a:cubicBezTo>
                    <a:pt x="585" y="47"/>
                    <a:pt x="585" y="45"/>
                    <a:pt x="585" y="43"/>
                  </a:cubicBezTo>
                  <a:cubicBezTo>
                    <a:pt x="582" y="43"/>
                    <a:pt x="580" y="43"/>
                    <a:pt x="577" y="43"/>
                  </a:cubicBezTo>
                  <a:cubicBezTo>
                    <a:pt x="577" y="59"/>
                    <a:pt x="577" y="75"/>
                    <a:pt x="577" y="91"/>
                  </a:cubicBezTo>
                  <a:cubicBezTo>
                    <a:pt x="580" y="91"/>
                    <a:pt x="583" y="91"/>
                    <a:pt x="585" y="91"/>
                  </a:cubicBezTo>
                  <a:close/>
                  <a:moveTo>
                    <a:pt x="266" y="92"/>
                  </a:moveTo>
                  <a:cubicBezTo>
                    <a:pt x="269" y="92"/>
                    <a:pt x="271" y="92"/>
                    <a:pt x="274" y="92"/>
                  </a:cubicBezTo>
                  <a:cubicBezTo>
                    <a:pt x="274" y="89"/>
                    <a:pt x="274" y="87"/>
                    <a:pt x="274" y="85"/>
                  </a:cubicBezTo>
                  <a:cubicBezTo>
                    <a:pt x="274" y="77"/>
                    <a:pt x="274" y="69"/>
                    <a:pt x="274" y="62"/>
                  </a:cubicBezTo>
                  <a:cubicBezTo>
                    <a:pt x="274" y="54"/>
                    <a:pt x="280" y="48"/>
                    <a:pt x="287" y="48"/>
                  </a:cubicBezTo>
                  <a:cubicBezTo>
                    <a:pt x="294" y="48"/>
                    <a:pt x="297" y="52"/>
                    <a:pt x="298" y="60"/>
                  </a:cubicBezTo>
                  <a:cubicBezTo>
                    <a:pt x="299" y="66"/>
                    <a:pt x="299" y="72"/>
                    <a:pt x="299" y="78"/>
                  </a:cubicBezTo>
                  <a:cubicBezTo>
                    <a:pt x="299" y="82"/>
                    <a:pt x="299" y="87"/>
                    <a:pt x="299" y="92"/>
                  </a:cubicBezTo>
                  <a:cubicBezTo>
                    <a:pt x="302" y="92"/>
                    <a:pt x="304" y="92"/>
                    <a:pt x="307" y="92"/>
                  </a:cubicBezTo>
                  <a:cubicBezTo>
                    <a:pt x="307" y="82"/>
                    <a:pt x="307" y="72"/>
                    <a:pt x="307" y="63"/>
                  </a:cubicBezTo>
                  <a:cubicBezTo>
                    <a:pt x="307" y="61"/>
                    <a:pt x="307" y="59"/>
                    <a:pt x="306" y="57"/>
                  </a:cubicBezTo>
                  <a:cubicBezTo>
                    <a:pt x="305" y="46"/>
                    <a:pt x="298" y="39"/>
                    <a:pt x="287" y="42"/>
                  </a:cubicBezTo>
                  <a:cubicBezTo>
                    <a:pt x="282" y="43"/>
                    <a:pt x="278" y="46"/>
                    <a:pt x="274" y="48"/>
                  </a:cubicBezTo>
                  <a:cubicBezTo>
                    <a:pt x="274" y="47"/>
                    <a:pt x="274" y="45"/>
                    <a:pt x="274" y="43"/>
                  </a:cubicBezTo>
                  <a:cubicBezTo>
                    <a:pt x="271" y="43"/>
                    <a:pt x="269" y="43"/>
                    <a:pt x="266" y="43"/>
                  </a:cubicBezTo>
                  <a:cubicBezTo>
                    <a:pt x="266" y="59"/>
                    <a:pt x="266" y="75"/>
                    <a:pt x="266" y="92"/>
                  </a:cubicBezTo>
                  <a:close/>
                  <a:moveTo>
                    <a:pt x="515" y="41"/>
                  </a:moveTo>
                  <a:cubicBezTo>
                    <a:pt x="513" y="41"/>
                    <a:pt x="512" y="41"/>
                    <a:pt x="510" y="41"/>
                  </a:cubicBezTo>
                  <a:cubicBezTo>
                    <a:pt x="502" y="42"/>
                    <a:pt x="496" y="47"/>
                    <a:pt x="495" y="54"/>
                  </a:cubicBezTo>
                  <a:cubicBezTo>
                    <a:pt x="494" y="60"/>
                    <a:pt x="497" y="66"/>
                    <a:pt x="505" y="69"/>
                  </a:cubicBezTo>
                  <a:cubicBezTo>
                    <a:pt x="508" y="71"/>
                    <a:pt x="512" y="72"/>
                    <a:pt x="514" y="74"/>
                  </a:cubicBezTo>
                  <a:cubicBezTo>
                    <a:pt x="516" y="76"/>
                    <a:pt x="517" y="79"/>
                    <a:pt x="517" y="81"/>
                  </a:cubicBezTo>
                  <a:cubicBezTo>
                    <a:pt x="516" y="83"/>
                    <a:pt x="514" y="85"/>
                    <a:pt x="512" y="86"/>
                  </a:cubicBezTo>
                  <a:cubicBezTo>
                    <a:pt x="510" y="86"/>
                    <a:pt x="507" y="86"/>
                    <a:pt x="505" y="86"/>
                  </a:cubicBezTo>
                  <a:cubicBezTo>
                    <a:pt x="502" y="85"/>
                    <a:pt x="498" y="84"/>
                    <a:pt x="495" y="82"/>
                  </a:cubicBezTo>
                  <a:cubicBezTo>
                    <a:pt x="494" y="91"/>
                    <a:pt x="495" y="92"/>
                    <a:pt x="503" y="93"/>
                  </a:cubicBezTo>
                  <a:cubicBezTo>
                    <a:pt x="507" y="93"/>
                    <a:pt x="512" y="93"/>
                    <a:pt x="515" y="92"/>
                  </a:cubicBezTo>
                  <a:cubicBezTo>
                    <a:pt x="521" y="90"/>
                    <a:pt x="524" y="86"/>
                    <a:pt x="525" y="81"/>
                  </a:cubicBezTo>
                  <a:cubicBezTo>
                    <a:pt x="526" y="74"/>
                    <a:pt x="524" y="70"/>
                    <a:pt x="518" y="67"/>
                  </a:cubicBezTo>
                  <a:cubicBezTo>
                    <a:pt x="515" y="65"/>
                    <a:pt x="511" y="63"/>
                    <a:pt x="508" y="62"/>
                  </a:cubicBezTo>
                  <a:cubicBezTo>
                    <a:pt x="504" y="60"/>
                    <a:pt x="503" y="57"/>
                    <a:pt x="504" y="53"/>
                  </a:cubicBezTo>
                  <a:cubicBezTo>
                    <a:pt x="504" y="50"/>
                    <a:pt x="507" y="48"/>
                    <a:pt x="511" y="48"/>
                  </a:cubicBezTo>
                  <a:cubicBezTo>
                    <a:pt x="515" y="49"/>
                    <a:pt x="519" y="50"/>
                    <a:pt x="523" y="50"/>
                  </a:cubicBezTo>
                  <a:cubicBezTo>
                    <a:pt x="523" y="43"/>
                    <a:pt x="523" y="42"/>
                    <a:pt x="515" y="41"/>
                  </a:cubicBezTo>
                  <a:close/>
                  <a:moveTo>
                    <a:pt x="642" y="81"/>
                  </a:moveTo>
                  <a:cubicBezTo>
                    <a:pt x="641" y="70"/>
                    <a:pt x="641" y="60"/>
                    <a:pt x="641" y="49"/>
                  </a:cubicBezTo>
                  <a:cubicBezTo>
                    <a:pt x="645" y="49"/>
                    <a:pt x="649" y="49"/>
                    <a:pt x="653" y="49"/>
                  </a:cubicBezTo>
                  <a:cubicBezTo>
                    <a:pt x="653" y="47"/>
                    <a:pt x="653" y="45"/>
                    <a:pt x="653" y="42"/>
                  </a:cubicBezTo>
                  <a:cubicBezTo>
                    <a:pt x="649" y="42"/>
                    <a:pt x="645" y="42"/>
                    <a:pt x="641" y="42"/>
                  </a:cubicBezTo>
                  <a:cubicBezTo>
                    <a:pt x="641" y="38"/>
                    <a:pt x="641" y="33"/>
                    <a:pt x="641" y="29"/>
                  </a:cubicBezTo>
                  <a:cubicBezTo>
                    <a:pt x="629" y="28"/>
                    <a:pt x="634" y="37"/>
                    <a:pt x="632" y="42"/>
                  </a:cubicBezTo>
                  <a:cubicBezTo>
                    <a:pt x="630" y="42"/>
                    <a:pt x="627" y="43"/>
                    <a:pt x="625" y="43"/>
                  </a:cubicBezTo>
                  <a:cubicBezTo>
                    <a:pt x="625" y="45"/>
                    <a:pt x="625" y="47"/>
                    <a:pt x="625" y="49"/>
                  </a:cubicBezTo>
                  <a:cubicBezTo>
                    <a:pt x="627" y="49"/>
                    <a:pt x="630" y="49"/>
                    <a:pt x="633" y="50"/>
                  </a:cubicBezTo>
                  <a:cubicBezTo>
                    <a:pt x="633" y="51"/>
                    <a:pt x="633" y="53"/>
                    <a:pt x="633" y="55"/>
                  </a:cubicBezTo>
                  <a:cubicBezTo>
                    <a:pt x="633" y="63"/>
                    <a:pt x="633" y="72"/>
                    <a:pt x="633" y="80"/>
                  </a:cubicBezTo>
                  <a:cubicBezTo>
                    <a:pt x="633" y="89"/>
                    <a:pt x="638" y="93"/>
                    <a:pt x="647" y="93"/>
                  </a:cubicBezTo>
                  <a:cubicBezTo>
                    <a:pt x="653" y="93"/>
                    <a:pt x="654" y="92"/>
                    <a:pt x="653" y="85"/>
                  </a:cubicBezTo>
                  <a:cubicBezTo>
                    <a:pt x="646" y="87"/>
                    <a:pt x="642" y="86"/>
                    <a:pt x="642" y="81"/>
                  </a:cubicBezTo>
                  <a:close/>
                  <a:moveTo>
                    <a:pt x="563" y="91"/>
                  </a:moveTo>
                  <a:cubicBezTo>
                    <a:pt x="563" y="69"/>
                    <a:pt x="563" y="46"/>
                    <a:pt x="563" y="23"/>
                  </a:cubicBezTo>
                  <a:cubicBezTo>
                    <a:pt x="560" y="23"/>
                    <a:pt x="557" y="23"/>
                    <a:pt x="555" y="23"/>
                  </a:cubicBezTo>
                  <a:cubicBezTo>
                    <a:pt x="555" y="46"/>
                    <a:pt x="555" y="69"/>
                    <a:pt x="555" y="91"/>
                  </a:cubicBezTo>
                  <a:cubicBezTo>
                    <a:pt x="558" y="91"/>
                    <a:pt x="560" y="91"/>
                    <a:pt x="563" y="91"/>
                  </a:cubicBezTo>
                  <a:close/>
                  <a:moveTo>
                    <a:pt x="246" y="92"/>
                  </a:moveTo>
                  <a:cubicBezTo>
                    <a:pt x="249" y="92"/>
                    <a:pt x="251" y="92"/>
                    <a:pt x="253" y="92"/>
                  </a:cubicBezTo>
                  <a:cubicBezTo>
                    <a:pt x="253" y="75"/>
                    <a:pt x="253" y="59"/>
                    <a:pt x="253" y="43"/>
                  </a:cubicBezTo>
                  <a:cubicBezTo>
                    <a:pt x="251" y="43"/>
                    <a:pt x="249" y="43"/>
                    <a:pt x="246" y="43"/>
                  </a:cubicBezTo>
                  <a:cubicBezTo>
                    <a:pt x="246" y="59"/>
                    <a:pt x="246" y="76"/>
                    <a:pt x="246" y="92"/>
                  </a:cubicBezTo>
                  <a:close/>
                  <a:moveTo>
                    <a:pt x="251" y="32"/>
                  </a:moveTo>
                  <a:cubicBezTo>
                    <a:pt x="252" y="30"/>
                    <a:pt x="254" y="29"/>
                    <a:pt x="255" y="27"/>
                  </a:cubicBezTo>
                  <a:cubicBezTo>
                    <a:pt x="256" y="23"/>
                    <a:pt x="253" y="21"/>
                    <a:pt x="250" y="21"/>
                  </a:cubicBezTo>
                  <a:cubicBezTo>
                    <a:pt x="247" y="21"/>
                    <a:pt x="244" y="23"/>
                    <a:pt x="245" y="26"/>
                  </a:cubicBezTo>
                  <a:cubicBezTo>
                    <a:pt x="245" y="28"/>
                    <a:pt x="247" y="30"/>
                    <a:pt x="248" y="32"/>
                  </a:cubicBezTo>
                  <a:cubicBezTo>
                    <a:pt x="249" y="32"/>
                    <a:pt x="250" y="32"/>
                    <a:pt x="251" y="32"/>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ln>
                  <a:solidFill>
                    <a:srgbClr val="FFFFFF"/>
                  </a:solidFill>
                </a:ln>
                <a:solidFill>
                  <a:srgbClr val="FFFFFF"/>
                </a:solidFill>
              </a:endParaRPr>
            </a:p>
          </p:txBody>
        </p:sp>
        <p:sp>
          <p:nvSpPr>
            <p:cNvPr id="27" name="Freeform 13"/>
            <p:cNvSpPr>
              <a:spLocks noEditPoints="1"/>
            </p:cNvSpPr>
            <p:nvPr/>
          </p:nvSpPr>
          <p:spPr bwMode="auto">
            <a:xfrm>
              <a:off x="824453" y="4269317"/>
              <a:ext cx="4061925" cy="313208"/>
            </a:xfrm>
            <a:custGeom>
              <a:avLst/>
              <a:gdLst>
                <a:gd name="T0" fmla="*/ 905 w 1754"/>
                <a:gd name="T1" fmla="*/ 38 h 133"/>
                <a:gd name="T2" fmla="*/ 1676 w 1754"/>
                <a:gd name="T3" fmla="*/ 52 h 133"/>
                <a:gd name="T4" fmla="*/ 1678 w 1754"/>
                <a:gd name="T5" fmla="*/ 80 h 133"/>
                <a:gd name="T6" fmla="*/ 1453 w 1754"/>
                <a:gd name="T7" fmla="*/ 100 h 133"/>
                <a:gd name="T8" fmla="*/ 971 w 1754"/>
                <a:gd name="T9" fmla="*/ 14 h 133"/>
                <a:gd name="T10" fmla="*/ 1018 w 1754"/>
                <a:gd name="T11" fmla="*/ 88 h 133"/>
                <a:gd name="T12" fmla="*/ 1082 w 1754"/>
                <a:gd name="T13" fmla="*/ 98 h 133"/>
                <a:gd name="T14" fmla="*/ 1030 w 1754"/>
                <a:gd name="T15" fmla="*/ 76 h 133"/>
                <a:gd name="T16" fmla="*/ 763 w 1754"/>
                <a:gd name="T17" fmla="*/ 86 h 133"/>
                <a:gd name="T18" fmla="*/ 1265 w 1754"/>
                <a:gd name="T19" fmla="*/ 58 h 133"/>
                <a:gd name="T20" fmla="*/ 1256 w 1754"/>
                <a:gd name="T21" fmla="*/ 100 h 133"/>
                <a:gd name="T22" fmla="*/ 582 w 1754"/>
                <a:gd name="T23" fmla="*/ 20 h 133"/>
                <a:gd name="T24" fmla="*/ 1564 w 1754"/>
                <a:gd name="T25" fmla="*/ 7 h 133"/>
                <a:gd name="T26" fmla="*/ 1538 w 1754"/>
                <a:gd name="T27" fmla="*/ 71 h 133"/>
                <a:gd name="T28" fmla="*/ 1746 w 1754"/>
                <a:gd name="T29" fmla="*/ 16 h 133"/>
                <a:gd name="T30" fmla="*/ 1718 w 1754"/>
                <a:gd name="T31" fmla="*/ 62 h 133"/>
                <a:gd name="T32" fmla="*/ 1748 w 1754"/>
                <a:gd name="T33" fmla="*/ 44 h 133"/>
                <a:gd name="T34" fmla="*/ 1377 w 1754"/>
                <a:gd name="T35" fmla="*/ 65 h 133"/>
                <a:gd name="T36" fmla="*/ 1381 w 1754"/>
                <a:gd name="T37" fmla="*/ 19 h 133"/>
                <a:gd name="T38" fmla="*/ 653 w 1754"/>
                <a:gd name="T39" fmla="*/ 41 h 133"/>
                <a:gd name="T40" fmla="*/ 598 w 1754"/>
                <a:gd name="T41" fmla="*/ 50 h 133"/>
                <a:gd name="T42" fmla="*/ 1114 w 1754"/>
                <a:gd name="T43" fmla="*/ 41 h 133"/>
                <a:gd name="T44" fmla="*/ 668 w 1754"/>
                <a:gd name="T45" fmla="*/ 36 h 133"/>
                <a:gd name="T46" fmla="*/ 696 w 1754"/>
                <a:gd name="T47" fmla="*/ 95 h 133"/>
                <a:gd name="T48" fmla="*/ 723 w 1754"/>
                <a:gd name="T49" fmla="*/ 101 h 133"/>
                <a:gd name="T50" fmla="*/ 201 w 1754"/>
                <a:gd name="T51" fmla="*/ 36 h 133"/>
                <a:gd name="T52" fmla="*/ 1174 w 1754"/>
                <a:gd name="T53" fmla="*/ 84 h 133"/>
                <a:gd name="T54" fmla="*/ 697 w 1754"/>
                <a:gd name="T55" fmla="*/ 46 h 133"/>
                <a:gd name="T56" fmla="*/ 1410 w 1754"/>
                <a:gd name="T57" fmla="*/ 69 h 133"/>
                <a:gd name="T58" fmla="*/ 963 w 1754"/>
                <a:gd name="T59" fmla="*/ 49 h 133"/>
                <a:gd name="T60" fmla="*/ 986 w 1754"/>
                <a:gd name="T61" fmla="*/ 103 h 133"/>
                <a:gd name="T62" fmla="*/ 1424 w 1754"/>
                <a:gd name="T63" fmla="*/ 11 h 133"/>
                <a:gd name="T64" fmla="*/ 754 w 1754"/>
                <a:gd name="T65" fmla="*/ 92 h 133"/>
                <a:gd name="T66" fmla="*/ 1377 w 1754"/>
                <a:gd name="T67" fmla="*/ 17 h 133"/>
                <a:gd name="T68" fmla="*/ 964 w 1754"/>
                <a:gd name="T69" fmla="*/ 41 h 133"/>
                <a:gd name="T70" fmla="*/ 1015 w 1754"/>
                <a:gd name="T71" fmla="*/ 90 h 133"/>
                <a:gd name="T72" fmla="*/ 603 w 1754"/>
                <a:gd name="T73" fmla="*/ 123 h 133"/>
                <a:gd name="T74" fmla="*/ 1356 w 1754"/>
                <a:gd name="T75" fmla="*/ 19 h 133"/>
                <a:gd name="T76" fmla="*/ 1261 w 1754"/>
                <a:gd name="T77" fmla="*/ 45 h 133"/>
                <a:gd name="T78" fmla="*/ 788 w 1754"/>
                <a:gd name="T79" fmla="*/ 34 h 133"/>
                <a:gd name="T80" fmla="*/ 966 w 1754"/>
                <a:gd name="T81" fmla="*/ 36 h 133"/>
                <a:gd name="T82" fmla="*/ 689 w 1754"/>
                <a:gd name="T83" fmla="*/ 67 h 133"/>
                <a:gd name="T84" fmla="*/ 966 w 1754"/>
                <a:gd name="T85" fmla="*/ 73 h 133"/>
                <a:gd name="T86" fmla="*/ 1677 w 1754"/>
                <a:gd name="T87" fmla="*/ 78 h 133"/>
                <a:gd name="T88" fmla="*/ 1355 w 1754"/>
                <a:gd name="T89" fmla="*/ 9 h 133"/>
                <a:gd name="T90" fmla="*/ 1212 w 1754"/>
                <a:gd name="T91" fmla="*/ 49 h 133"/>
                <a:gd name="T92" fmla="*/ 639 w 1754"/>
                <a:gd name="T93" fmla="*/ 49 h 133"/>
                <a:gd name="T94" fmla="*/ 740 w 1754"/>
                <a:gd name="T95" fmla="*/ 93 h 133"/>
                <a:gd name="T96" fmla="*/ 1260 w 1754"/>
                <a:gd name="T97" fmla="*/ 98 h 133"/>
                <a:gd name="T98" fmla="*/ 800 w 1754"/>
                <a:gd name="T99" fmla="*/ 43 h 133"/>
                <a:gd name="T100" fmla="*/ 606 w 1754"/>
                <a:gd name="T101" fmla="*/ 40 h 133"/>
                <a:gd name="T102" fmla="*/ 1041 w 1754"/>
                <a:gd name="T103" fmla="*/ 39 h 133"/>
                <a:gd name="T104" fmla="*/ 1360 w 1754"/>
                <a:gd name="T105" fmla="*/ 78 h 133"/>
                <a:gd name="T106" fmla="*/ 1139 w 1754"/>
                <a:gd name="T107" fmla="*/ 45 h 133"/>
                <a:gd name="T108" fmla="*/ 1563 w 1754"/>
                <a:gd name="T109" fmla="*/ 50 h 133"/>
                <a:gd name="T110" fmla="*/ 1571 w 1754"/>
                <a:gd name="T111" fmla="*/ 57 h 133"/>
                <a:gd name="T112" fmla="*/ 579 w 1754"/>
                <a:gd name="T113" fmla="*/ 58 h 133"/>
                <a:gd name="T114" fmla="*/ 585 w 1754"/>
                <a:gd name="T115" fmla="*/ 92 h 133"/>
                <a:gd name="T116" fmla="*/ 1654 w 1754"/>
                <a:gd name="T117" fmla="*/ 63 h 133"/>
                <a:gd name="T118" fmla="*/ 1422 w 1754"/>
                <a:gd name="T119" fmla="*/ 97 h 133"/>
                <a:gd name="T120" fmla="*/ 720 w 1754"/>
                <a:gd name="T121" fmla="*/ 99 h 133"/>
                <a:gd name="T122" fmla="*/ 1700 w 1754"/>
                <a:gd name="T123" fmla="*/ 26 h 133"/>
                <a:gd name="T124" fmla="*/ 795 w 1754"/>
                <a:gd name="T125" fmla="*/ 37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54" h="133">
                  <a:moveTo>
                    <a:pt x="48" y="83"/>
                  </a:moveTo>
                  <a:cubicBezTo>
                    <a:pt x="49" y="82"/>
                    <a:pt x="49" y="82"/>
                    <a:pt x="49" y="81"/>
                  </a:cubicBezTo>
                  <a:cubicBezTo>
                    <a:pt x="60" y="57"/>
                    <a:pt x="71" y="33"/>
                    <a:pt x="82" y="9"/>
                  </a:cubicBezTo>
                  <a:cubicBezTo>
                    <a:pt x="82" y="9"/>
                    <a:pt x="82" y="9"/>
                    <a:pt x="82" y="8"/>
                  </a:cubicBezTo>
                  <a:cubicBezTo>
                    <a:pt x="82" y="8"/>
                    <a:pt x="83" y="7"/>
                    <a:pt x="83" y="7"/>
                  </a:cubicBezTo>
                  <a:cubicBezTo>
                    <a:pt x="87" y="7"/>
                    <a:pt x="91" y="7"/>
                    <a:pt x="95" y="7"/>
                  </a:cubicBezTo>
                  <a:cubicBezTo>
                    <a:pt x="96" y="7"/>
                    <a:pt x="96" y="8"/>
                    <a:pt x="96" y="9"/>
                  </a:cubicBezTo>
                  <a:cubicBezTo>
                    <a:pt x="96" y="9"/>
                    <a:pt x="96" y="9"/>
                    <a:pt x="96" y="10"/>
                  </a:cubicBezTo>
                  <a:cubicBezTo>
                    <a:pt x="96" y="40"/>
                    <a:pt x="96" y="69"/>
                    <a:pt x="96" y="99"/>
                  </a:cubicBezTo>
                  <a:cubicBezTo>
                    <a:pt x="96" y="102"/>
                    <a:pt x="97" y="101"/>
                    <a:pt x="94" y="101"/>
                  </a:cubicBezTo>
                  <a:cubicBezTo>
                    <a:pt x="91" y="102"/>
                    <a:pt x="89" y="101"/>
                    <a:pt x="86" y="101"/>
                  </a:cubicBezTo>
                  <a:cubicBezTo>
                    <a:pt x="85" y="102"/>
                    <a:pt x="85" y="101"/>
                    <a:pt x="85" y="101"/>
                  </a:cubicBezTo>
                  <a:cubicBezTo>
                    <a:pt x="85" y="100"/>
                    <a:pt x="85" y="100"/>
                    <a:pt x="85" y="99"/>
                  </a:cubicBezTo>
                  <a:cubicBezTo>
                    <a:pt x="85" y="75"/>
                    <a:pt x="85" y="51"/>
                    <a:pt x="85" y="27"/>
                  </a:cubicBezTo>
                  <a:cubicBezTo>
                    <a:pt x="85" y="27"/>
                    <a:pt x="85" y="26"/>
                    <a:pt x="85" y="25"/>
                  </a:cubicBezTo>
                  <a:cubicBezTo>
                    <a:pt x="84" y="26"/>
                    <a:pt x="84" y="26"/>
                    <a:pt x="84" y="27"/>
                  </a:cubicBezTo>
                  <a:cubicBezTo>
                    <a:pt x="73" y="51"/>
                    <a:pt x="63" y="75"/>
                    <a:pt x="52" y="100"/>
                  </a:cubicBezTo>
                  <a:cubicBezTo>
                    <a:pt x="52" y="100"/>
                    <a:pt x="52" y="100"/>
                    <a:pt x="51" y="101"/>
                  </a:cubicBezTo>
                  <a:cubicBezTo>
                    <a:pt x="51" y="101"/>
                    <a:pt x="51" y="102"/>
                    <a:pt x="50" y="101"/>
                  </a:cubicBezTo>
                  <a:cubicBezTo>
                    <a:pt x="49" y="101"/>
                    <a:pt x="47" y="102"/>
                    <a:pt x="46" y="101"/>
                  </a:cubicBezTo>
                  <a:cubicBezTo>
                    <a:pt x="45" y="101"/>
                    <a:pt x="44" y="99"/>
                    <a:pt x="44" y="98"/>
                  </a:cubicBezTo>
                  <a:cubicBezTo>
                    <a:pt x="33" y="74"/>
                    <a:pt x="23" y="50"/>
                    <a:pt x="12" y="27"/>
                  </a:cubicBezTo>
                  <a:cubicBezTo>
                    <a:pt x="12" y="26"/>
                    <a:pt x="12" y="25"/>
                    <a:pt x="11" y="25"/>
                  </a:cubicBezTo>
                  <a:cubicBezTo>
                    <a:pt x="11" y="26"/>
                    <a:pt x="11" y="26"/>
                    <a:pt x="11" y="27"/>
                  </a:cubicBezTo>
                  <a:cubicBezTo>
                    <a:pt x="11" y="51"/>
                    <a:pt x="11" y="75"/>
                    <a:pt x="11" y="99"/>
                  </a:cubicBezTo>
                  <a:cubicBezTo>
                    <a:pt x="11" y="102"/>
                    <a:pt x="11" y="101"/>
                    <a:pt x="9" y="101"/>
                  </a:cubicBezTo>
                  <a:cubicBezTo>
                    <a:pt x="6" y="102"/>
                    <a:pt x="4" y="101"/>
                    <a:pt x="2" y="101"/>
                  </a:cubicBezTo>
                  <a:cubicBezTo>
                    <a:pt x="0" y="101"/>
                    <a:pt x="0" y="101"/>
                    <a:pt x="0" y="100"/>
                  </a:cubicBezTo>
                  <a:cubicBezTo>
                    <a:pt x="0" y="100"/>
                    <a:pt x="0" y="100"/>
                    <a:pt x="0" y="99"/>
                  </a:cubicBezTo>
                  <a:cubicBezTo>
                    <a:pt x="0" y="69"/>
                    <a:pt x="0" y="39"/>
                    <a:pt x="0" y="9"/>
                  </a:cubicBezTo>
                  <a:cubicBezTo>
                    <a:pt x="0" y="9"/>
                    <a:pt x="0" y="9"/>
                    <a:pt x="0" y="9"/>
                  </a:cubicBezTo>
                  <a:cubicBezTo>
                    <a:pt x="0" y="7"/>
                    <a:pt x="0" y="7"/>
                    <a:pt x="2" y="7"/>
                  </a:cubicBezTo>
                  <a:cubicBezTo>
                    <a:pt x="6" y="7"/>
                    <a:pt x="9" y="7"/>
                    <a:pt x="13" y="7"/>
                  </a:cubicBezTo>
                  <a:cubicBezTo>
                    <a:pt x="15" y="7"/>
                    <a:pt x="15" y="8"/>
                    <a:pt x="16" y="9"/>
                  </a:cubicBezTo>
                  <a:cubicBezTo>
                    <a:pt x="23" y="26"/>
                    <a:pt x="31" y="44"/>
                    <a:pt x="39" y="61"/>
                  </a:cubicBezTo>
                  <a:cubicBezTo>
                    <a:pt x="42" y="68"/>
                    <a:pt x="44" y="74"/>
                    <a:pt x="47" y="81"/>
                  </a:cubicBezTo>
                  <a:cubicBezTo>
                    <a:pt x="48" y="82"/>
                    <a:pt x="48" y="82"/>
                    <a:pt x="48" y="83"/>
                  </a:cubicBezTo>
                  <a:close/>
                  <a:moveTo>
                    <a:pt x="493" y="94"/>
                  </a:moveTo>
                  <a:cubicBezTo>
                    <a:pt x="490" y="93"/>
                    <a:pt x="488" y="91"/>
                    <a:pt x="487" y="88"/>
                  </a:cubicBezTo>
                  <a:cubicBezTo>
                    <a:pt x="486" y="86"/>
                    <a:pt x="486" y="84"/>
                    <a:pt x="486" y="81"/>
                  </a:cubicBezTo>
                  <a:cubicBezTo>
                    <a:pt x="486" y="69"/>
                    <a:pt x="486" y="57"/>
                    <a:pt x="486" y="45"/>
                  </a:cubicBezTo>
                  <a:cubicBezTo>
                    <a:pt x="486" y="45"/>
                    <a:pt x="486" y="45"/>
                    <a:pt x="486" y="44"/>
                  </a:cubicBezTo>
                  <a:cubicBezTo>
                    <a:pt x="486" y="44"/>
                    <a:pt x="486" y="43"/>
                    <a:pt x="487" y="43"/>
                  </a:cubicBezTo>
                  <a:cubicBezTo>
                    <a:pt x="487" y="43"/>
                    <a:pt x="487" y="43"/>
                    <a:pt x="488" y="43"/>
                  </a:cubicBezTo>
                  <a:cubicBezTo>
                    <a:pt x="492" y="43"/>
                    <a:pt x="497" y="43"/>
                    <a:pt x="501" y="43"/>
                  </a:cubicBezTo>
                  <a:cubicBezTo>
                    <a:pt x="502" y="43"/>
                    <a:pt x="503" y="43"/>
                    <a:pt x="503" y="42"/>
                  </a:cubicBezTo>
                  <a:cubicBezTo>
                    <a:pt x="503" y="40"/>
                    <a:pt x="503" y="38"/>
                    <a:pt x="503" y="36"/>
                  </a:cubicBezTo>
                  <a:cubicBezTo>
                    <a:pt x="503" y="34"/>
                    <a:pt x="503" y="34"/>
                    <a:pt x="501" y="34"/>
                  </a:cubicBezTo>
                  <a:cubicBezTo>
                    <a:pt x="497" y="34"/>
                    <a:pt x="492" y="34"/>
                    <a:pt x="487" y="34"/>
                  </a:cubicBezTo>
                  <a:cubicBezTo>
                    <a:pt x="486" y="34"/>
                    <a:pt x="486" y="35"/>
                    <a:pt x="486" y="33"/>
                  </a:cubicBezTo>
                  <a:cubicBezTo>
                    <a:pt x="486" y="27"/>
                    <a:pt x="486" y="22"/>
                    <a:pt x="486" y="16"/>
                  </a:cubicBezTo>
                  <a:cubicBezTo>
                    <a:pt x="486" y="16"/>
                    <a:pt x="486" y="15"/>
                    <a:pt x="485" y="15"/>
                  </a:cubicBezTo>
                  <a:cubicBezTo>
                    <a:pt x="482" y="16"/>
                    <a:pt x="479" y="17"/>
                    <a:pt x="476" y="18"/>
                  </a:cubicBezTo>
                  <a:cubicBezTo>
                    <a:pt x="475" y="18"/>
                    <a:pt x="475" y="18"/>
                    <a:pt x="475" y="19"/>
                  </a:cubicBezTo>
                  <a:cubicBezTo>
                    <a:pt x="475" y="19"/>
                    <a:pt x="475" y="19"/>
                    <a:pt x="475" y="20"/>
                  </a:cubicBezTo>
                  <a:cubicBezTo>
                    <a:pt x="475" y="24"/>
                    <a:pt x="475" y="28"/>
                    <a:pt x="475" y="33"/>
                  </a:cubicBezTo>
                  <a:cubicBezTo>
                    <a:pt x="475" y="34"/>
                    <a:pt x="475" y="34"/>
                    <a:pt x="474" y="34"/>
                  </a:cubicBezTo>
                  <a:cubicBezTo>
                    <a:pt x="466" y="34"/>
                    <a:pt x="458" y="34"/>
                    <a:pt x="450" y="34"/>
                  </a:cubicBezTo>
                  <a:cubicBezTo>
                    <a:pt x="449" y="34"/>
                    <a:pt x="448" y="34"/>
                    <a:pt x="448" y="33"/>
                  </a:cubicBezTo>
                  <a:cubicBezTo>
                    <a:pt x="448" y="30"/>
                    <a:pt x="448" y="27"/>
                    <a:pt x="449" y="24"/>
                  </a:cubicBezTo>
                  <a:cubicBezTo>
                    <a:pt x="449" y="22"/>
                    <a:pt x="449" y="19"/>
                    <a:pt x="450" y="16"/>
                  </a:cubicBezTo>
                  <a:cubicBezTo>
                    <a:pt x="451" y="13"/>
                    <a:pt x="453" y="11"/>
                    <a:pt x="455" y="10"/>
                  </a:cubicBezTo>
                  <a:cubicBezTo>
                    <a:pt x="457" y="10"/>
                    <a:pt x="459" y="10"/>
                    <a:pt x="461" y="10"/>
                  </a:cubicBezTo>
                  <a:cubicBezTo>
                    <a:pt x="463" y="10"/>
                    <a:pt x="465" y="10"/>
                    <a:pt x="467" y="11"/>
                  </a:cubicBezTo>
                  <a:cubicBezTo>
                    <a:pt x="467" y="8"/>
                    <a:pt x="467" y="6"/>
                    <a:pt x="467" y="3"/>
                  </a:cubicBezTo>
                  <a:cubicBezTo>
                    <a:pt x="467" y="2"/>
                    <a:pt x="466" y="2"/>
                    <a:pt x="466" y="1"/>
                  </a:cubicBezTo>
                  <a:cubicBezTo>
                    <a:pt x="461" y="0"/>
                    <a:pt x="455" y="0"/>
                    <a:pt x="451" y="2"/>
                  </a:cubicBezTo>
                  <a:cubicBezTo>
                    <a:pt x="443" y="6"/>
                    <a:pt x="439" y="12"/>
                    <a:pt x="438" y="20"/>
                  </a:cubicBezTo>
                  <a:cubicBezTo>
                    <a:pt x="437" y="24"/>
                    <a:pt x="438" y="28"/>
                    <a:pt x="438" y="32"/>
                  </a:cubicBezTo>
                  <a:cubicBezTo>
                    <a:pt x="438" y="34"/>
                    <a:pt x="438" y="34"/>
                    <a:pt x="435" y="34"/>
                  </a:cubicBezTo>
                  <a:cubicBezTo>
                    <a:pt x="433" y="34"/>
                    <a:pt x="430" y="34"/>
                    <a:pt x="428" y="34"/>
                  </a:cubicBezTo>
                  <a:cubicBezTo>
                    <a:pt x="426" y="34"/>
                    <a:pt x="426" y="34"/>
                    <a:pt x="426" y="36"/>
                  </a:cubicBezTo>
                  <a:cubicBezTo>
                    <a:pt x="426" y="38"/>
                    <a:pt x="426" y="40"/>
                    <a:pt x="426" y="42"/>
                  </a:cubicBezTo>
                  <a:cubicBezTo>
                    <a:pt x="426" y="44"/>
                    <a:pt x="426" y="43"/>
                    <a:pt x="428" y="43"/>
                  </a:cubicBezTo>
                  <a:cubicBezTo>
                    <a:pt x="431" y="43"/>
                    <a:pt x="434" y="43"/>
                    <a:pt x="436" y="43"/>
                  </a:cubicBezTo>
                  <a:cubicBezTo>
                    <a:pt x="437" y="43"/>
                    <a:pt x="438" y="44"/>
                    <a:pt x="438" y="45"/>
                  </a:cubicBezTo>
                  <a:cubicBezTo>
                    <a:pt x="438" y="45"/>
                    <a:pt x="438" y="45"/>
                    <a:pt x="438" y="46"/>
                  </a:cubicBezTo>
                  <a:cubicBezTo>
                    <a:pt x="438" y="64"/>
                    <a:pt x="438" y="81"/>
                    <a:pt x="438" y="99"/>
                  </a:cubicBezTo>
                  <a:cubicBezTo>
                    <a:pt x="438" y="100"/>
                    <a:pt x="438" y="100"/>
                    <a:pt x="438" y="100"/>
                  </a:cubicBezTo>
                  <a:cubicBezTo>
                    <a:pt x="438" y="101"/>
                    <a:pt x="438" y="102"/>
                    <a:pt x="439" y="102"/>
                  </a:cubicBezTo>
                  <a:cubicBezTo>
                    <a:pt x="441" y="101"/>
                    <a:pt x="444" y="102"/>
                    <a:pt x="446" y="101"/>
                  </a:cubicBezTo>
                  <a:cubicBezTo>
                    <a:pt x="449" y="101"/>
                    <a:pt x="448" y="102"/>
                    <a:pt x="448" y="99"/>
                  </a:cubicBezTo>
                  <a:cubicBezTo>
                    <a:pt x="448" y="81"/>
                    <a:pt x="448" y="63"/>
                    <a:pt x="448" y="45"/>
                  </a:cubicBezTo>
                  <a:cubicBezTo>
                    <a:pt x="448" y="43"/>
                    <a:pt x="449" y="43"/>
                    <a:pt x="450" y="43"/>
                  </a:cubicBezTo>
                  <a:cubicBezTo>
                    <a:pt x="458" y="43"/>
                    <a:pt x="465" y="43"/>
                    <a:pt x="473" y="43"/>
                  </a:cubicBezTo>
                  <a:cubicBezTo>
                    <a:pt x="475" y="43"/>
                    <a:pt x="475" y="43"/>
                    <a:pt x="475" y="46"/>
                  </a:cubicBezTo>
                  <a:cubicBezTo>
                    <a:pt x="475" y="58"/>
                    <a:pt x="475" y="71"/>
                    <a:pt x="475" y="83"/>
                  </a:cubicBezTo>
                  <a:cubicBezTo>
                    <a:pt x="475" y="87"/>
                    <a:pt x="475" y="91"/>
                    <a:pt x="477" y="94"/>
                  </a:cubicBezTo>
                  <a:cubicBezTo>
                    <a:pt x="479" y="98"/>
                    <a:pt x="482" y="101"/>
                    <a:pt x="486" y="102"/>
                  </a:cubicBezTo>
                  <a:cubicBezTo>
                    <a:pt x="490" y="103"/>
                    <a:pt x="493" y="103"/>
                    <a:pt x="497" y="103"/>
                  </a:cubicBezTo>
                  <a:cubicBezTo>
                    <a:pt x="498" y="103"/>
                    <a:pt x="500" y="102"/>
                    <a:pt x="502" y="101"/>
                  </a:cubicBezTo>
                  <a:cubicBezTo>
                    <a:pt x="502" y="101"/>
                    <a:pt x="503" y="101"/>
                    <a:pt x="503" y="100"/>
                  </a:cubicBezTo>
                  <a:cubicBezTo>
                    <a:pt x="503" y="97"/>
                    <a:pt x="503" y="95"/>
                    <a:pt x="503" y="92"/>
                  </a:cubicBezTo>
                  <a:cubicBezTo>
                    <a:pt x="499" y="94"/>
                    <a:pt x="496" y="94"/>
                    <a:pt x="493" y="94"/>
                  </a:cubicBezTo>
                  <a:close/>
                  <a:moveTo>
                    <a:pt x="841" y="42"/>
                  </a:moveTo>
                  <a:cubicBezTo>
                    <a:pt x="841" y="42"/>
                    <a:pt x="841" y="42"/>
                    <a:pt x="841" y="42"/>
                  </a:cubicBezTo>
                  <a:cubicBezTo>
                    <a:pt x="841" y="42"/>
                    <a:pt x="841" y="42"/>
                    <a:pt x="841" y="42"/>
                  </a:cubicBezTo>
                  <a:cubicBezTo>
                    <a:pt x="842" y="42"/>
                    <a:pt x="842" y="42"/>
                    <a:pt x="843" y="42"/>
                  </a:cubicBezTo>
                  <a:cubicBezTo>
                    <a:pt x="844" y="42"/>
                    <a:pt x="845" y="42"/>
                    <a:pt x="845" y="42"/>
                  </a:cubicBezTo>
                  <a:cubicBezTo>
                    <a:pt x="846" y="42"/>
                    <a:pt x="847" y="42"/>
                    <a:pt x="848" y="42"/>
                  </a:cubicBezTo>
                  <a:cubicBezTo>
                    <a:pt x="848" y="42"/>
                    <a:pt x="848" y="42"/>
                    <a:pt x="848" y="42"/>
                  </a:cubicBezTo>
                  <a:cubicBezTo>
                    <a:pt x="848" y="42"/>
                    <a:pt x="848" y="42"/>
                    <a:pt x="848" y="42"/>
                  </a:cubicBezTo>
                  <a:cubicBezTo>
                    <a:pt x="848" y="43"/>
                    <a:pt x="849" y="42"/>
                    <a:pt x="849" y="43"/>
                  </a:cubicBezTo>
                  <a:cubicBezTo>
                    <a:pt x="849" y="43"/>
                    <a:pt x="849" y="43"/>
                    <a:pt x="849" y="43"/>
                  </a:cubicBezTo>
                  <a:cubicBezTo>
                    <a:pt x="849" y="43"/>
                    <a:pt x="849" y="43"/>
                    <a:pt x="849" y="43"/>
                  </a:cubicBezTo>
                  <a:cubicBezTo>
                    <a:pt x="850" y="43"/>
                    <a:pt x="850" y="43"/>
                    <a:pt x="850" y="43"/>
                  </a:cubicBezTo>
                  <a:cubicBezTo>
                    <a:pt x="850" y="43"/>
                    <a:pt x="850" y="43"/>
                    <a:pt x="850" y="43"/>
                  </a:cubicBezTo>
                  <a:cubicBezTo>
                    <a:pt x="851" y="43"/>
                    <a:pt x="851" y="43"/>
                    <a:pt x="851" y="43"/>
                  </a:cubicBezTo>
                  <a:cubicBezTo>
                    <a:pt x="851" y="43"/>
                    <a:pt x="851" y="43"/>
                    <a:pt x="851" y="43"/>
                  </a:cubicBezTo>
                  <a:cubicBezTo>
                    <a:pt x="851" y="44"/>
                    <a:pt x="852" y="44"/>
                    <a:pt x="852" y="44"/>
                  </a:cubicBezTo>
                  <a:cubicBezTo>
                    <a:pt x="852" y="44"/>
                    <a:pt x="852" y="44"/>
                    <a:pt x="852" y="44"/>
                  </a:cubicBezTo>
                  <a:cubicBezTo>
                    <a:pt x="852" y="44"/>
                    <a:pt x="852" y="44"/>
                    <a:pt x="852" y="44"/>
                  </a:cubicBezTo>
                  <a:cubicBezTo>
                    <a:pt x="852" y="44"/>
                    <a:pt x="852" y="44"/>
                    <a:pt x="852" y="44"/>
                  </a:cubicBezTo>
                  <a:cubicBezTo>
                    <a:pt x="853" y="44"/>
                    <a:pt x="853" y="44"/>
                    <a:pt x="853" y="44"/>
                  </a:cubicBezTo>
                  <a:cubicBezTo>
                    <a:pt x="853" y="44"/>
                    <a:pt x="853" y="44"/>
                    <a:pt x="853" y="44"/>
                  </a:cubicBezTo>
                  <a:cubicBezTo>
                    <a:pt x="853" y="45"/>
                    <a:pt x="853" y="45"/>
                    <a:pt x="853" y="45"/>
                  </a:cubicBezTo>
                  <a:cubicBezTo>
                    <a:pt x="853" y="45"/>
                    <a:pt x="853" y="45"/>
                    <a:pt x="853" y="45"/>
                  </a:cubicBezTo>
                  <a:cubicBezTo>
                    <a:pt x="854" y="45"/>
                    <a:pt x="854" y="45"/>
                    <a:pt x="854" y="45"/>
                  </a:cubicBezTo>
                  <a:cubicBezTo>
                    <a:pt x="854" y="45"/>
                    <a:pt x="854" y="45"/>
                    <a:pt x="854" y="45"/>
                  </a:cubicBezTo>
                  <a:cubicBezTo>
                    <a:pt x="854" y="45"/>
                    <a:pt x="854" y="45"/>
                    <a:pt x="854" y="45"/>
                  </a:cubicBezTo>
                  <a:cubicBezTo>
                    <a:pt x="854" y="45"/>
                    <a:pt x="854" y="45"/>
                    <a:pt x="854" y="45"/>
                  </a:cubicBezTo>
                  <a:cubicBezTo>
                    <a:pt x="854" y="46"/>
                    <a:pt x="854" y="46"/>
                    <a:pt x="855" y="46"/>
                  </a:cubicBezTo>
                  <a:cubicBezTo>
                    <a:pt x="855" y="46"/>
                    <a:pt x="855" y="46"/>
                    <a:pt x="855" y="46"/>
                  </a:cubicBezTo>
                  <a:cubicBezTo>
                    <a:pt x="855" y="46"/>
                    <a:pt x="855" y="46"/>
                    <a:pt x="855" y="46"/>
                  </a:cubicBezTo>
                  <a:cubicBezTo>
                    <a:pt x="855" y="46"/>
                    <a:pt x="855" y="46"/>
                    <a:pt x="855" y="46"/>
                  </a:cubicBezTo>
                  <a:cubicBezTo>
                    <a:pt x="855" y="46"/>
                    <a:pt x="855" y="46"/>
                    <a:pt x="855" y="47"/>
                  </a:cubicBezTo>
                  <a:cubicBezTo>
                    <a:pt x="855" y="47"/>
                    <a:pt x="855" y="47"/>
                    <a:pt x="855" y="47"/>
                  </a:cubicBezTo>
                  <a:cubicBezTo>
                    <a:pt x="856" y="47"/>
                    <a:pt x="856" y="47"/>
                    <a:pt x="856" y="48"/>
                  </a:cubicBezTo>
                  <a:cubicBezTo>
                    <a:pt x="856" y="47"/>
                    <a:pt x="856" y="47"/>
                    <a:pt x="856" y="47"/>
                  </a:cubicBezTo>
                  <a:cubicBezTo>
                    <a:pt x="856" y="48"/>
                    <a:pt x="856" y="48"/>
                    <a:pt x="856" y="48"/>
                  </a:cubicBezTo>
                  <a:cubicBezTo>
                    <a:pt x="856" y="48"/>
                    <a:pt x="856" y="48"/>
                    <a:pt x="856" y="48"/>
                  </a:cubicBezTo>
                  <a:cubicBezTo>
                    <a:pt x="857" y="48"/>
                    <a:pt x="856" y="48"/>
                    <a:pt x="857" y="49"/>
                  </a:cubicBezTo>
                  <a:cubicBezTo>
                    <a:pt x="857" y="49"/>
                    <a:pt x="857" y="49"/>
                    <a:pt x="857" y="49"/>
                  </a:cubicBezTo>
                  <a:cubicBezTo>
                    <a:pt x="857" y="49"/>
                    <a:pt x="857" y="49"/>
                    <a:pt x="857" y="49"/>
                  </a:cubicBezTo>
                  <a:cubicBezTo>
                    <a:pt x="857" y="49"/>
                    <a:pt x="857" y="49"/>
                    <a:pt x="857" y="49"/>
                  </a:cubicBezTo>
                  <a:cubicBezTo>
                    <a:pt x="857" y="49"/>
                    <a:pt x="857" y="50"/>
                    <a:pt x="857" y="50"/>
                  </a:cubicBezTo>
                  <a:cubicBezTo>
                    <a:pt x="857" y="50"/>
                    <a:pt x="857" y="50"/>
                    <a:pt x="857" y="50"/>
                  </a:cubicBezTo>
                  <a:cubicBezTo>
                    <a:pt x="858" y="50"/>
                    <a:pt x="857" y="50"/>
                    <a:pt x="858" y="51"/>
                  </a:cubicBezTo>
                  <a:cubicBezTo>
                    <a:pt x="858" y="51"/>
                    <a:pt x="858" y="51"/>
                    <a:pt x="858" y="51"/>
                  </a:cubicBezTo>
                  <a:cubicBezTo>
                    <a:pt x="858" y="51"/>
                    <a:pt x="858" y="51"/>
                    <a:pt x="858" y="52"/>
                  </a:cubicBezTo>
                  <a:cubicBezTo>
                    <a:pt x="858" y="52"/>
                    <a:pt x="858" y="52"/>
                    <a:pt x="858" y="52"/>
                  </a:cubicBezTo>
                  <a:cubicBezTo>
                    <a:pt x="858" y="52"/>
                    <a:pt x="858" y="53"/>
                    <a:pt x="858" y="53"/>
                  </a:cubicBezTo>
                  <a:cubicBezTo>
                    <a:pt x="858" y="53"/>
                    <a:pt x="858" y="53"/>
                    <a:pt x="858" y="53"/>
                  </a:cubicBezTo>
                  <a:cubicBezTo>
                    <a:pt x="859" y="54"/>
                    <a:pt x="858" y="54"/>
                    <a:pt x="859" y="55"/>
                  </a:cubicBezTo>
                  <a:cubicBezTo>
                    <a:pt x="859" y="55"/>
                    <a:pt x="859" y="55"/>
                    <a:pt x="859" y="55"/>
                  </a:cubicBezTo>
                  <a:cubicBezTo>
                    <a:pt x="859" y="55"/>
                    <a:pt x="859" y="56"/>
                    <a:pt x="859" y="57"/>
                  </a:cubicBezTo>
                  <a:cubicBezTo>
                    <a:pt x="859" y="57"/>
                    <a:pt x="859" y="57"/>
                    <a:pt x="859" y="57"/>
                  </a:cubicBezTo>
                  <a:cubicBezTo>
                    <a:pt x="859" y="58"/>
                    <a:pt x="859" y="59"/>
                    <a:pt x="859" y="60"/>
                  </a:cubicBezTo>
                  <a:cubicBezTo>
                    <a:pt x="859" y="73"/>
                    <a:pt x="859" y="86"/>
                    <a:pt x="859" y="100"/>
                  </a:cubicBezTo>
                  <a:cubicBezTo>
                    <a:pt x="859" y="100"/>
                    <a:pt x="859" y="101"/>
                    <a:pt x="859" y="101"/>
                  </a:cubicBezTo>
                  <a:cubicBezTo>
                    <a:pt x="859" y="101"/>
                    <a:pt x="859" y="101"/>
                    <a:pt x="859" y="101"/>
                  </a:cubicBezTo>
                  <a:cubicBezTo>
                    <a:pt x="862" y="102"/>
                    <a:pt x="864" y="102"/>
                    <a:pt x="866" y="102"/>
                  </a:cubicBezTo>
                  <a:cubicBezTo>
                    <a:pt x="867" y="102"/>
                    <a:pt x="869" y="102"/>
                    <a:pt x="870" y="101"/>
                  </a:cubicBezTo>
                  <a:cubicBezTo>
                    <a:pt x="870" y="101"/>
                    <a:pt x="870" y="101"/>
                    <a:pt x="870" y="101"/>
                  </a:cubicBezTo>
                  <a:cubicBezTo>
                    <a:pt x="871" y="101"/>
                    <a:pt x="870" y="100"/>
                    <a:pt x="870" y="100"/>
                  </a:cubicBezTo>
                  <a:cubicBezTo>
                    <a:pt x="870" y="87"/>
                    <a:pt x="870" y="74"/>
                    <a:pt x="870" y="62"/>
                  </a:cubicBezTo>
                  <a:cubicBezTo>
                    <a:pt x="870" y="61"/>
                    <a:pt x="870" y="61"/>
                    <a:pt x="871" y="60"/>
                  </a:cubicBezTo>
                  <a:cubicBezTo>
                    <a:pt x="870" y="60"/>
                    <a:pt x="870" y="60"/>
                    <a:pt x="871" y="59"/>
                  </a:cubicBezTo>
                  <a:cubicBezTo>
                    <a:pt x="871" y="59"/>
                    <a:pt x="871" y="58"/>
                    <a:pt x="871" y="58"/>
                  </a:cubicBezTo>
                  <a:cubicBezTo>
                    <a:pt x="871" y="57"/>
                    <a:pt x="871" y="57"/>
                    <a:pt x="871" y="57"/>
                  </a:cubicBezTo>
                  <a:cubicBezTo>
                    <a:pt x="871" y="57"/>
                    <a:pt x="871" y="57"/>
                    <a:pt x="871" y="56"/>
                  </a:cubicBezTo>
                  <a:cubicBezTo>
                    <a:pt x="871" y="56"/>
                    <a:pt x="871" y="56"/>
                    <a:pt x="871" y="56"/>
                  </a:cubicBezTo>
                  <a:cubicBezTo>
                    <a:pt x="871" y="56"/>
                    <a:pt x="871" y="55"/>
                    <a:pt x="872" y="55"/>
                  </a:cubicBezTo>
                  <a:cubicBezTo>
                    <a:pt x="872" y="55"/>
                    <a:pt x="872" y="55"/>
                    <a:pt x="872" y="55"/>
                  </a:cubicBezTo>
                  <a:cubicBezTo>
                    <a:pt x="872" y="55"/>
                    <a:pt x="872" y="55"/>
                    <a:pt x="872" y="55"/>
                  </a:cubicBezTo>
                  <a:cubicBezTo>
                    <a:pt x="872" y="55"/>
                    <a:pt x="872" y="54"/>
                    <a:pt x="872" y="54"/>
                  </a:cubicBezTo>
                  <a:cubicBezTo>
                    <a:pt x="872" y="54"/>
                    <a:pt x="872" y="54"/>
                    <a:pt x="872" y="54"/>
                  </a:cubicBezTo>
                  <a:cubicBezTo>
                    <a:pt x="872" y="54"/>
                    <a:pt x="872" y="53"/>
                    <a:pt x="872" y="53"/>
                  </a:cubicBezTo>
                  <a:cubicBezTo>
                    <a:pt x="872" y="53"/>
                    <a:pt x="872" y="53"/>
                    <a:pt x="872" y="53"/>
                  </a:cubicBezTo>
                  <a:cubicBezTo>
                    <a:pt x="872" y="53"/>
                    <a:pt x="872" y="53"/>
                    <a:pt x="873" y="52"/>
                  </a:cubicBezTo>
                  <a:cubicBezTo>
                    <a:pt x="873" y="52"/>
                    <a:pt x="873" y="52"/>
                    <a:pt x="873" y="52"/>
                  </a:cubicBezTo>
                  <a:cubicBezTo>
                    <a:pt x="873" y="52"/>
                    <a:pt x="873" y="52"/>
                    <a:pt x="873" y="52"/>
                  </a:cubicBezTo>
                  <a:cubicBezTo>
                    <a:pt x="873" y="52"/>
                    <a:pt x="873" y="52"/>
                    <a:pt x="873" y="52"/>
                  </a:cubicBezTo>
                  <a:cubicBezTo>
                    <a:pt x="873" y="52"/>
                    <a:pt x="873" y="51"/>
                    <a:pt x="873" y="51"/>
                  </a:cubicBezTo>
                  <a:cubicBezTo>
                    <a:pt x="873" y="51"/>
                    <a:pt x="873" y="51"/>
                    <a:pt x="873" y="51"/>
                  </a:cubicBezTo>
                  <a:cubicBezTo>
                    <a:pt x="874" y="51"/>
                    <a:pt x="873" y="51"/>
                    <a:pt x="874" y="50"/>
                  </a:cubicBezTo>
                  <a:cubicBezTo>
                    <a:pt x="874" y="50"/>
                    <a:pt x="874" y="50"/>
                    <a:pt x="874" y="50"/>
                  </a:cubicBezTo>
                  <a:cubicBezTo>
                    <a:pt x="874" y="50"/>
                    <a:pt x="874" y="50"/>
                    <a:pt x="874" y="50"/>
                  </a:cubicBezTo>
                  <a:cubicBezTo>
                    <a:pt x="874" y="50"/>
                    <a:pt x="874" y="50"/>
                    <a:pt x="874" y="50"/>
                  </a:cubicBezTo>
                  <a:cubicBezTo>
                    <a:pt x="874" y="50"/>
                    <a:pt x="874" y="49"/>
                    <a:pt x="874" y="49"/>
                  </a:cubicBezTo>
                  <a:cubicBezTo>
                    <a:pt x="874" y="49"/>
                    <a:pt x="874" y="49"/>
                    <a:pt x="874" y="49"/>
                  </a:cubicBezTo>
                  <a:cubicBezTo>
                    <a:pt x="874" y="49"/>
                    <a:pt x="875" y="49"/>
                    <a:pt x="875" y="49"/>
                  </a:cubicBezTo>
                  <a:cubicBezTo>
                    <a:pt x="875" y="49"/>
                    <a:pt x="875" y="49"/>
                    <a:pt x="875" y="49"/>
                  </a:cubicBezTo>
                  <a:cubicBezTo>
                    <a:pt x="875" y="49"/>
                    <a:pt x="875" y="48"/>
                    <a:pt x="875" y="48"/>
                  </a:cubicBezTo>
                  <a:cubicBezTo>
                    <a:pt x="875" y="48"/>
                    <a:pt x="875" y="48"/>
                    <a:pt x="875" y="48"/>
                  </a:cubicBezTo>
                  <a:cubicBezTo>
                    <a:pt x="875" y="48"/>
                    <a:pt x="875" y="48"/>
                    <a:pt x="875" y="48"/>
                  </a:cubicBezTo>
                  <a:cubicBezTo>
                    <a:pt x="875" y="48"/>
                    <a:pt x="875" y="48"/>
                    <a:pt x="875" y="48"/>
                  </a:cubicBezTo>
                  <a:cubicBezTo>
                    <a:pt x="876" y="48"/>
                    <a:pt x="876" y="48"/>
                    <a:pt x="876" y="47"/>
                  </a:cubicBezTo>
                  <a:cubicBezTo>
                    <a:pt x="876" y="48"/>
                    <a:pt x="876" y="48"/>
                    <a:pt x="876" y="48"/>
                  </a:cubicBezTo>
                  <a:cubicBezTo>
                    <a:pt x="876" y="47"/>
                    <a:pt x="876" y="47"/>
                    <a:pt x="876" y="47"/>
                  </a:cubicBezTo>
                  <a:cubicBezTo>
                    <a:pt x="876" y="47"/>
                    <a:pt x="876" y="47"/>
                    <a:pt x="876" y="47"/>
                  </a:cubicBezTo>
                  <a:cubicBezTo>
                    <a:pt x="877" y="47"/>
                    <a:pt x="877" y="46"/>
                    <a:pt x="878" y="45"/>
                  </a:cubicBezTo>
                  <a:cubicBezTo>
                    <a:pt x="878" y="45"/>
                    <a:pt x="878" y="45"/>
                    <a:pt x="878" y="45"/>
                  </a:cubicBezTo>
                  <a:cubicBezTo>
                    <a:pt x="878" y="45"/>
                    <a:pt x="878" y="45"/>
                    <a:pt x="878" y="45"/>
                  </a:cubicBezTo>
                  <a:cubicBezTo>
                    <a:pt x="878" y="45"/>
                    <a:pt x="878" y="45"/>
                    <a:pt x="878" y="45"/>
                  </a:cubicBezTo>
                  <a:cubicBezTo>
                    <a:pt x="878" y="45"/>
                    <a:pt x="878" y="45"/>
                    <a:pt x="879" y="45"/>
                  </a:cubicBezTo>
                  <a:cubicBezTo>
                    <a:pt x="879" y="45"/>
                    <a:pt x="879" y="45"/>
                    <a:pt x="879" y="45"/>
                  </a:cubicBezTo>
                  <a:cubicBezTo>
                    <a:pt x="879" y="45"/>
                    <a:pt x="879" y="44"/>
                    <a:pt x="880" y="44"/>
                  </a:cubicBezTo>
                  <a:cubicBezTo>
                    <a:pt x="880" y="44"/>
                    <a:pt x="880" y="44"/>
                    <a:pt x="880" y="44"/>
                  </a:cubicBezTo>
                  <a:cubicBezTo>
                    <a:pt x="880" y="44"/>
                    <a:pt x="880" y="44"/>
                    <a:pt x="880" y="44"/>
                  </a:cubicBezTo>
                  <a:cubicBezTo>
                    <a:pt x="880" y="44"/>
                    <a:pt x="880" y="44"/>
                    <a:pt x="880" y="44"/>
                  </a:cubicBezTo>
                  <a:cubicBezTo>
                    <a:pt x="880" y="44"/>
                    <a:pt x="881" y="44"/>
                    <a:pt x="881" y="43"/>
                  </a:cubicBezTo>
                  <a:cubicBezTo>
                    <a:pt x="881" y="43"/>
                    <a:pt x="881" y="43"/>
                    <a:pt x="881" y="43"/>
                  </a:cubicBezTo>
                  <a:cubicBezTo>
                    <a:pt x="881" y="43"/>
                    <a:pt x="881" y="43"/>
                    <a:pt x="881" y="43"/>
                  </a:cubicBezTo>
                  <a:cubicBezTo>
                    <a:pt x="881" y="43"/>
                    <a:pt x="881" y="43"/>
                    <a:pt x="882" y="43"/>
                  </a:cubicBezTo>
                  <a:cubicBezTo>
                    <a:pt x="882" y="43"/>
                    <a:pt x="882" y="43"/>
                    <a:pt x="882" y="43"/>
                  </a:cubicBezTo>
                  <a:cubicBezTo>
                    <a:pt x="882" y="43"/>
                    <a:pt x="882" y="43"/>
                    <a:pt x="882" y="43"/>
                  </a:cubicBezTo>
                  <a:cubicBezTo>
                    <a:pt x="882" y="43"/>
                    <a:pt x="882" y="43"/>
                    <a:pt x="882" y="43"/>
                  </a:cubicBezTo>
                  <a:cubicBezTo>
                    <a:pt x="883" y="43"/>
                    <a:pt x="883" y="43"/>
                    <a:pt x="883" y="43"/>
                  </a:cubicBezTo>
                  <a:cubicBezTo>
                    <a:pt x="883" y="43"/>
                    <a:pt x="883" y="43"/>
                    <a:pt x="883" y="42"/>
                  </a:cubicBezTo>
                  <a:cubicBezTo>
                    <a:pt x="884" y="42"/>
                    <a:pt x="884" y="42"/>
                    <a:pt x="884" y="42"/>
                  </a:cubicBezTo>
                  <a:cubicBezTo>
                    <a:pt x="884" y="42"/>
                    <a:pt x="884" y="42"/>
                    <a:pt x="884" y="42"/>
                  </a:cubicBezTo>
                  <a:cubicBezTo>
                    <a:pt x="884" y="42"/>
                    <a:pt x="885" y="42"/>
                    <a:pt x="886" y="42"/>
                  </a:cubicBezTo>
                  <a:cubicBezTo>
                    <a:pt x="887" y="42"/>
                    <a:pt x="887" y="42"/>
                    <a:pt x="888" y="42"/>
                  </a:cubicBezTo>
                  <a:cubicBezTo>
                    <a:pt x="889" y="42"/>
                    <a:pt x="890" y="42"/>
                    <a:pt x="890" y="42"/>
                  </a:cubicBezTo>
                  <a:cubicBezTo>
                    <a:pt x="891" y="42"/>
                    <a:pt x="891" y="42"/>
                    <a:pt x="891" y="42"/>
                  </a:cubicBezTo>
                  <a:cubicBezTo>
                    <a:pt x="891" y="42"/>
                    <a:pt x="891" y="42"/>
                    <a:pt x="891" y="42"/>
                  </a:cubicBezTo>
                  <a:cubicBezTo>
                    <a:pt x="891" y="43"/>
                    <a:pt x="892" y="42"/>
                    <a:pt x="892" y="43"/>
                  </a:cubicBezTo>
                  <a:cubicBezTo>
                    <a:pt x="892" y="43"/>
                    <a:pt x="892" y="43"/>
                    <a:pt x="892" y="43"/>
                  </a:cubicBezTo>
                  <a:cubicBezTo>
                    <a:pt x="892" y="43"/>
                    <a:pt x="892" y="43"/>
                    <a:pt x="892" y="43"/>
                  </a:cubicBezTo>
                  <a:cubicBezTo>
                    <a:pt x="892" y="43"/>
                    <a:pt x="893" y="43"/>
                    <a:pt x="893" y="43"/>
                  </a:cubicBezTo>
                  <a:cubicBezTo>
                    <a:pt x="893" y="43"/>
                    <a:pt x="893" y="43"/>
                    <a:pt x="893" y="43"/>
                  </a:cubicBezTo>
                  <a:cubicBezTo>
                    <a:pt x="893" y="43"/>
                    <a:pt x="894" y="43"/>
                    <a:pt x="894" y="43"/>
                  </a:cubicBezTo>
                  <a:cubicBezTo>
                    <a:pt x="894" y="43"/>
                    <a:pt x="894" y="43"/>
                    <a:pt x="894" y="43"/>
                  </a:cubicBezTo>
                  <a:cubicBezTo>
                    <a:pt x="894" y="44"/>
                    <a:pt x="894" y="44"/>
                    <a:pt x="895" y="44"/>
                  </a:cubicBezTo>
                  <a:cubicBezTo>
                    <a:pt x="895" y="44"/>
                    <a:pt x="895" y="44"/>
                    <a:pt x="895" y="44"/>
                  </a:cubicBezTo>
                  <a:cubicBezTo>
                    <a:pt x="895" y="44"/>
                    <a:pt x="895" y="44"/>
                    <a:pt x="895" y="44"/>
                  </a:cubicBezTo>
                  <a:cubicBezTo>
                    <a:pt x="895" y="44"/>
                    <a:pt x="895" y="44"/>
                    <a:pt x="895" y="44"/>
                  </a:cubicBezTo>
                  <a:cubicBezTo>
                    <a:pt x="895" y="44"/>
                    <a:pt x="896" y="44"/>
                    <a:pt x="896" y="44"/>
                  </a:cubicBezTo>
                  <a:cubicBezTo>
                    <a:pt x="896" y="44"/>
                    <a:pt x="896" y="44"/>
                    <a:pt x="896" y="44"/>
                  </a:cubicBezTo>
                  <a:cubicBezTo>
                    <a:pt x="896" y="45"/>
                    <a:pt x="896" y="45"/>
                    <a:pt x="896" y="45"/>
                  </a:cubicBezTo>
                  <a:cubicBezTo>
                    <a:pt x="896" y="45"/>
                    <a:pt x="896" y="45"/>
                    <a:pt x="896" y="45"/>
                  </a:cubicBezTo>
                  <a:cubicBezTo>
                    <a:pt x="896" y="45"/>
                    <a:pt x="897" y="45"/>
                    <a:pt x="897" y="45"/>
                  </a:cubicBezTo>
                  <a:cubicBezTo>
                    <a:pt x="897" y="45"/>
                    <a:pt x="897" y="45"/>
                    <a:pt x="897" y="45"/>
                  </a:cubicBezTo>
                  <a:cubicBezTo>
                    <a:pt x="897" y="45"/>
                    <a:pt x="897" y="45"/>
                    <a:pt x="897" y="45"/>
                  </a:cubicBezTo>
                  <a:cubicBezTo>
                    <a:pt x="897" y="45"/>
                    <a:pt x="897" y="45"/>
                    <a:pt x="897" y="45"/>
                  </a:cubicBezTo>
                  <a:cubicBezTo>
                    <a:pt x="897" y="46"/>
                    <a:pt x="897" y="46"/>
                    <a:pt x="897" y="46"/>
                  </a:cubicBezTo>
                  <a:cubicBezTo>
                    <a:pt x="897" y="46"/>
                    <a:pt x="897" y="46"/>
                    <a:pt x="897" y="46"/>
                  </a:cubicBezTo>
                  <a:cubicBezTo>
                    <a:pt x="897" y="46"/>
                    <a:pt x="898" y="46"/>
                    <a:pt x="898" y="46"/>
                  </a:cubicBezTo>
                  <a:cubicBezTo>
                    <a:pt x="898" y="46"/>
                    <a:pt x="898" y="46"/>
                    <a:pt x="898" y="46"/>
                  </a:cubicBezTo>
                  <a:cubicBezTo>
                    <a:pt x="898" y="46"/>
                    <a:pt x="898" y="47"/>
                    <a:pt x="898" y="47"/>
                  </a:cubicBezTo>
                  <a:cubicBezTo>
                    <a:pt x="898" y="47"/>
                    <a:pt x="898" y="47"/>
                    <a:pt x="898" y="47"/>
                  </a:cubicBezTo>
                  <a:cubicBezTo>
                    <a:pt x="898" y="47"/>
                    <a:pt x="898" y="47"/>
                    <a:pt x="898" y="47"/>
                  </a:cubicBezTo>
                  <a:cubicBezTo>
                    <a:pt x="898" y="47"/>
                    <a:pt x="898" y="47"/>
                    <a:pt x="898" y="47"/>
                  </a:cubicBezTo>
                  <a:cubicBezTo>
                    <a:pt x="899" y="47"/>
                    <a:pt x="899" y="48"/>
                    <a:pt x="899" y="48"/>
                  </a:cubicBezTo>
                  <a:cubicBezTo>
                    <a:pt x="899" y="48"/>
                    <a:pt x="899" y="48"/>
                    <a:pt x="899" y="48"/>
                  </a:cubicBezTo>
                  <a:cubicBezTo>
                    <a:pt x="899" y="48"/>
                    <a:pt x="899" y="48"/>
                    <a:pt x="899" y="48"/>
                  </a:cubicBezTo>
                  <a:cubicBezTo>
                    <a:pt x="899" y="48"/>
                    <a:pt x="899" y="48"/>
                    <a:pt x="899" y="48"/>
                  </a:cubicBezTo>
                  <a:cubicBezTo>
                    <a:pt x="899" y="48"/>
                    <a:pt x="899" y="48"/>
                    <a:pt x="899" y="48"/>
                  </a:cubicBezTo>
                  <a:cubicBezTo>
                    <a:pt x="899" y="49"/>
                    <a:pt x="899" y="49"/>
                    <a:pt x="899" y="49"/>
                  </a:cubicBezTo>
                  <a:cubicBezTo>
                    <a:pt x="900" y="49"/>
                    <a:pt x="900" y="49"/>
                    <a:pt x="899" y="49"/>
                  </a:cubicBezTo>
                  <a:cubicBezTo>
                    <a:pt x="900" y="49"/>
                    <a:pt x="900" y="50"/>
                    <a:pt x="900" y="50"/>
                  </a:cubicBezTo>
                  <a:cubicBezTo>
                    <a:pt x="900" y="50"/>
                    <a:pt x="900" y="50"/>
                    <a:pt x="900" y="50"/>
                  </a:cubicBezTo>
                  <a:cubicBezTo>
                    <a:pt x="900" y="50"/>
                    <a:pt x="900" y="51"/>
                    <a:pt x="900" y="51"/>
                  </a:cubicBezTo>
                  <a:cubicBezTo>
                    <a:pt x="900" y="51"/>
                    <a:pt x="900" y="51"/>
                    <a:pt x="900" y="51"/>
                  </a:cubicBezTo>
                  <a:cubicBezTo>
                    <a:pt x="900" y="51"/>
                    <a:pt x="900" y="52"/>
                    <a:pt x="900" y="52"/>
                  </a:cubicBezTo>
                  <a:cubicBezTo>
                    <a:pt x="901" y="52"/>
                    <a:pt x="901" y="52"/>
                    <a:pt x="901" y="52"/>
                  </a:cubicBezTo>
                  <a:cubicBezTo>
                    <a:pt x="901" y="53"/>
                    <a:pt x="901" y="53"/>
                    <a:pt x="901" y="53"/>
                  </a:cubicBezTo>
                  <a:cubicBezTo>
                    <a:pt x="901" y="54"/>
                    <a:pt x="901" y="54"/>
                    <a:pt x="901" y="54"/>
                  </a:cubicBezTo>
                  <a:cubicBezTo>
                    <a:pt x="901" y="54"/>
                    <a:pt x="901" y="55"/>
                    <a:pt x="901" y="56"/>
                  </a:cubicBezTo>
                  <a:cubicBezTo>
                    <a:pt x="901" y="56"/>
                    <a:pt x="901" y="56"/>
                    <a:pt x="901" y="56"/>
                  </a:cubicBezTo>
                  <a:cubicBezTo>
                    <a:pt x="902" y="57"/>
                    <a:pt x="901" y="58"/>
                    <a:pt x="902" y="59"/>
                  </a:cubicBezTo>
                  <a:cubicBezTo>
                    <a:pt x="902" y="60"/>
                    <a:pt x="902" y="60"/>
                    <a:pt x="902" y="61"/>
                  </a:cubicBezTo>
                  <a:cubicBezTo>
                    <a:pt x="902" y="62"/>
                    <a:pt x="902" y="62"/>
                    <a:pt x="902" y="63"/>
                  </a:cubicBezTo>
                  <a:cubicBezTo>
                    <a:pt x="902" y="75"/>
                    <a:pt x="902" y="87"/>
                    <a:pt x="902" y="99"/>
                  </a:cubicBezTo>
                  <a:cubicBezTo>
                    <a:pt x="902" y="102"/>
                    <a:pt x="901" y="102"/>
                    <a:pt x="904" y="102"/>
                  </a:cubicBezTo>
                  <a:cubicBezTo>
                    <a:pt x="906" y="102"/>
                    <a:pt x="908" y="102"/>
                    <a:pt x="911" y="102"/>
                  </a:cubicBezTo>
                  <a:cubicBezTo>
                    <a:pt x="912" y="102"/>
                    <a:pt x="912" y="102"/>
                    <a:pt x="912" y="100"/>
                  </a:cubicBezTo>
                  <a:cubicBezTo>
                    <a:pt x="912" y="85"/>
                    <a:pt x="912" y="71"/>
                    <a:pt x="912" y="56"/>
                  </a:cubicBezTo>
                  <a:cubicBezTo>
                    <a:pt x="912" y="56"/>
                    <a:pt x="913" y="55"/>
                    <a:pt x="912" y="55"/>
                  </a:cubicBezTo>
                  <a:cubicBezTo>
                    <a:pt x="912" y="54"/>
                    <a:pt x="912" y="54"/>
                    <a:pt x="912" y="54"/>
                  </a:cubicBezTo>
                  <a:cubicBezTo>
                    <a:pt x="912" y="53"/>
                    <a:pt x="912" y="52"/>
                    <a:pt x="912" y="52"/>
                  </a:cubicBezTo>
                  <a:cubicBezTo>
                    <a:pt x="912" y="52"/>
                    <a:pt x="912" y="51"/>
                    <a:pt x="912" y="51"/>
                  </a:cubicBezTo>
                  <a:cubicBezTo>
                    <a:pt x="912" y="51"/>
                    <a:pt x="912" y="50"/>
                    <a:pt x="912" y="50"/>
                  </a:cubicBezTo>
                  <a:cubicBezTo>
                    <a:pt x="912" y="50"/>
                    <a:pt x="912" y="50"/>
                    <a:pt x="912" y="50"/>
                  </a:cubicBezTo>
                  <a:cubicBezTo>
                    <a:pt x="912" y="49"/>
                    <a:pt x="912" y="49"/>
                    <a:pt x="912" y="49"/>
                  </a:cubicBezTo>
                  <a:cubicBezTo>
                    <a:pt x="911" y="49"/>
                    <a:pt x="912" y="49"/>
                    <a:pt x="911" y="48"/>
                  </a:cubicBezTo>
                  <a:cubicBezTo>
                    <a:pt x="911" y="48"/>
                    <a:pt x="911" y="48"/>
                    <a:pt x="911" y="48"/>
                  </a:cubicBezTo>
                  <a:cubicBezTo>
                    <a:pt x="911" y="48"/>
                    <a:pt x="911" y="48"/>
                    <a:pt x="911" y="48"/>
                  </a:cubicBezTo>
                  <a:cubicBezTo>
                    <a:pt x="911" y="48"/>
                    <a:pt x="911" y="47"/>
                    <a:pt x="911" y="47"/>
                  </a:cubicBezTo>
                  <a:cubicBezTo>
                    <a:pt x="911" y="47"/>
                    <a:pt x="911" y="47"/>
                    <a:pt x="911" y="47"/>
                  </a:cubicBezTo>
                  <a:cubicBezTo>
                    <a:pt x="911" y="47"/>
                    <a:pt x="911" y="46"/>
                    <a:pt x="911" y="46"/>
                  </a:cubicBezTo>
                  <a:cubicBezTo>
                    <a:pt x="911" y="46"/>
                    <a:pt x="911" y="46"/>
                    <a:pt x="911" y="46"/>
                  </a:cubicBezTo>
                  <a:cubicBezTo>
                    <a:pt x="910" y="46"/>
                    <a:pt x="910" y="45"/>
                    <a:pt x="910" y="45"/>
                  </a:cubicBezTo>
                  <a:cubicBezTo>
                    <a:pt x="910" y="45"/>
                    <a:pt x="910" y="45"/>
                    <a:pt x="910" y="45"/>
                  </a:cubicBezTo>
                  <a:cubicBezTo>
                    <a:pt x="910" y="45"/>
                    <a:pt x="910" y="44"/>
                    <a:pt x="910" y="44"/>
                  </a:cubicBezTo>
                  <a:cubicBezTo>
                    <a:pt x="910" y="44"/>
                    <a:pt x="910" y="44"/>
                    <a:pt x="910" y="44"/>
                  </a:cubicBezTo>
                  <a:cubicBezTo>
                    <a:pt x="910" y="44"/>
                    <a:pt x="910" y="44"/>
                    <a:pt x="910" y="43"/>
                  </a:cubicBezTo>
                  <a:cubicBezTo>
                    <a:pt x="910" y="43"/>
                    <a:pt x="910" y="43"/>
                    <a:pt x="910" y="43"/>
                  </a:cubicBezTo>
                  <a:cubicBezTo>
                    <a:pt x="909" y="43"/>
                    <a:pt x="909" y="43"/>
                    <a:pt x="909" y="43"/>
                  </a:cubicBezTo>
                  <a:cubicBezTo>
                    <a:pt x="909" y="43"/>
                    <a:pt x="909" y="43"/>
                    <a:pt x="909" y="43"/>
                  </a:cubicBezTo>
                  <a:cubicBezTo>
                    <a:pt x="909" y="43"/>
                    <a:pt x="909" y="42"/>
                    <a:pt x="909" y="42"/>
                  </a:cubicBezTo>
                  <a:cubicBezTo>
                    <a:pt x="909" y="42"/>
                    <a:pt x="909" y="42"/>
                    <a:pt x="909" y="42"/>
                  </a:cubicBezTo>
                  <a:cubicBezTo>
                    <a:pt x="909" y="42"/>
                    <a:pt x="909" y="41"/>
                    <a:pt x="908" y="41"/>
                  </a:cubicBezTo>
                  <a:cubicBezTo>
                    <a:pt x="908" y="41"/>
                    <a:pt x="908" y="41"/>
                    <a:pt x="908" y="41"/>
                  </a:cubicBezTo>
                  <a:cubicBezTo>
                    <a:pt x="908" y="41"/>
                    <a:pt x="908" y="41"/>
                    <a:pt x="908" y="41"/>
                  </a:cubicBezTo>
                  <a:cubicBezTo>
                    <a:pt x="908" y="41"/>
                    <a:pt x="908" y="41"/>
                    <a:pt x="908" y="41"/>
                  </a:cubicBezTo>
                  <a:cubicBezTo>
                    <a:pt x="908" y="41"/>
                    <a:pt x="908" y="40"/>
                    <a:pt x="908" y="40"/>
                  </a:cubicBezTo>
                  <a:cubicBezTo>
                    <a:pt x="908" y="40"/>
                    <a:pt x="908" y="40"/>
                    <a:pt x="908" y="40"/>
                  </a:cubicBezTo>
                  <a:cubicBezTo>
                    <a:pt x="908" y="40"/>
                    <a:pt x="908" y="40"/>
                    <a:pt x="907" y="40"/>
                  </a:cubicBezTo>
                  <a:cubicBezTo>
                    <a:pt x="907" y="40"/>
                    <a:pt x="907" y="40"/>
                    <a:pt x="907" y="40"/>
                  </a:cubicBezTo>
                  <a:cubicBezTo>
                    <a:pt x="907" y="40"/>
                    <a:pt x="907" y="40"/>
                    <a:pt x="907" y="40"/>
                  </a:cubicBezTo>
                  <a:cubicBezTo>
                    <a:pt x="907" y="40"/>
                    <a:pt x="907" y="40"/>
                    <a:pt x="907" y="40"/>
                  </a:cubicBezTo>
                  <a:cubicBezTo>
                    <a:pt x="907" y="39"/>
                    <a:pt x="907" y="39"/>
                    <a:pt x="906" y="39"/>
                  </a:cubicBezTo>
                  <a:cubicBezTo>
                    <a:pt x="906" y="39"/>
                    <a:pt x="906" y="39"/>
                    <a:pt x="906" y="39"/>
                  </a:cubicBezTo>
                  <a:cubicBezTo>
                    <a:pt x="906" y="38"/>
                    <a:pt x="906" y="38"/>
                    <a:pt x="906" y="38"/>
                  </a:cubicBezTo>
                  <a:cubicBezTo>
                    <a:pt x="906" y="38"/>
                    <a:pt x="906" y="38"/>
                    <a:pt x="906" y="38"/>
                  </a:cubicBezTo>
                  <a:cubicBezTo>
                    <a:pt x="906" y="38"/>
                    <a:pt x="906" y="38"/>
                    <a:pt x="906" y="38"/>
                  </a:cubicBezTo>
                  <a:cubicBezTo>
                    <a:pt x="906" y="38"/>
                    <a:pt x="906" y="38"/>
                    <a:pt x="906" y="38"/>
                  </a:cubicBezTo>
                  <a:cubicBezTo>
                    <a:pt x="906" y="38"/>
                    <a:pt x="905" y="38"/>
                    <a:pt x="905" y="38"/>
                  </a:cubicBezTo>
                  <a:cubicBezTo>
                    <a:pt x="905" y="38"/>
                    <a:pt x="905" y="38"/>
                    <a:pt x="905" y="38"/>
                  </a:cubicBezTo>
                  <a:cubicBezTo>
                    <a:pt x="905" y="37"/>
                    <a:pt x="905" y="37"/>
                    <a:pt x="904" y="37"/>
                  </a:cubicBezTo>
                  <a:cubicBezTo>
                    <a:pt x="904" y="37"/>
                    <a:pt x="904" y="37"/>
                    <a:pt x="904" y="37"/>
                  </a:cubicBezTo>
                  <a:cubicBezTo>
                    <a:pt x="904" y="37"/>
                    <a:pt x="904" y="37"/>
                    <a:pt x="904" y="36"/>
                  </a:cubicBezTo>
                  <a:cubicBezTo>
                    <a:pt x="904" y="36"/>
                    <a:pt x="904" y="36"/>
                    <a:pt x="904" y="36"/>
                  </a:cubicBezTo>
                  <a:cubicBezTo>
                    <a:pt x="904" y="36"/>
                    <a:pt x="904" y="36"/>
                    <a:pt x="904" y="36"/>
                  </a:cubicBezTo>
                  <a:cubicBezTo>
                    <a:pt x="904" y="36"/>
                    <a:pt x="904" y="36"/>
                    <a:pt x="904" y="36"/>
                  </a:cubicBezTo>
                  <a:cubicBezTo>
                    <a:pt x="903" y="36"/>
                    <a:pt x="903" y="36"/>
                    <a:pt x="903" y="36"/>
                  </a:cubicBezTo>
                  <a:cubicBezTo>
                    <a:pt x="903" y="36"/>
                    <a:pt x="903" y="36"/>
                    <a:pt x="903" y="36"/>
                  </a:cubicBezTo>
                  <a:cubicBezTo>
                    <a:pt x="903" y="36"/>
                    <a:pt x="903" y="35"/>
                    <a:pt x="902" y="35"/>
                  </a:cubicBezTo>
                  <a:cubicBezTo>
                    <a:pt x="902" y="35"/>
                    <a:pt x="902" y="35"/>
                    <a:pt x="902" y="35"/>
                  </a:cubicBezTo>
                  <a:cubicBezTo>
                    <a:pt x="902" y="35"/>
                    <a:pt x="902" y="35"/>
                    <a:pt x="902" y="35"/>
                  </a:cubicBezTo>
                  <a:cubicBezTo>
                    <a:pt x="902" y="35"/>
                    <a:pt x="902" y="35"/>
                    <a:pt x="902" y="35"/>
                  </a:cubicBezTo>
                  <a:cubicBezTo>
                    <a:pt x="902" y="35"/>
                    <a:pt x="902" y="35"/>
                    <a:pt x="902" y="35"/>
                  </a:cubicBezTo>
                  <a:cubicBezTo>
                    <a:pt x="902" y="35"/>
                    <a:pt x="901" y="35"/>
                    <a:pt x="901" y="35"/>
                  </a:cubicBezTo>
                  <a:cubicBezTo>
                    <a:pt x="901" y="35"/>
                    <a:pt x="901" y="35"/>
                    <a:pt x="901" y="35"/>
                  </a:cubicBezTo>
                  <a:cubicBezTo>
                    <a:pt x="901" y="34"/>
                    <a:pt x="901" y="34"/>
                    <a:pt x="900" y="34"/>
                  </a:cubicBezTo>
                  <a:cubicBezTo>
                    <a:pt x="900" y="34"/>
                    <a:pt x="900" y="34"/>
                    <a:pt x="900" y="34"/>
                  </a:cubicBezTo>
                  <a:cubicBezTo>
                    <a:pt x="900" y="34"/>
                    <a:pt x="900" y="34"/>
                    <a:pt x="900" y="34"/>
                  </a:cubicBezTo>
                  <a:cubicBezTo>
                    <a:pt x="900" y="34"/>
                    <a:pt x="900" y="34"/>
                    <a:pt x="899" y="34"/>
                  </a:cubicBezTo>
                  <a:cubicBezTo>
                    <a:pt x="899" y="34"/>
                    <a:pt x="899" y="34"/>
                    <a:pt x="899" y="34"/>
                  </a:cubicBezTo>
                  <a:cubicBezTo>
                    <a:pt x="899" y="34"/>
                    <a:pt x="899" y="34"/>
                    <a:pt x="898" y="34"/>
                  </a:cubicBezTo>
                  <a:cubicBezTo>
                    <a:pt x="898" y="34"/>
                    <a:pt x="898" y="34"/>
                    <a:pt x="898" y="34"/>
                  </a:cubicBezTo>
                  <a:cubicBezTo>
                    <a:pt x="898" y="33"/>
                    <a:pt x="898" y="34"/>
                    <a:pt x="897" y="33"/>
                  </a:cubicBezTo>
                  <a:cubicBezTo>
                    <a:pt x="897" y="33"/>
                    <a:pt x="897" y="33"/>
                    <a:pt x="897" y="33"/>
                  </a:cubicBezTo>
                  <a:cubicBezTo>
                    <a:pt x="897" y="33"/>
                    <a:pt x="897" y="33"/>
                    <a:pt x="897" y="33"/>
                  </a:cubicBezTo>
                  <a:cubicBezTo>
                    <a:pt x="897" y="33"/>
                    <a:pt x="896" y="33"/>
                    <a:pt x="896" y="33"/>
                  </a:cubicBezTo>
                  <a:cubicBezTo>
                    <a:pt x="895" y="33"/>
                    <a:pt x="895" y="33"/>
                    <a:pt x="895" y="33"/>
                  </a:cubicBezTo>
                  <a:cubicBezTo>
                    <a:pt x="894" y="33"/>
                    <a:pt x="894" y="33"/>
                    <a:pt x="893" y="33"/>
                  </a:cubicBezTo>
                  <a:cubicBezTo>
                    <a:pt x="891" y="33"/>
                    <a:pt x="890" y="33"/>
                    <a:pt x="888" y="33"/>
                  </a:cubicBezTo>
                  <a:cubicBezTo>
                    <a:pt x="887" y="33"/>
                    <a:pt x="886" y="33"/>
                    <a:pt x="886" y="33"/>
                  </a:cubicBezTo>
                  <a:cubicBezTo>
                    <a:pt x="885" y="33"/>
                    <a:pt x="885" y="33"/>
                    <a:pt x="885" y="33"/>
                  </a:cubicBezTo>
                  <a:cubicBezTo>
                    <a:pt x="885" y="33"/>
                    <a:pt x="885" y="33"/>
                    <a:pt x="885" y="33"/>
                  </a:cubicBezTo>
                  <a:cubicBezTo>
                    <a:pt x="885" y="33"/>
                    <a:pt x="884" y="33"/>
                    <a:pt x="884" y="33"/>
                  </a:cubicBezTo>
                  <a:cubicBezTo>
                    <a:pt x="884" y="33"/>
                    <a:pt x="884" y="33"/>
                    <a:pt x="884" y="33"/>
                  </a:cubicBezTo>
                  <a:cubicBezTo>
                    <a:pt x="884" y="34"/>
                    <a:pt x="883" y="33"/>
                    <a:pt x="883" y="34"/>
                  </a:cubicBezTo>
                  <a:cubicBezTo>
                    <a:pt x="883" y="34"/>
                    <a:pt x="883" y="34"/>
                    <a:pt x="882" y="34"/>
                  </a:cubicBezTo>
                  <a:cubicBezTo>
                    <a:pt x="882" y="34"/>
                    <a:pt x="882" y="34"/>
                    <a:pt x="882" y="34"/>
                  </a:cubicBezTo>
                  <a:cubicBezTo>
                    <a:pt x="882" y="34"/>
                    <a:pt x="882" y="34"/>
                    <a:pt x="881" y="34"/>
                  </a:cubicBezTo>
                  <a:cubicBezTo>
                    <a:pt x="881" y="34"/>
                    <a:pt x="881" y="34"/>
                    <a:pt x="881" y="34"/>
                  </a:cubicBezTo>
                  <a:cubicBezTo>
                    <a:pt x="881" y="34"/>
                    <a:pt x="881" y="34"/>
                    <a:pt x="881" y="34"/>
                  </a:cubicBezTo>
                  <a:cubicBezTo>
                    <a:pt x="880" y="35"/>
                    <a:pt x="880" y="34"/>
                    <a:pt x="880" y="35"/>
                  </a:cubicBezTo>
                  <a:cubicBezTo>
                    <a:pt x="880" y="35"/>
                    <a:pt x="880" y="35"/>
                    <a:pt x="880" y="35"/>
                  </a:cubicBezTo>
                  <a:cubicBezTo>
                    <a:pt x="879" y="35"/>
                    <a:pt x="879" y="35"/>
                    <a:pt x="879" y="35"/>
                  </a:cubicBezTo>
                  <a:cubicBezTo>
                    <a:pt x="879" y="35"/>
                    <a:pt x="879" y="35"/>
                    <a:pt x="879" y="35"/>
                  </a:cubicBezTo>
                  <a:cubicBezTo>
                    <a:pt x="879" y="35"/>
                    <a:pt x="879" y="35"/>
                    <a:pt x="879" y="35"/>
                  </a:cubicBezTo>
                  <a:cubicBezTo>
                    <a:pt x="878" y="35"/>
                    <a:pt x="878" y="35"/>
                    <a:pt x="878" y="35"/>
                  </a:cubicBezTo>
                  <a:cubicBezTo>
                    <a:pt x="878" y="35"/>
                    <a:pt x="878" y="35"/>
                    <a:pt x="878" y="35"/>
                  </a:cubicBezTo>
                  <a:cubicBezTo>
                    <a:pt x="878" y="35"/>
                    <a:pt x="878" y="36"/>
                    <a:pt x="878" y="36"/>
                  </a:cubicBezTo>
                  <a:cubicBezTo>
                    <a:pt x="878" y="36"/>
                    <a:pt x="878" y="36"/>
                    <a:pt x="878" y="36"/>
                  </a:cubicBezTo>
                  <a:cubicBezTo>
                    <a:pt x="878" y="36"/>
                    <a:pt x="877" y="36"/>
                    <a:pt x="877" y="36"/>
                  </a:cubicBezTo>
                  <a:cubicBezTo>
                    <a:pt x="877" y="36"/>
                    <a:pt x="877" y="36"/>
                    <a:pt x="877" y="36"/>
                  </a:cubicBezTo>
                  <a:cubicBezTo>
                    <a:pt x="877" y="36"/>
                    <a:pt x="876" y="36"/>
                    <a:pt x="876" y="37"/>
                  </a:cubicBezTo>
                  <a:cubicBezTo>
                    <a:pt x="876" y="37"/>
                    <a:pt x="876" y="37"/>
                    <a:pt x="876" y="37"/>
                  </a:cubicBezTo>
                  <a:cubicBezTo>
                    <a:pt x="876" y="37"/>
                    <a:pt x="876" y="37"/>
                    <a:pt x="876" y="37"/>
                  </a:cubicBezTo>
                  <a:cubicBezTo>
                    <a:pt x="876" y="37"/>
                    <a:pt x="876" y="37"/>
                    <a:pt x="876" y="37"/>
                  </a:cubicBezTo>
                  <a:cubicBezTo>
                    <a:pt x="876" y="37"/>
                    <a:pt x="875" y="37"/>
                    <a:pt x="875" y="38"/>
                  </a:cubicBezTo>
                  <a:cubicBezTo>
                    <a:pt x="875" y="38"/>
                    <a:pt x="875" y="38"/>
                    <a:pt x="875" y="38"/>
                  </a:cubicBezTo>
                  <a:cubicBezTo>
                    <a:pt x="875" y="38"/>
                    <a:pt x="875" y="38"/>
                    <a:pt x="875" y="38"/>
                  </a:cubicBezTo>
                  <a:cubicBezTo>
                    <a:pt x="875" y="38"/>
                    <a:pt x="875" y="38"/>
                    <a:pt x="875" y="38"/>
                  </a:cubicBezTo>
                  <a:cubicBezTo>
                    <a:pt x="875" y="38"/>
                    <a:pt x="874" y="38"/>
                    <a:pt x="874" y="38"/>
                  </a:cubicBezTo>
                  <a:cubicBezTo>
                    <a:pt x="874" y="38"/>
                    <a:pt x="874" y="38"/>
                    <a:pt x="874" y="38"/>
                  </a:cubicBezTo>
                  <a:cubicBezTo>
                    <a:pt x="874" y="38"/>
                    <a:pt x="874" y="38"/>
                    <a:pt x="874" y="39"/>
                  </a:cubicBezTo>
                  <a:cubicBezTo>
                    <a:pt x="874" y="39"/>
                    <a:pt x="874" y="39"/>
                    <a:pt x="874" y="39"/>
                  </a:cubicBezTo>
                  <a:cubicBezTo>
                    <a:pt x="874" y="39"/>
                    <a:pt x="874" y="39"/>
                    <a:pt x="874" y="39"/>
                  </a:cubicBezTo>
                  <a:cubicBezTo>
                    <a:pt x="874" y="39"/>
                    <a:pt x="874" y="39"/>
                    <a:pt x="874" y="39"/>
                  </a:cubicBezTo>
                  <a:cubicBezTo>
                    <a:pt x="874" y="39"/>
                    <a:pt x="873" y="39"/>
                    <a:pt x="873" y="39"/>
                  </a:cubicBezTo>
                  <a:cubicBezTo>
                    <a:pt x="873" y="39"/>
                    <a:pt x="873" y="39"/>
                    <a:pt x="873" y="39"/>
                  </a:cubicBezTo>
                  <a:cubicBezTo>
                    <a:pt x="873" y="39"/>
                    <a:pt x="873" y="39"/>
                    <a:pt x="873" y="40"/>
                  </a:cubicBezTo>
                  <a:cubicBezTo>
                    <a:pt x="873" y="40"/>
                    <a:pt x="873" y="40"/>
                    <a:pt x="873" y="40"/>
                  </a:cubicBezTo>
                  <a:cubicBezTo>
                    <a:pt x="873" y="40"/>
                    <a:pt x="873" y="40"/>
                    <a:pt x="873" y="40"/>
                  </a:cubicBezTo>
                  <a:cubicBezTo>
                    <a:pt x="873" y="40"/>
                    <a:pt x="873" y="40"/>
                    <a:pt x="873" y="40"/>
                  </a:cubicBezTo>
                  <a:cubicBezTo>
                    <a:pt x="873" y="40"/>
                    <a:pt x="872" y="40"/>
                    <a:pt x="872" y="40"/>
                  </a:cubicBezTo>
                  <a:cubicBezTo>
                    <a:pt x="872" y="40"/>
                    <a:pt x="872" y="40"/>
                    <a:pt x="872" y="40"/>
                  </a:cubicBezTo>
                  <a:cubicBezTo>
                    <a:pt x="872" y="40"/>
                    <a:pt x="872" y="40"/>
                    <a:pt x="872" y="41"/>
                  </a:cubicBezTo>
                  <a:cubicBezTo>
                    <a:pt x="872" y="41"/>
                    <a:pt x="872" y="41"/>
                    <a:pt x="872" y="41"/>
                  </a:cubicBezTo>
                  <a:cubicBezTo>
                    <a:pt x="872" y="41"/>
                    <a:pt x="872" y="41"/>
                    <a:pt x="872" y="41"/>
                  </a:cubicBezTo>
                  <a:cubicBezTo>
                    <a:pt x="872" y="41"/>
                    <a:pt x="872" y="41"/>
                    <a:pt x="872" y="41"/>
                  </a:cubicBezTo>
                  <a:cubicBezTo>
                    <a:pt x="871" y="41"/>
                    <a:pt x="871" y="41"/>
                    <a:pt x="871" y="41"/>
                  </a:cubicBezTo>
                  <a:cubicBezTo>
                    <a:pt x="871" y="41"/>
                    <a:pt x="871" y="41"/>
                    <a:pt x="871" y="41"/>
                  </a:cubicBezTo>
                  <a:cubicBezTo>
                    <a:pt x="871" y="41"/>
                    <a:pt x="871" y="42"/>
                    <a:pt x="871" y="42"/>
                  </a:cubicBezTo>
                  <a:cubicBezTo>
                    <a:pt x="871" y="42"/>
                    <a:pt x="871" y="42"/>
                    <a:pt x="871" y="42"/>
                  </a:cubicBezTo>
                  <a:cubicBezTo>
                    <a:pt x="871" y="42"/>
                    <a:pt x="871" y="42"/>
                    <a:pt x="871" y="42"/>
                  </a:cubicBezTo>
                  <a:cubicBezTo>
                    <a:pt x="871" y="42"/>
                    <a:pt x="871" y="42"/>
                    <a:pt x="871" y="42"/>
                  </a:cubicBezTo>
                  <a:cubicBezTo>
                    <a:pt x="870" y="42"/>
                    <a:pt x="870" y="43"/>
                    <a:pt x="870" y="43"/>
                  </a:cubicBezTo>
                  <a:cubicBezTo>
                    <a:pt x="870" y="43"/>
                    <a:pt x="870" y="43"/>
                    <a:pt x="870" y="43"/>
                  </a:cubicBezTo>
                  <a:cubicBezTo>
                    <a:pt x="870" y="43"/>
                    <a:pt x="870" y="43"/>
                    <a:pt x="870" y="43"/>
                  </a:cubicBezTo>
                  <a:cubicBezTo>
                    <a:pt x="870" y="43"/>
                    <a:pt x="870" y="43"/>
                    <a:pt x="870" y="43"/>
                  </a:cubicBezTo>
                  <a:cubicBezTo>
                    <a:pt x="870" y="44"/>
                    <a:pt x="870" y="44"/>
                    <a:pt x="870" y="44"/>
                  </a:cubicBezTo>
                  <a:cubicBezTo>
                    <a:pt x="870" y="44"/>
                    <a:pt x="870" y="44"/>
                    <a:pt x="870" y="44"/>
                  </a:cubicBezTo>
                  <a:cubicBezTo>
                    <a:pt x="869" y="44"/>
                    <a:pt x="869" y="44"/>
                    <a:pt x="869" y="44"/>
                  </a:cubicBezTo>
                  <a:cubicBezTo>
                    <a:pt x="869" y="44"/>
                    <a:pt x="869" y="44"/>
                    <a:pt x="869" y="44"/>
                  </a:cubicBezTo>
                  <a:cubicBezTo>
                    <a:pt x="869" y="45"/>
                    <a:pt x="869" y="45"/>
                    <a:pt x="869" y="45"/>
                  </a:cubicBezTo>
                  <a:cubicBezTo>
                    <a:pt x="869" y="45"/>
                    <a:pt x="869" y="45"/>
                    <a:pt x="869" y="45"/>
                  </a:cubicBezTo>
                  <a:cubicBezTo>
                    <a:pt x="869" y="45"/>
                    <a:pt x="869" y="45"/>
                    <a:pt x="869" y="46"/>
                  </a:cubicBezTo>
                  <a:cubicBezTo>
                    <a:pt x="869" y="46"/>
                    <a:pt x="869" y="46"/>
                    <a:pt x="869" y="46"/>
                  </a:cubicBezTo>
                  <a:cubicBezTo>
                    <a:pt x="868" y="46"/>
                    <a:pt x="868" y="46"/>
                    <a:pt x="868" y="45"/>
                  </a:cubicBezTo>
                  <a:cubicBezTo>
                    <a:pt x="868" y="45"/>
                    <a:pt x="868" y="45"/>
                    <a:pt x="868" y="45"/>
                  </a:cubicBezTo>
                  <a:cubicBezTo>
                    <a:pt x="868" y="45"/>
                    <a:pt x="868" y="45"/>
                    <a:pt x="868" y="45"/>
                  </a:cubicBezTo>
                  <a:cubicBezTo>
                    <a:pt x="868" y="45"/>
                    <a:pt x="868" y="45"/>
                    <a:pt x="867" y="44"/>
                  </a:cubicBezTo>
                  <a:cubicBezTo>
                    <a:pt x="867" y="44"/>
                    <a:pt x="867" y="44"/>
                    <a:pt x="867" y="44"/>
                  </a:cubicBezTo>
                  <a:cubicBezTo>
                    <a:pt x="867" y="44"/>
                    <a:pt x="867" y="44"/>
                    <a:pt x="867" y="44"/>
                  </a:cubicBezTo>
                  <a:cubicBezTo>
                    <a:pt x="867" y="44"/>
                    <a:pt x="867" y="44"/>
                    <a:pt x="867" y="44"/>
                  </a:cubicBezTo>
                  <a:cubicBezTo>
                    <a:pt x="867" y="44"/>
                    <a:pt x="867" y="43"/>
                    <a:pt x="867" y="43"/>
                  </a:cubicBezTo>
                  <a:cubicBezTo>
                    <a:pt x="867" y="43"/>
                    <a:pt x="867" y="43"/>
                    <a:pt x="867" y="43"/>
                  </a:cubicBezTo>
                  <a:cubicBezTo>
                    <a:pt x="867" y="43"/>
                    <a:pt x="867" y="43"/>
                    <a:pt x="866" y="42"/>
                  </a:cubicBezTo>
                  <a:cubicBezTo>
                    <a:pt x="866" y="42"/>
                    <a:pt x="866" y="42"/>
                    <a:pt x="866" y="42"/>
                  </a:cubicBezTo>
                  <a:cubicBezTo>
                    <a:pt x="866" y="42"/>
                    <a:pt x="866" y="42"/>
                    <a:pt x="866" y="42"/>
                  </a:cubicBezTo>
                  <a:cubicBezTo>
                    <a:pt x="866" y="42"/>
                    <a:pt x="866" y="42"/>
                    <a:pt x="866" y="42"/>
                  </a:cubicBezTo>
                  <a:cubicBezTo>
                    <a:pt x="866" y="42"/>
                    <a:pt x="866" y="41"/>
                    <a:pt x="866" y="41"/>
                  </a:cubicBezTo>
                  <a:cubicBezTo>
                    <a:pt x="866" y="41"/>
                    <a:pt x="866" y="41"/>
                    <a:pt x="866" y="41"/>
                  </a:cubicBezTo>
                  <a:cubicBezTo>
                    <a:pt x="865" y="41"/>
                    <a:pt x="866" y="41"/>
                    <a:pt x="865" y="41"/>
                  </a:cubicBezTo>
                  <a:cubicBezTo>
                    <a:pt x="865" y="41"/>
                    <a:pt x="865" y="41"/>
                    <a:pt x="865" y="41"/>
                  </a:cubicBezTo>
                  <a:cubicBezTo>
                    <a:pt x="865" y="40"/>
                    <a:pt x="865" y="40"/>
                    <a:pt x="865" y="40"/>
                  </a:cubicBezTo>
                  <a:cubicBezTo>
                    <a:pt x="865" y="40"/>
                    <a:pt x="865" y="40"/>
                    <a:pt x="865" y="40"/>
                  </a:cubicBezTo>
                  <a:cubicBezTo>
                    <a:pt x="865" y="40"/>
                    <a:pt x="865"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4" y="39"/>
                    <a:pt x="864" y="39"/>
                    <a:pt x="864" y="39"/>
                  </a:cubicBezTo>
                  <a:cubicBezTo>
                    <a:pt x="863" y="38"/>
                    <a:pt x="863" y="38"/>
                    <a:pt x="863" y="38"/>
                  </a:cubicBezTo>
                  <a:cubicBezTo>
                    <a:pt x="863" y="38"/>
                    <a:pt x="863" y="38"/>
                    <a:pt x="863" y="38"/>
                  </a:cubicBezTo>
                  <a:cubicBezTo>
                    <a:pt x="863" y="38"/>
                    <a:pt x="863" y="38"/>
                    <a:pt x="863" y="38"/>
                  </a:cubicBezTo>
                  <a:cubicBezTo>
                    <a:pt x="863" y="38"/>
                    <a:pt x="863" y="38"/>
                    <a:pt x="863" y="38"/>
                  </a:cubicBezTo>
                  <a:cubicBezTo>
                    <a:pt x="863" y="38"/>
                    <a:pt x="863" y="38"/>
                    <a:pt x="862" y="38"/>
                  </a:cubicBezTo>
                  <a:cubicBezTo>
                    <a:pt x="862" y="38"/>
                    <a:pt x="862" y="38"/>
                    <a:pt x="862" y="38"/>
                  </a:cubicBezTo>
                  <a:cubicBezTo>
                    <a:pt x="862" y="37"/>
                    <a:pt x="862" y="37"/>
                    <a:pt x="862" y="37"/>
                  </a:cubicBezTo>
                  <a:cubicBezTo>
                    <a:pt x="862" y="37"/>
                    <a:pt x="862" y="37"/>
                    <a:pt x="862" y="37"/>
                  </a:cubicBezTo>
                  <a:cubicBezTo>
                    <a:pt x="862" y="37"/>
                    <a:pt x="862" y="37"/>
                    <a:pt x="862" y="37"/>
                  </a:cubicBezTo>
                  <a:cubicBezTo>
                    <a:pt x="862" y="37"/>
                    <a:pt x="862" y="37"/>
                    <a:pt x="862" y="37"/>
                  </a:cubicBezTo>
                  <a:cubicBezTo>
                    <a:pt x="861" y="37"/>
                    <a:pt x="861" y="37"/>
                    <a:pt x="861" y="36"/>
                  </a:cubicBezTo>
                  <a:cubicBezTo>
                    <a:pt x="861" y="36"/>
                    <a:pt x="861" y="36"/>
                    <a:pt x="861" y="36"/>
                  </a:cubicBezTo>
                  <a:cubicBezTo>
                    <a:pt x="861" y="36"/>
                    <a:pt x="861" y="36"/>
                    <a:pt x="861" y="36"/>
                  </a:cubicBezTo>
                  <a:cubicBezTo>
                    <a:pt x="861" y="36"/>
                    <a:pt x="861" y="36"/>
                    <a:pt x="861" y="36"/>
                  </a:cubicBezTo>
                  <a:cubicBezTo>
                    <a:pt x="861" y="36"/>
                    <a:pt x="860" y="36"/>
                    <a:pt x="860" y="36"/>
                  </a:cubicBezTo>
                  <a:cubicBezTo>
                    <a:pt x="860" y="36"/>
                    <a:pt x="860" y="36"/>
                    <a:pt x="860" y="36"/>
                  </a:cubicBezTo>
                  <a:cubicBezTo>
                    <a:pt x="860" y="36"/>
                    <a:pt x="860" y="36"/>
                    <a:pt x="859" y="35"/>
                  </a:cubicBezTo>
                  <a:cubicBezTo>
                    <a:pt x="859" y="35"/>
                    <a:pt x="859" y="35"/>
                    <a:pt x="859" y="35"/>
                  </a:cubicBezTo>
                  <a:cubicBezTo>
                    <a:pt x="859" y="35"/>
                    <a:pt x="859" y="35"/>
                    <a:pt x="859" y="35"/>
                  </a:cubicBezTo>
                  <a:cubicBezTo>
                    <a:pt x="859" y="35"/>
                    <a:pt x="859" y="35"/>
                    <a:pt x="859" y="35"/>
                  </a:cubicBezTo>
                  <a:cubicBezTo>
                    <a:pt x="859" y="35"/>
                    <a:pt x="859" y="35"/>
                    <a:pt x="858" y="35"/>
                  </a:cubicBezTo>
                  <a:cubicBezTo>
                    <a:pt x="858" y="35"/>
                    <a:pt x="858" y="35"/>
                    <a:pt x="858" y="35"/>
                  </a:cubicBezTo>
                  <a:cubicBezTo>
                    <a:pt x="858" y="34"/>
                    <a:pt x="858" y="35"/>
                    <a:pt x="858" y="34"/>
                  </a:cubicBezTo>
                  <a:cubicBezTo>
                    <a:pt x="858" y="34"/>
                    <a:pt x="858" y="34"/>
                    <a:pt x="858" y="34"/>
                  </a:cubicBezTo>
                  <a:cubicBezTo>
                    <a:pt x="857" y="34"/>
                    <a:pt x="857" y="34"/>
                    <a:pt x="857" y="34"/>
                  </a:cubicBezTo>
                  <a:cubicBezTo>
                    <a:pt x="857" y="34"/>
                    <a:pt x="857" y="34"/>
                    <a:pt x="857" y="34"/>
                  </a:cubicBezTo>
                  <a:cubicBezTo>
                    <a:pt x="857" y="34"/>
                    <a:pt x="857" y="34"/>
                    <a:pt x="857" y="34"/>
                  </a:cubicBezTo>
                  <a:cubicBezTo>
                    <a:pt x="856" y="34"/>
                    <a:pt x="856" y="34"/>
                    <a:pt x="856" y="34"/>
                  </a:cubicBezTo>
                  <a:cubicBezTo>
                    <a:pt x="856" y="34"/>
                    <a:pt x="856" y="34"/>
                    <a:pt x="856" y="34"/>
                  </a:cubicBezTo>
                  <a:cubicBezTo>
                    <a:pt x="855" y="33"/>
                    <a:pt x="855" y="33"/>
                    <a:pt x="855" y="33"/>
                  </a:cubicBezTo>
                  <a:cubicBezTo>
                    <a:pt x="855" y="33"/>
                    <a:pt x="855" y="33"/>
                    <a:pt x="855" y="33"/>
                  </a:cubicBezTo>
                  <a:cubicBezTo>
                    <a:pt x="855" y="33"/>
                    <a:pt x="855" y="33"/>
                    <a:pt x="855" y="33"/>
                  </a:cubicBezTo>
                  <a:cubicBezTo>
                    <a:pt x="854" y="33"/>
                    <a:pt x="854" y="33"/>
                    <a:pt x="853" y="33"/>
                  </a:cubicBezTo>
                  <a:cubicBezTo>
                    <a:pt x="853" y="33"/>
                    <a:pt x="853" y="33"/>
                    <a:pt x="853" y="33"/>
                  </a:cubicBezTo>
                  <a:cubicBezTo>
                    <a:pt x="853" y="33"/>
                    <a:pt x="853" y="33"/>
                    <a:pt x="853" y="33"/>
                  </a:cubicBezTo>
                  <a:cubicBezTo>
                    <a:pt x="852" y="33"/>
                    <a:pt x="852" y="33"/>
                    <a:pt x="851" y="33"/>
                  </a:cubicBezTo>
                  <a:cubicBezTo>
                    <a:pt x="850" y="33"/>
                    <a:pt x="848" y="33"/>
                    <a:pt x="847" y="33"/>
                  </a:cubicBezTo>
                  <a:cubicBezTo>
                    <a:pt x="846" y="33"/>
                    <a:pt x="845" y="33"/>
                    <a:pt x="844" y="33"/>
                  </a:cubicBezTo>
                  <a:cubicBezTo>
                    <a:pt x="844" y="33"/>
                    <a:pt x="844" y="33"/>
                    <a:pt x="844" y="33"/>
                  </a:cubicBezTo>
                  <a:cubicBezTo>
                    <a:pt x="844" y="33"/>
                    <a:pt x="843" y="33"/>
                    <a:pt x="843" y="33"/>
                  </a:cubicBezTo>
                  <a:cubicBezTo>
                    <a:pt x="843" y="33"/>
                    <a:pt x="843" y="33"/>
                    <a:pt x="842" y="33"/>
                  </a:cubicBezTo>
                  <a:cubicBezTo>
                    <a:pt x="842" y="34"/>
                    <a:pt x="842" y="33"/>
                    <a:pt x="841" y="34"/>
                  </a:cubicBezTo>
                  <a:cubicBezTo>
                    <a:pt x="841" y="34"/>
                    <a:pt x="841" y="34"/>
                    <a:pt x="841" y="34"/>
                  </a:cubicBezTo>
                  <a:cubicBezTo>
                    <a:pt x="841" y="34"/>
                    <a:pt x="841" y="34"/>
                    <a:pt x="840" y="34"/>
                  </a:cubicBezTo>
                  <a:cubicBezTo>
                    <a:pt x="840" y="34"/>
                    <a:pt x="840" y="34"/>
                    <a:pt x="840" y="34"/>
                  </a:cubicBezTo>
                  <a:cubicBezTo>
                    <a:pt x="840" y="34"/>
                    <a:pt x="840" y="34"/>
                    <a:pt x="840" y="34"/>
                  </a:cubicBezTo>
                  <a:cubicBezTo>
                    <a:pt x="839" y="34"/>
                    <a:pt x="839" y="34"/>
                    <a:pt x="839" y="34"/>
                  </a:cubicBezTo>
                  <a:cubicBezTo>
                    <a:pt x="839" y="34"/>
                    <a:pt x="839" y="34"/>
                    <a:pt x="839" y="34"/>
                  </a:cubicBezTo>
                  <a:cubicBezTo>
                    <a:pt x="839" y="34"/>
                    <a:pt x="839" y="34"/>
                    <a:pt x="839" y="35"/>
                  </a:cubicBezTo>
                  <a:cubicBezTo>
                    <a:pt x="839" y="35"/>
                    <a:pt x="839" y="35"/>
                    <a:pt x="839" y="35"/>
                  </a:cubicBezTo>
                  <a:cubicBezTo>
                    <a:pt x="838" y="35"/>
                    <a:pt x="838" y="35"/>
                    <a:pt x="838" y="35"/>
                  </a:cubicBezTo>
                  <a:cubicBezTo>
                    <a:pt x="838" y="35"/>
                    <a:pt x="838" y="35"/>
                    <a:pt x="838" y="35"/>
                  </a:cubicBezTo>
                  <a:cubicBezTo>
                    <a:pt x="838" y="35"/>
                    <a:pt x="837" y="35"/>
                    <a:pt x="837" y="35"/>
                  </a:cubicBezTo>
                  <a:cubicBezTo>
                    <a:pt x="837" y="35"/>
                    <a:pt x="837" y="35"/>
                    <a:pt x="837" y="35"/>
                  </a:cubicBezTo>
                  <a:cubicBezTo>
                    <a:pt x="837" y="35"/>
                    <a:pt x="837" y="36"/>
                    <a:pt x="837" y="36"/>
                  </a:cubicBezTo>
                  <a:cubicBezTo>
                    <a:pt x="837" y="36"/>
                    <a:pt x="837" y="36"/>
                    <a:pt x="837" y="36"/>
                  </a:cubicBezTo>
                  <a:cubicBezTo>
                    <a:pt x="837" y="36"/>
                    <a:pt x="836" y="36"/>
                    <a:pt x="836" y="36"/>
                  </a:cubicBezTo>
                  <a:cubicBezTo>
                    <a:pt x="836" y="36"/>
                    <a:pt x="836" y="36"/>
                    <a:pt x="836" y="36"/>
                  </a:cubicBezTo>
                  <a:cubicBezTo>
                    <a:pt x="836" y="36"/>
                    <a:pt x="835" y="36"/>
                    <a:pt x="835" y="37"/>
                  </a:cubicBezTo>
                  <a:cubicBezTo>
                    <a:pt x="835" y="37"/>
                    <a:pt x="835" y="37"/>
                    <a:pt x="835" y="37"/>
                  </a:cubicBezTo>
                  <a:cubicBezTo>
                    <a:pt x="835" y="37"/>
                    <a:pt x="835" y="37"/>
                    <a:pt x="835" y="37"/>
                  </a:cubicBezTo>
                  <a:cubicBezTo>
                    <a:pt x="835" y="37"/>
                    <a:pt x="835" y="37"/>
                    <a:pt x="835" y="37"/>
                  </a:cubicBezTo>
                  <a:cubicBezTo>
                    <a:pt x="834" y="37"/>
                    <a:pt x="834" y="37"/>
                    <a:pt x="834" y="38"/>
                  </a:cubicBezTo>
                  <a:cubicBezTo>
                    <a:pt x="834" y="38"/>
                    <a:pt x="834" y="38"/>
                    <a:pt x="834" y="38"/>
                  </a:cubicBezTo>
                  <a:cubicBezTo>
                    <a:pt x="834" y="38"/>
                    <a:pt x="833" y="38"/>
                    <a:pt x="833" y="38"/>
                  </a:cubicBezTo>
                  <a:cubicBezTo>
                    <a:pt x="833" y="38"/>
                    <a:pt x="833" y="38"/>
                    <a:pt x="833" y="38"/>
                  </a:cubicBezTo>
                  <a:cubicBezTo>
                    <a:pt x="833" y="38"/>
                    <a:pt x="833" y="38"/>
                    <a:pt x="833" y="39"/>
                  </a:cubicBezTo>
                  <a:cubicBezTo>
                    <a:pt x="833" y="39"/>
                    <a:pt x="833" y="39"/>
                    <a:pt x="833" y="39"/>
                  </a:cubicBezTo>
                  <a:cubicBezTo>
                    <a:pt x="833" y="39"/>
                    <a:pt x="833" y="39"/>
                    <a:pt x="833" y="39"/>
                  </a:cubicBezTo>
                  <a:cubicBezTo>
                    <a:pt x="833" y="39"/>
                    <a:pt x="833" y="39"/>
                    <a:pt x="833" y="39"/>
                  </a:cubicBezTo>
                  <a:cubicBezTo>
                    <a:pt x="832" y="39"/>
                    <a:pt x="832" y="39"/>
                    <a:pt x="832" y="39"/>
                  </a:cubicBezTo>
                  <a:cubicBezTo>
                    <a:pt x="832" y="39"/>
                    <a:pt x="832" y="39"/>
                    <a:pt x="832" y="39"/>
                  </a:cubicBezTo>
                  <a:cubicBezTo>
                    <a:pt x="832" y="39"/>
                    <a:pt x="832" y="39"/>
                    <a:pt x="832" y="40"/>
                  </a:cubicBezTo>
                  <a:cubicBezTo>
                    <a:pt x="832" y="40"/>
                    <a:pt x="832" y="40"/>
                    <a:pt x="832" y="40"/>
                  </a:cubicBezTo>
                  <a:cubicBezTo>
                    <a:pt x="832" y="40"/>
                    <a:pt x="832" y="40"/>
                    <a:pt x="832" y="40"/>
                  </a:cubicBezTo>
                  <a:cubicBezTo>
                    <a:pt x="832" y="40"/>
                    <a:pt x="832" y="40"/>
                    <a:pt x="832" y="40"/>
                  </a:cubicBezTo>
                  <a:cubicBezTo>
                    <a:pt x="831" y="40"/>
                    <a:pt x="831" y="40"/>
                    <a:pt x="831" y="40"/>
                  </a:cubicBezTo>
                  <a:cubicBezTo>
                    <a:pt x="831" y="40"/>
                    <a:pt x="831" y="40"/>
                    <a:pt x="831" y="40"/>
                  </a:cubicBezTo>
                  <a:cubicBezTo>
                    <a:pt x="831" y="41"/>
                    <a:pt x="831" y="41"/>
                    <a:pt x="831" y="41"/>
                  </a:cubicBezTo>
                  <a:cubicBezTo>
                    <a:pt x="831" y="41"/>
                    <a:pt x="831" y="41"/>
                    <a:pt x="831" y="41"/>
                  </a:cubicBezTo>
                  <a:cubicBezTo>
                    <a:pt x="830" y="41"/>
                    <a:pt x="830" y="42"/>
                    <a:pt x="830" y="42"/>
                  </a:cubicBezTo>
                  <a:cubicBezTo>
                    <a:pt x="830" y="42"/>
                    <a:pt x="830" y="42"/>
                    <a:pt x="830" y="42"/>
                  </a:cubicBezTo>
                  <a:cubicBezTo>
                    <a:pt x="830" y="42"/>
                    <a:pt x="830" y="42"/>
                    <a:pt x="830" y="42"/>
                  </a:cubicBezTo>
                  <a:cubicBezTo>
                    <a:pt x="830" y="42"/>
                    <a:pt x="830" y="42"/>
                    <a:pt x="830" y="42"/>
                  </a:cubicBezTo>
                  <a:cubicBezTo>
                    <a:pt x="830" y="42"/>
                    <a:pt x="830" y="43"/>
                    <a:pt x="829" y="43"/>
                  </a:cubicBezTo>
                  <a:cubicBezTo>
                    <a:pt x="829" y="43"/>
                    <a:pt x="829" y="43"/>
                    <a:pt x="829" y="43"/>
                  </a:cubicBezTo>
                  <a:cubicBezTo>
                    <a:pt x="829" y="43"/>
                    <a:pt x="829" y="43"/>
                    <a:pt x="829" y="43"/>
                  </a:cubicBezTo>
                  <a:cubicBezTo>
                    <a:pt x="829" y="43"/>
                    <a:pt x="829" y="43"/>
                    <a:pt x="829" y="43"/>
                  </a:cubicBezTo>
                  <a:cubicBezTo>
                    <a:pt x="829" y="43"/>
                    <a:pt x="829" y="44"/>
                    <a:pt x="829" y="44"/>
                  </a:cubicBezTo>
                  <a:cubicBezTo>
                    <a:pt x="829" y="44"/>
                    <a:pt x="829" y="44"/>
                    <a:pt x="829" y="44"/>
                  </a:cubicBezTo>
                  <a:cubicBezTo>
                    <a:pt x="829" y="44"/>
                    <a:pt x="829" y="44"/>
                    <a:pt x="828" y="44"/>
                  </a:cubicBezTo>
                  <a:cubicBezTo>
                    <a:pt x="828" y="44"/>
                    <a:pt x="828" y="44"/>
                    <a:pt x="828" y="44"/>
                  </a:cubicBezTo>
                  <a:cubicBezTo>
                    <a:pt x="828" y="44"/>
                    <a:pt x="828" y="43"/>
                    <a:pt x="828" y="43"/>
                  </a:cubicBezTo>
                  <a:cubicBezTo>
                    <a:pt x="828" y="40"/>
                    <a:pt x="828" y="38"/>
                    <a:pt x="828" y="36"/>
                  </a:cubicBezTo>
                  <a:cubicBezTo>
                    <a:pt x="828" y="34"/>
                    <a:pt x="827" y="34"/>
                    <a:pt x="826" y="34"/>
                  </a:cubicBezTo>
                  <a:cubicBezTo>
                    <a:pt x="824" y="34"/>
                    <a:pt x="821" y="34"/>
                    <a:pt x="819" y="34"/>
                  </a:cubicBezTo>
                  <a:cubicBezTo>
                    <a:pt x="817" y="34"/>
                    <a:pt x="817" y="34"/>
                    <a:pt x="817" y="36"/>
                  </a:cubicBezTo>
                  <a:cubicBezTo>
                    <a:pt x="817" y="50"/>
                    <a:pt x="817" y="63"/>
                    <a:pt x="817" y="77"/>
                  </a:cubicBezTo>
                  <a:cubicBezTo>
                    <a:pt x="817" y="85"/>
                    <a:pt x="817" y="92"/>
                    <a:pt x="817" y="100"/>
                  </a:cubicBezTo>
                  <a:cubicBezTo>
                    <a:pt x="817" y="101"/>
                    <a:pt x="817" y="102"/>
                    <a:pt x="819" y="102"/>
                  </a:cubicBezTo>
                  <a:cubicBezTo>
                    <a:pt x="821" y="102"/>
                    <a:pt x="824" y="102"/>
                    <a:pt x="826" y="102"/>
                  </a:cubicBezTo>
                  <a:cubicBezTo>
                    <a:pt x="828" y="102"/>
                    <a:pt x="828" y="102"/>
                    <a:pt x="828" y="100"/>
                  </a:cubicBezTo>
                  <a:cubicBezTo>
                    <a:pt x="828" y="88"/>
                    <a:pt x="828" y="76"/>
                    <a:pt x="828" y="65"/>
                  </a:cubicBezTo>
                  <a:cubicBezTo>
                    <a:pt x="828" y="64"/>
                    <a:pt x="828" y="63"/>
                    <a:pt x="828" y="63"/>
                  </a:cubicBezTo>
                  <a:cubicBezTo>
                    <a:pt x="828" y="62"/>
                    <a:pt x="828" y="61"/>
                    <a:pt x="828" y="61"/>
                  </a:cubicBezTo>
                  <a:cubicBezTo>
                    <a:pt x="828" y="60"/>
                    <a:pt x="828" y="59"/>
                    <a:pt x="828" y="58"/>
                  </a:cubicBezTo>
                  <a:cubicBezTo>
                    <a:pt x="828" y="58"/>
                    <a:pt x="828" y="58"/>
                    <a:pt x="828" y="58"/>
                  </a:cubicBezTo>
                  <a:cubicBezTo>
                    <a:pt x="828" y="58"/>
                    <a:pt x="828" y="58"/>
                    <a:pt x="828" y="58"/>
                  </a:cubicBezTo>
                  <a:cubicBezTo>
                    <a:pt x="829" y="58"/>
                    <a:pt x="828" y="57"/>
                    <a:pt x="829" y="56"/>
                  </a:cubicBezTo>
                  <a:cubicBezTo>
                    <a:pt x="829" y="56"/>
                    <a:pt x="829" y="56"/>
                    <a:pt x="829" y="56"/>
                  </a:cubicBezTo>
                  <a:cubicBezTo>
                    <a:pt x="829" y="56"/>
                    <a:pt x="829" y="56"/>
                    <a:pt x="829" y="56"/>
                  </a:cubicBezTo>
                  <a:cubicBezTo>
                    <a:pt x="829" y="56"/>
                    <a:pt x="829" y="55"/>
                    <a:pt x="829" y="55"/>
                  </a:cubicBezTo>
                  <a:cubicBezTo>
                    <a:pt x="829" y="55"/>
                    <a:pt x="829" y="55"/>
                    <a:pt x="829" y="55"/>
                  </a:cubicBezTo>
                  <a:cubicBezTo>
                    <a:pt x="829" y="55"/>
                    <a:pt x="829" y="55"/>
                    <a:pt x="829" y="55"/>
                  </a:cubicBezTo>
                  <a:cubicBezTo>
                    <a:pt x="829" y="55"/>
                    <a:pt x="829" y="54"/>
                    <a:pt x="829" y="54"/>
                  </a:cubicBezTo>
                  <a:cubicBezTo>
                    <a:pt x="829" y="54"/>
                    <a:pt x="829" y="54"/>
                    <a:pt x="829" y="54"/>
                  </a:cubicBezTo>
                  <a:cubicBezTo>
                    <a:pt x="830" y="54"/>
                    <a:pt x="829" y="53"/>
                    <a:pt x="830" y="53"/>
                  </a:cubicBezTo>
                  <a:cubicBezTo>
                    <a:pt x="830" y="53"/>
                    <a:pt x="830" y="53"/>
                    <a:pt x="830" y="53"/>
                  </a:cubicBezTo>
                  <a:cubicBezTo>
                    <a:pt x="830" y="53"/>
                    <a:pt x="830" y="52"/>
                    <a:pt x="830" y="52"/>
                  </a:cubicBezTo>
                  <a:cubicBezTo>
                    <a:pt x="830" y="52"/>
                    <a:pt x="830" y="52"/>
                    <a:pt x="830" y="52"/>
                  </a:cubicBezTo>
                  <a:cubicBezTo>
                    <a:pt x="830" y="52"/>
                    <a:pt x="830" y="52"/>
                    <a:pt x="830" y="51"/>
                  </a:cubicBezTo>
                  <a:cubicBezTo>
                    <a:pt x="830" y="51"/>
                    <a:pt x="830" y="51"/>
                    <a:pt x="830" y="51"/>
                  </a:cubicBezTo>
                  <a:cubicBezTo>
                    <a:pt x="831" y="51"/>
                    <a:pt x="831" y="51"/>
                    <a:pt x="831" y="51"/>
                  </a:cubicBezTo>
                  <a:cubicBezTo>
                    <a:pt x="831" y="51"/>
                    <a:pt x="831" y="51"/>
                    <a:pt x="831" y="51"/>
                  </a:cubicBezTo>
                  <a:cubicBezTo>
                    <a:pt x="831" y="51"/>
                    <a:pt x="831" y="50"/>
                    <a:pt x="831" y="50"/>
                  </a:cubicBezTo>
                  <a:cubicBezTo>
                    <a:pt x="831" y="50"/>
                    <a:pt x="831" y="50"/>
                    <a:pt x="831" y="50"/>
                  </a:cubicBezTo>
                  <a:cubicBezTo>
                    <a:pt x="831" y="50"/>
                    <a:pt x="831" y="49"/>
                    <a:pt x="832" y="49"/>
                  </a:cubicBezTo>
                  <a:cubicBezTo>
                    <a:pt x="832" y="49"/>
                    <a:pt x="832" y="49"/>
                    <a:pt x="832" y="49"/>
                  </a:cubicBezTo>
                  <a:cubicBezTo>
                    <a:pt x="832" y="49"/>
                    <a:pt x="832" y="49"/>
                    <a:pt x="832" y="49"/>
                  </a:cubicBezTo>
                  <a:cubicBezTo>
                    <a:pt x="832" y="49"/>
                    <a:pt x="832" y="49"/>
                    <a:pt x="832" y="49"/>
                  </a:cubicBezTo>
                  <a:cubicBezTo>
                    <a:pt x="832" y="49"/>
                    <a:pt x="832" y="48"/>
                    <a:pt x="832" y="48"/>
                  </a:cubicBezTo>
                  <a:cubicBezTo>
                    <a:pt x="832" y="48"/>
                    <a:pt x="832" y="48"/>
                    <a:pt x="832" y="48"/>
                  </a:cubicBezTo>
                  <a:cubicBezTo>
                    <a:pt x="832" y="48"/>
                    <a:pt x="833" y="48"/>
                    <a:pt x="833" y="48"/>
                  </a:cubicBezTo>
                  <a:cubicBezTo>
                    <a:pt x="833" y="48"/>
                    <a:pt x="833" y="48"/>
                    <a:pt x="833" y="48"/>
                  </a:cubicBezTo>
                  <a:cubicBezTo>
                    <a:pt x="833" y="48"/>
                    <a:pt x="833" y="48"/>
                    <a:pt x="833" y="47"/>
                  </a:cubicBezTo>
                  <a:cubicBezTo>
                    <a:pt x="833" y="48"/>
                    <a:pt x="833" y="48"/>
                    <a:pt x="833" y="48"/>
                  </a:cubicBezTo>
                  <a:cubicBezTo>
                    <a:pt x="833" y="47"/>
                    <a:pt x="833" y="47"/>
                    <a:pt x="833" y="47"/>
                  </a:cubicBezTo>
                  <a:cubicBezTo>
                    <a:pt x="833" y="47"/>
                    <a:pt x="833" y="47"/>
                    <a:pt x="833" y="47"/>
                  </a:cubicBezTo>
                  <a:cubicBezTo>
                    <a:pt x="834" y="47"/>
                    <a:pt x="834" y="46"/>
                    <a:pt x="835" y="45"/>
                  </a:cubicBezTo>
                  <a:cubicBezTo>
                    <a:pt x="835" y="45"/>
                    <a:pt x="835" y="45"/>
                    <a:pt x="835" y="45"/>
                  </a:cubicBezTo>
                  <a:cubicBezTo>
                    <a:pt x="835" y="45"/>
                    <a:pt x="835" y="45"/>
                    <a:pt x="835" y="45"/>
                  </a:cubicBezTo>
                  <a:cubicBezTo>
                    <a:pt x="835" y="45"/>
                    <a:pt x="835" y="45"/>
                    <a:pt x="835" y="45"/>
                  </a:cubicBezTo>
                  <a:cubicBezTo>
                    <a:pt x="836" y="45"/>
                    <a:pt x="836" y="45"/>
                    <a:pt x="836" y="45"/>
                  </a:cubicBezTo>
                  <a:cubicBezTo>
                    <a:pt x="836" y="45"/>
                    <a:pt x="836" y="45"/>
                    <a:pt x="836" y="45"/>
                  </a:cubicBezTo>
                  <a:cubicBezTo>
                    <a:pt x="836" y="45"/>
                    <a:pt x="836" y="45"/>
                    <a:pt x="836" y="44"/>
                  </a:cubicBezTo>
                  <a:cubicBezTo>
                    <a:pt x="836" y="44"/>
                    <a:pt x="836" y="44"/>
                    <a:pt x="836" y="44"/>
                  </a:cubicBezTo>
                  <a:cubicBezTo>
                    <a:pt x="836" y="44"/>
                    <a:pt x="837" y="44"/>
                    <a:pt x="837" y="44"/>
                  </a:cubicBezTo>
                  <a:cubicBezTo>
                    <a:pt x="837" y="44"/>
                    <a:pt x="837" y="44"/>
                    <a:pt x="837" y="44"/>
                  </a:cubicBezTo>
                  <a:cubicBezTo>
                    <a:pt x="837" y="44"/>
                    <a:pt x="837" y="44"/>
                    <a:pt x="837" y="44"/>
                  </a:cubicBezTo>
                  <a:cubicBezTo>
                    <a:pt x="837" y="44"/>
                    <a:pt x="837" y="44"/>
                    <a:pt x="837" y="44"/>
                  </a:cubicBezTo>
                  <a:cubicBezTo>
                    <a:pt x="838" y="44"/>
                    <a:pt x="838" y="44"/>
                    <a:pt x="838" y="43"/>
                  </a:cubicBezTo>
                  <a:cubicBezTo>
                    <a:pt x="838" y="43"/>
                    <a:pt x="838" y="43"/>
                    <a:pt x="838" y="43"/>
                  </a:cubicBezTo>
                  <a:cubicBezTo>
                    <a:pt x="838" y="43"/>
                    <a:pt x="838" y="43"/>
                    <a:pt x="838" y="43"/>
                  </a:cubicBezTo>
                  <a:cubicBezTo>
                    <a:pt x="838" y="43"/>
                    <a:pt x="839" y="43"/>
                    <a:pt x="839" y="43"/>
                  </a:cubicBezTo>
                  <a:cubicBezTo>
                    <a:pt x="839" y="43"/>
                    <a:pt x="839" y="43"/>
                    <a:pt x="839" y="43"/>
                  </a:cubicBezTo>
                  <a:cubicBezTo>
                    <a:pt x="839" y="43"/>
                    <a:pt x="839" y="43"/>
                    <a:pt x="840" y="43"/>
                  </a:cubicBezTo>
                  <a:cubicBezTo>
                    <a:pt x="840" y="43"/>
                    <a:pt x="840" y="43"/>
                    <a:pt x="840" y="43"/>
                  </a:cubicBezTo>
                  <a:cubicBezTo>
                    <a:pt x="840" y="43"/>
                    <a:pt x="840" y="43"/>
                    <a:pt x="840" y="43"/>
                  </a:cubicBezTo>
                  <a:cubicBezTo>
                    <a:pt x="840" y="42"/>
                    <a:pt x="841" y="43"/>
                    <a:pt x="841" y="42"/>
                  </a:cubicBezTo>
                  <a:close/>
                  <a:moveTo>
                    <a:pt x="1667" y="58"/>
                  </a:moveTo>
                  <a:cubicBezTo>
                    <a:pt x="1667" y="58"/>
                    <a:pt x="1667" y="58"/>
                    <a:pt x="1667" y="58"/>
                  </a:cubicBezTo>
                  <a:cubicBezTo>
                    <a:pt x="1667" y="58"/>
                    <a:pt x="1667" y="58"/>
                    <a:pt x="1667" y="58"/>
                  </a:cubicBezTo>
                  <a:cubicBezTo>
                    <a:pt x="1667" y="57"/>
                    <a:pt x="1667" y="58"/>
                    <a:pt x="1668" y="57"/>
                  </a:cubicBezTo>
                  <a:cubicBezTo>
                    <a:pt x="1668" y="57"/>
                    <a:pt x="1668" y="57"/>
                    <a:pt x="1668" y="57"/>
                  </a:cubicBezTo>
                  <a:cubicBezTo>
                    <a:pt x="1668" y="57"/>
                    <a:pt x="1668" y="57"/>
                    <a:pt x="1669" y="57"/>
                  </a:cubicBezTo>
                  <a:cubicBezTo>
                    <a:pt x="1669" y="57"/>
                    <a:pt x="1669" y="57"/>
                    <a:pt x="1669" y="57"/>
                  </a:cubicBezTo>
                  <a:cubicBezTo>
                    <a:pt x="1669" y="57"/>
                    <a:pt x="1669" y="57"/>
                    <a:pt x="1669" y="57"/>
                  </a:cubicBezTo>
                  <a:cubicBezTo>
                    <a:pt x="1669" y="57"/>
                    <a:pt x="1669" y="57"/>
                    <a:pt x="1669" y="57"/>
                  </a:cubicBezTo>
                  <a:cubicBezTo>
                    <a:pt x="1670" y="56"/>
                    <a:pt x="1670" y="56"/>
                    <a:pt x="1670" y="56"/>
                  </a:cubicBezTo>
                  <a:cubicBezTo>
                    <a:pt x="1670" y="56"/>
                    <a:pt x="1670" y="56"/>
                    <a:pt x="1670" y="56"/>
                  </a:cubicBezTo>
                  <a:cubicBezTo>
                    <a:pt x="1670" y="56"/>
                    <a:pt x="1671" y="56"/>
                    <a:pt x="1671" y="56"/>
                  </a:cubicBezTo>
                  <a:cubicBezTo>
                    <a:pt x="1671" y="56"/>
                    <a:pt x="1671" y="56"/>
                    <a:pt x="1671" y="56"/>
                  </a:cubicBezTo>
                  <a:cubicBezTo>
                    <a:pt x="1671" y="56"/>
                    <a:pt x="1671" y="56"/>
                    <a:pt x="1671" y="55"/>
                  </a:cubicBezTo>
                  <a:cubicBezTo>
                    <a:pt x="1671" y="56"/>
                    <a:pt x="1671" y="56"/>
                    <a:pt x="1671" y="56"/>
                  </a:cubicBezTo>
                  <a:cubicBezTo>
                    <a:pt x="1672" y="55"/>
                    <a:pt x="1672" y="55"/>
                    <a:pt x="1672" y="55"/>
                  </a:cubicBezTo>
                  <a:cubicBezTo>
                    <a:pt x="1672" y="55"/>
                    <a:pt x="1672" y="55"/>
                    <a:pt x="1672" y="55"/>
                  </a:cubicBezTo>
                  <a:cubicBezTo>
                    <a:pt x="1672" y="55"/>
                    <a:pt x="1672" y="55"/>
                    <a:pt x="1672" y="55"/>
                  </a:cubicBezTo>
                  <a:cubicBezTo>
                    <a:pt x="1672" y="55"/>
                    <a:pt x="1672" y="55"/>
                    <a:pt x="1673" y="55"/>
                  </a:cubicBezTo>
                  <a:cubicBezTo>
                    <a:pt x="1673" y="55"/>
                    <a:pt x="1673" y="55"/>
                    <a:pt x="1673" y="55"/>
                  </a:cubicBezTo>
                  <a:cubicBezTo>
                    <a:pt x="1673" y="55"/>
                    <a:pt x="1673" y="55"/>
                    <a:pt x="1673" y="54"/>
                  </a:cubicBezTo>
                  <a:cubicBezTo>
                    <a:pt x="1673" y="54"/>
                    <a:pt x="1673" y="54"/>
                    <a:pt x="1673" y="54"/>
                  </a:cubicBezTo>
                  <a:cubicBezTo>
                    <a:pt x="1673" y="54"/>
                    <a:pt x="1673" y="54"/>
                    <a:pt x="1674" y="54"/>
                  </a:cubicBezTo>
                  <a:cubicBezTo>
                    <a:pt x="1674" y="54"/>
                    <a:pt x="1674" y="54"/>
                    <a:pt x="1674" y="54"/>
                  </a:cubicBezTo>
                  <a:cubicBezTo>
                    <a:pt x="1674" y="54"/>
                    <a:pt x="1674" y="54"/>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5" y="53"/>
                    <a:pt x="1675" y="53"/>
                  </a:cubicBezTo>
                  <a:cubicBezTo>
                    <a:pt x="1675" y="53"/>
                    <a:pt x="1676" y="53"/>
                    <a:pt x="1676" y="52"/>
                  </a:cubicBezTo>
                  <a:cubicBezTo>
                    <a:pt x="1676" y="52"/>
                    <a:pt x="1676" y="52"/>
                    <a:pt x="1676" y="52"/>
                  </a:cubicBezTo>
                  <a:cubicBezTo>
                    <a:pt x="1677" y="52"/>
                    <a:pt x="1677" y="51"/>
                    <a:pt x="1678" y="50"/>
                  </a:cubicBezTo>
                  <a:cubicBezTo>
                    <a:pt x="1678" y="50"/>
                    <a:pt x="1678" y="50"/>
                    <a:pt x="1678" y="50"/>
                  </a:cubicBezTo>
                  <a:cubicBezTo>
                    <a:pt x="1678" y="50"/>
                    <a:pt x="1678" y="50"/>
                    <a:pt x="1678" y="50"/>
                  </a:cubicBezTo>
                  <a:cubicBezTo>
                    <a:pt x="1678" y="50"/>
                    <a:pt x="1678" y="50"/>
                    <a:pt x="1678" y="50"/>
                  </a:cubicBezTo>
                  <a:cubicBezTo>
                    <a:pt x="1679" y="50"/>
                    <a:pt x="1679" y="49"/>
                    <a:pt x="1679" y="49"/>
                  </a:cubicBezTo>
                  <a:cubicBezTo>
                    <a:pt x="1679" y="49"/>
                    <a:pt x="1679" y="49"/>
                    <a:pt x="1679" y="49"/>
                  </a:cubicBezTo>
                  <a:cubicBezTo>
                    <a:pt x="1679" y="49"/>
                    <a:pt x="1679" y="49"/>
                    <a:pt x="1679" y="49"/>
                  </a:cubicBezTo>
                  <a:cubicBezTo>
                    <a:pt x="1679" y="49"/>
                    <a:pt x="1679" y="49"/>
                    <a:pt x="1679" y="49"/>
                  </a:cubicBezTo>
                  <a:cubicBezTo>
                    <a:pt x="1679" y="49"/>
                    <a:pt x="1679" y="48"/>
                    <a:pt x="1680" y="48"/>
                  </a:cubicBezTo>
                  <a:cubicBezTo>
                    <a:pt x="1680" y="48"/>
                    <a:pt x="1680" y="48"/>
                    <a:pt x="1680" y="48"/>
                  </a:cubicBezTo>
                  <a:cubicBezTo>
                    <a:pt x="1680" y="48"/>
                    <a:pt x="1680" y="48"/>
                    <a:pt x="1680" y="48"/>
                  </a:cubicBezTo>
                  <a:cubicBezTo>
                    <a:pt x="1680" y="48"/>
                    <a:pt x="1680" y="48"/>
                    <a:pt x="1680" y="48"/>
                  </a:cubicBezTo>
                  <a:cubicBezTo>
                    <a:pt x="1680" y="48"/>
                    <a:pt x="1680" y="47"/>
                    <a:pt x="1680" y="47"/>
                  </a:cubicBezTo>
                  <a:cubicBezTo>
                    <a:pt x="1680" y="47"/>
                    <a:pt x="1680" y="47"/>
                    <a:pt x="1680" y="47"/>
                  </a:cubicBezTo>
                  <a:cubicBezTo>
                    <a:pt x="1680" y="47"/>
                    <a:pt x="1680" y="47"/>
                    <a:pt x="1681" y="47"/>
                  </a:cubicBezTo>
                  <a:cubicBezTo>
                    <a:pt x="1680" y="47"/>
                    <a:pt x="1680" y="47"/>
                    <a:pt x="1680" y="47"/>
                  </a:cubicBezTo>
                  <a:cubicBezTo>
                    <a:pt x="1681" y="47"/>
                    <a:pt x="1681" y="46"/>
                    <a:pt x="1681" y="46"/>
                  </a:cubicBezTo>
                  <a:cubicBezTo>
                    <a:pt x="1681" y="46"/>
                    <a:pt x="1681" y="46"/>
                    <a:pt x="1681" y="46"/>
                  </a:cubicBezTo>
                  <a:cubicBezTo>
                    <a:pt x="1681" y="46"/>
                    <a:pt x="1681" y="46"/>
                    <a:pt x="1681" y="45"/>
                  </a:cubicBezTo>
                  <a:cubicBezTo>
                    <a:pt x="1681" y="45"/>
                    <a:pt x="1681" y="45"/>
                    <a:pt x="1681" y="45"/>
                  </a:cubicBezTo>
                  <a:cubicBezTo>
                    <a:pt x="1681" y="45"/>
                    <a:pt x="1681" y="45"/>
                    <a:pt x="1682" y="45"/>
                  </a:cubicBezTo>
                  <a:cubicBezTo>
                    <a:pt x="1682" y="45"/>
                    <a:pt x="1682" y="45"/>
                    <a:pt x="1682" y="45"/>
                  </a:cubicBezTo>
                  <a:cubicBezTo>
                    <a:pt x="1682" y="45"/>
                    <a:pt x="1682" y="44"/>
                    <a:pt x="1682" y="44"/>
                  </a:cubicBezTo>
                  <a:cubicBezTo>
                    <a:pt x="1682" y="44"/>
                    <a:pt x="1682" y="44"/>
                    <a:pt x="1682" y="44"/>
                  </a:cubicBezTo>
                  <a:cubicBezTo>
                    <a:pt x="1682" y="44"/>
                    <a:pt x="1682" y="44"/>
                    <a:pt x="1682" y="43"/>
                  </a:cubicBezTo>
                  <a:cubicBezTo>
                    <a:pt x="1682" y="43"/>
                    <a:pt x="1682" y="43"/>
                    <a:pt x="1682" y="43"/>
                  </a:cubicBezTo>
                  <a:cubicBezTo>
                    <a:pt x="1683" y="43"/>
                    <a:pt x="1682" y="43"/>
                    <a:pt x="1683" y="43"/>
                  </a:cubicBezTo>
                  <a:cubicBezTo>
                    <a:pt x="1683" y="42"/>
                    <a:pt x="1683" y="42"/>
                    <a:pt x="1683" y="42"/>
                  </a:cubicBezTo>
                  <a:cubicBezTo>
                    <a:pt x="1683" y="42"/>
                    <a:pt x="1683" y="42"/>
                    <a:pt x="1683" y="42"/>
                  </a:cubicBezTo>
                  <a:cubicBezTo>
                    <a:pt x="1683" y="41"/>
                    <a:pt x="1683" y="41"/>
                    <a:pt x="1683" y="41"/>
                  </a:cubicBezTo>
                  <a:cubicBezTo>
                    <a:pt x="1683" y="41"/>
                    <a:pt x="1683" y="41"/>
                    <a:pt x="1683" y="40"/>
                  </a:cubicBezTo>
                  <a:cubicBezTo>
                    <a:pt x="1683" y="40"/>
                    <a:pt x="1683" y="40"/>
                    <a:pt x="1683" y="40"/>
                  </a:cubicBezTo>
                  <a:cubicBezTo>
                    <a:pt x="1683" y="40"/>
                    <a:pt x="1683" y="40"/>
                    <a:pt x="1683" y="40"/>
                  </a:cubicBezTo>
                  <a:cubicBezTo>
                    <a:pt x="1684" y="40"/>
                    <a:pt x="1683" y="39"/>
                    <a:pt x="1684" y="39"/>
                  </a:cubicBezTo>
                  <a:cubicBezTo>
                    <a:pt x="1684" y="39"/>
                    <a:pt x="1684" y="39"/>
                    <a:pt x="1684" y="39"/>
                  </a:cubicBezTo>
                  <a:cubicBezTo>
                    <a:pt x="1684" y="39"/>
                    <a:pt x="1684" y="39"/>
                    <a:pt x="1684" y="39"/>
                  </a:cubicBezTo>
                  <a:cubicBezTo>
                    <a:pt x="1684" y="38"/>
                    <a:pt x="1684" y="38"/>
                    <a:pt x="1684" y="37"/>
                  </a:cubicBezTo>
                  <a:cubicBezTo>
                    <a:pt x="1684" y="37"/>
                    <a:pt x="1684" y="37"/>
                    <a:pt x="1684" y="37"/>
                  </a:cubicBezTo>
                  <a:cubicBezTo>
                    <a:pt x="1684" y="34"/>
                    <a:pt x="1684" y="31"/>
                    <a:pt x="1684" y="28"/>
                  </a:cubicBezTo>
                  <a:cubicBezTo>
                    <a:pt x="1684" y="28"/>
                    <a:pt x="1684" y="28"/>
                    <a:pt x="1684" y="28"/>
                  </a:cubicBezTo>
                  <a:cubicBezTo>
                    <a:pt x="1684" y="27"/>
                    <a:pt x="1684" y="27"/>
                    <a:pt x="1684" y="26"/>
                  </a:cubicBezTo>
                  <a:cubicBezTo>
                    <a:pt x="1684" y="26"/>
                    <a:pt x="1684" y="26"/>
                    <a:pt x="1684" y="26"/>
                  </a:cubicBezTo>
                  <a:cubicBezTo>
                    <a:pt x="1684" y="26"/>
                    <a:pt x="1684" y="26"/>
                    <a:pt x="1684" y="26"/>
                  </a:cubicBezTo>
                  <a:cubicBezTo>
                    <a:pt x="1683" y="25"/>
                    <a:pt x="1684" y="25"/>
                    <a:pt x="1683" y="25"/>
                  </a:cubicBezTo>
                  <a:cubicBezTo>
                    <a:pt x="1683" y="25"/>
                    <a:pt x="1683" y="25"/>
                    <a:pt x="1683" y="25"/>
                  </a:cubicBezTo>
                  <a:cubicBezTo>
                    <a:pt x="1683" y="24"/>
                    <a:pt x="1683" y="24"/>
                    <a:pt x="1683" y="24"/>
                  </a:cubicBezTo>
                  <a:cubicBezTo>
                    <a:pt x="1683" y="23"/>
                    <a:pt x="1683" y="23"/>
                    <a:pt x="1683" y="23"/>
                  </a:cubicBezTo>
                  <a:cubicBezTo>
                    <a:pt x="1683" y="23"/>
                    <a:pt x="1683" y="23"/>
                    <a:pt x="1683" y="23"/>
                  </a:cubicBezTo>
                  <a:cubicBezTo>
                    <a:pt x="1683" y="23"/>
                    <a:pt x="1683" y="23"/>
                    <a:pt x="1683" y="23"/>
                  </a:cubicBezTo>
                  <a:cubicBezTo>
                    <a:pt x="1683" y="23"/>
                    <a:pt x="1683" y="23"/>
                    <a:pt x="1683" y="23"/>
                  </a:cubicBezTo>
                  <a:cubicBezTo>
                    <a:pt x="1682" y="22"/>
                    <a:pt x="1683" y="22"/>
                    <a:pt x="1682" y="22"/>
                  </a:cubicBezTo>
                  <a:cubicBezTo>
                    <a:pt x="1682" y="22"/>
                    <a:pt x="1682" y="22"/>
                    <a:pt x="1682" y="22"/>
                  </a:cubicBezTo>
                  <a:cubicBezTo>
                    <a:pt x="1682" y="22"/>
                    <a:pt x="1682" y="22"/>
                    <a:pt x="1682" y="22"/>
                  </a:cubicBezTo>
                  <a:cubicBezTo>
                    <a:pt x="1682" y="21"/>
                    <a:pt x="1682" y="21"/>
                    <a:pt x="1682" y="21"/>
                  </a:cubicBezTo>
                  <a:cubicBezTo>
                    <a:pt x="1682" y="21"/>
                    <a:pt x="1682" y="21"/>
                    <a:pt x="1682" y="21"/>
                  </a:cubicBezTo>
                  <a:cubicBezTo>
                    <a:pt x="1682" y="21"/>
                    <a:pt x="1682" y="20"/>
                    <a:pt x="1682" y="20"/>
                  </a:cubicBezTo>
                  <a:cubicBezTo>
                    <a:pt x="1682" y="20"/>
                    <a:pt x="1682" y="20"/>
                    <a:pt x="1682" y="20"/>
                  </a:cubicBezTo>
                  <a:cubicBezTo>
                    <a:pt x="1682" y="20"/>
                    <a:pt x="1681" y="20"/>
                    <a:pt x="1681" y="20"/>
                  </a:cubicBezTo>
                  <a:cubicBezTo>
                    <a:pt x="1681" y="20"/>
                    <a:pt x="1681" y="20"/>
                    <a:pt x="1681" y="20"/>
                  </a:cubicBezTo>
                  <a:cubicBezTo>
                    <a:pt x="1681" y="20"/>
                    <a:pt x="1681" y="19"/>
                    <a:pt x="1681" y="19"/>
                  </a:cubicBezTo>
                  <a:cubicBezTo>
                    <a:pt x="1681" y="19"/>
                    <a:pt x="1681" y="19"/>
                    <a:pt x="1681" y="19"/>
                  </a:cubicBezTo>
                  <a:cubicBezTo>
                    <a:pt x="1681" y="19"/>
                    <a:pt x="1681" y="18"/>
                    <a:pt x="1680" y="18"/>
                  </a:cubicBezTo>
                  <a:cubicBezTo>
                    <a:pt x="1681" y="18"/>
                    <a:pt x="1681" y="18"/>
                    <a:pt x="1681" y="18"/>
                  </a:cubicBezTo>
                  <a:cubicBezTo>
                    <a:pt x="1680" y="18"/>
                    <a:pt x="1680" y="18"/>
                    <a:pt x="1680" y="18"/>
                  </a:cubicBezTo>
                  <a:cubicBezTo>
                    <a:pt x="1680" y="18"/>
                    <a:pt x="1680" y="18"/>
                    <a:pt x="1680" y="18"/>
                  </a:cubicBezTo>
                  <a:cubicBezTo>
                    <a:pt x="1680" y="18"/>
                    <a:pt x="1680" y="17"/>
                    <a:pt x="1680" y="17"/>
                  </a:cubicBezTo>
                  <a:cubicBezTo>
                    <a:pt x="1680" y="17"/>
                    <a:pt x="1680" y="17"/>
                    <a:pt x="1680" y="17"/>
                  </a:cubicBezTo>
                  <a:cubicBezTo>
                    <a:pt x="1680" y="17"/>
                    <a:pt x="1680" y="17"/>
                    <a:pt x="1679" y="17"/>
                  </a:cubicBezTo>
                  <a:cubicBezTo>
                    <a:pt x="1679" y="17"/>
                    <a:pt x="1679" y="17"/>
                    <a:pt x="1679" y="17"/>
                  </a:cubicBezTo>
                  <a:cubicBezTo>
                    <a:pt x="1679" y="17"/>
                    <a:pt x="1679" y="17"/>
                    <a:pt x="1679" y="17"/>
                  </a:cubicBezTo>
                  <a:cubicBezTo>
                    <a:pt x="1679" y="17"/>
                    <a:pt x="1679" y="17"/>
                    <a:pt x="1679" y="17"/>
                  </a:cubicBezTo>
                  <a:cubicBezTo>
                    <a:pt x="1679" y="16"/>
                    <a:pt x="1679" y="16"/>
                    <a:pt x="1679" y="16"/>
                  </a:cubicBezTo>
                  <a:cubicBezTo>
                    <a:pt x="1679" y="16"/>
                    <a:pt x="1679" y="16"/>
                    <a:pt x="1679" y="16"/>
                  </a:cubicBezTo>
                  <a:cubicBezTo>
                    <a:pt x="1678" y="15"/>
                    <a:pt x="1677" y="14"/>
                    <a:pt x="1676" y="14"/>
                  </a:cubicBezTo>
                  <a:cubicBezTo>
                    <a:pt x="1676" y="14"/>
                    <a:pt x="1676" y="14"/>
                    <a:pt x="1676" y="14"/>
                  </a:cubicBezTo>
                  <a:cubicBezTo>
                    <a:pt x="1676" y="14"/>
                    <a:pt x="1676" y="14"/>
                    <a:pt x="1676" y="13"/>
                  </a:cubicBezTo>
                  <a:cubicBezTo>
                    <a:pt x="1676" y="13"/>
                    <a:pt x="1676" y="13"/>
                    <a:pt x="1676" y="13"/>
                  </a:cubicBezTo>
                  <a:cubicBezTo>
                    <a:pt x="1676" y="13"/>
                    <a:pt x="1676" y="13"/>
                    <a:pt x="1676" y="13"/>
                  </a:cubicBezTo>
                  <a:cubicBezTo>
                    <a:pt x="1676" y="13"/>
                    <a:pt x="1676" y="13"/>
                    <a:pt x="1676" y="13"/>
                  </a:cubicBezTo>
                  <a:cubicBezTo>
                    <a:pt x="1675" y="13"/>
                    <a:pt x="1675" y="13"/>
                    <a:pt x="1675" y="12"/>
                  </a:cubicBezTo>
                  <a:cubicBezTo>
                    <a:pt x="1675" y="12"/>
                    <a:pt x="1675" y="12"/>
                    <a:pt x="1675" y="12"/>
                  </a:cubicBezTo>
                  <a:cubicBezTo>
                    <a:pt x="1675" y="12"/>
                    <a:pt x="1674" y="12"/>
                    <a:pt x="1674" y="12"/>
                  </a:cubicBezTo>
                  <a:cubicBezTo>
                    <a:pt x="1674" y="12"/>
                    <a:pt x="1674" y="12"/>
                    <a:pt x="1674" y="12"/>
                  </a:cubicBezTo>
                  <a:cubicBezTo>
                    <a:pt x="1674" y="12"/>
                    <a:pt x="1674" y="12"/>
                    <a:pt x="1674" y="12"/>
                  </a:cubicBezTo>
                  <a:cubicBezTo>
                    <a:pt x="1674" y="12"/>
                    <a:pt x="1674" y="12"/>
                    <a:pt x="1674" y="12"/>
                  </a:cubicBezTo>
                  <a:cubicBezTo>
                    <a:pt x="1673" y="11"/>
                    <a:pt x="1673" y="12"/>
                    <a:pt x="1673" y="11"/>
                  </a:cubicBezTo>
                  <a:cubicBezTo>
                    <a:pt x="1673" y="11"/>
                    <a:pt x="1673" y="11"/>
                    <a:pt x="1673" y="11"/>
                  </a:cubicBezTo>
                  <a:cubicBezTo>
                    <a:pt x="1673" y="11"/>
                    <a:pt x="1673" y="11"/>
                    <a:pt x="1672" y="11"/>
                  </a:cubicBezTo>
                  <a:cubicBezTo>
                    <a:pt x="1673" y="11"/>
                    <a:pt x="1673" y="11"/>
                    <a:pt x="1673" y="11"/>
                  </a:cubicBezTo>
                  <a:cubicBezTo>
                    <a:pt x="1672" y="11"/>
                    <a:pt x="1672" y="11"/>
                    <a:pt x="1672" y="11"/>
                  </a:cubicBezTo>
                  <a:cubicBezTo>
                    <a:pt x="1672" y="11"/>
                    <a:pt x="1672" y="11"/>
                    <a:pt x="1672" y="11"/>
                  </a:cubicBezTo>
                  <a:cubicBezTo>
                    <a:pt x="1672" y="10"/>
                    <a:pt x="1671" y="10"/>
                    <a:pt x="1671" y="10"/>
                  </a:cubicBezTo>
                  <a:cubicBezTo>
                    <a:pt x="1671" y="10"/>
                    <a:pt x="1671" y="10"/>
                    <a:pt x="1671" y="10"/>
                  </a:cubicBezTo>
                  <a:cubicBezTo>
                    <a:pt x="1671" y="10"/>
                    <a:pt x="1671" y="10"/>
                    <a:pt x="1670" y="10"/>
                  </a:cubicBezTo>
                  <a:cubicBezTo>
                    <a:pt x="1670" y="10"/>
                    <a:pt x="1670" y="10"/>
                    <a:pt x="1670" y="10"/>
                  </a:cubicBezTo>
                  <a:cubicBezTo>
                    <a:pt x="1670" y="10"/>
                    <a:pt x="1670" y="10"/>
                    <a:pt x="1670" y="10"/>
                  </a:cubicBezTo>
                  <a:cubicBezTo>
                    <a:pt x="1670" y="10"/>
                    <a:pt x="1670" y="10"/>
                    <a:pt x="1669" y="10"/>
                  </a:cubicBezTo>
                  <a:cubicBezTo>
                    <a:pt x="1669" y="10"/>
                    <a:pt x="1669" y="10"/>
                    <a:pt x="1669" y="10"/>
                  </a:cubicBezTo>
                  <a:cubicBezTo>
                    <a:pt x="1669" y="9"/>
                    <a:pt x="1669" y="9"/>
                    <a:pt x="1669" y="9"/>
                  </a:cubicBezTo>
                  <a:cubicBezTo>
                    <a:pt x="1668" y="9"/>
                    <a:pt x="1668" y="9"/>
                    <a:pt x="1668" y="9"/>
                  </a:cubicBezTo>
                  <a:cubicBezTo>
                    <a:pt x="1668" y="9"/>
                    <a:pt x="1668" y="9"/>
                    <a:pt x="1668" y="9"/>
                  </a:cubicBezTo>
                  <a:cubicBezTo>
                    <a:pt x="1668" y="9"/>
                    <a:pt x="1668" y="9"/>
                    <a:pt x="1668" y="9"/>
                  </a:cubicBezTo>
                  <a:cubicBezTo>
                    <a:pt x="1667" y="9"/>
                    <a:pt x="1667" y="9"/>
                    <a:pt x="1667" y="9"/>
                  </a:cubicBezTo>
                  <a:cubicBezTo>
                    <a:pt x="1667" y="9"/>
                    <a:pt x="1667" y="9"/>
                    <a:pt x="1667" y="9"/>
                  </a:cubicBezTo>
                  <a:cubicBezTo>
                    <a:pt x="1667" y="9"/>
                    <a:pt x="1667" y="9"/>
                    <a:pt x="1666" y="9"/>
                  </a:cubicBezTo>
                  <a:cubicBezTo>
                    <a:pt x="1666" y="9"/>
                    <a:pt x="1666" y="9"/>
                    <a:pt x="1666" y="9"/>
                  </a:cubicBezTo>
                  <a:cubicBezTo>
                    <a:pt x="1666" y="8"/>
                    <a:pt x="1665" y="9"/>
                    <a:pt x="1665" y="8"/>
                  </a:cubicBezTo>
                  <a:cubicBezTo>
                    <a:pt x="1665" y="8"/>
                    <a:pt x="1665" y="8"/>
                    <a:pt x="1665" y="8"/>
                  </a:cubicBezTo>
                  <a:cubicBezTo>
                    <a:pt x="1664" y="8"/>
                    <a:pt x="1664" y="8"/>
                    <a:pt x="1663" y="8"/>
                  </a:cubicBezTo>
                  <a:cubicBezTo>
                    <a:pt x="1663" y="8"/>
                    <a:pt x="1663" y="8"/>
                    <a:pt x="1663" y="8"/>
                  </a:cubicBezTo>
                  <a:cubicBezTo>
                    <a:pt x="1662" y="7"/>
                    <a:pt x="1661" y="8"/>
                    <a:pt x="1661" y="8"/>
                  </a:cubicBezTo>
                  <a:cubicBezTo>
                    <a:pt x="1660" y="8"/>
                    <a:pt x="1660" y="8"/>
                    <a:pt x="1660" y="8"/>
                  </a:cubicBezTo>
                  <a:cubicBezTo>
                    <a:pt x="1659" y="7"/>
                    <a:pt x="1659" y="7"/>
                    <a:pt x="1658" y="7"/>
                  </a:cubicBezTo>
                  <a:cubicBezTo>
                    <a:pt x="1649" y="7"/>
                    <a:pt x="1639" y="7"/>
                    <a:pt x="1629" y="7"/>
                  </a:cubicBezTo>
                  <a:cubicBezTo>
                    <a:pt x="1627" y="7"/>
                    <a:pt x="1627" y="7"/>
                    <a:pt x="1627" y="9"/>
                  </a:cubicBezTo>
                  <a:cubicBezTo>
                    <a:pt x="1627" y="27"/>
                    <a:pt x="1627" y="45"/>
                    <a:pt x="1627" y="62"/>
                  </a:cubicBezTo>
                  <a:cubicBezTo>
                    <a:pt x="1627" y="75"/>
                    <a:pt x="1628" y="87"/>
                    <a:pt x="1627" y="100"/>
                  </a:cubicBezTo>
                  <a:cubicBezTo>
                    <a:pt x="1627" y="101"/>
                    <a:pt x="1628" y="102"/>
                    <a:pt x="1629" y="102"/>
                  </a:cubicBezTo>
                  <a:cubicBezTo>
                    <a:pt x="1632" y="102"/>
                    <a:pt x="1634" y="102"/>
                    <a:pt x="1637" y="102"/>
                  </a:cubicBezTo>
                  <a:cubicBezTo>
                    <a:pt x="1638" y="102"/>
                    <a:pt x="1639" y="101"/>
                    <a:pt x="1639" y="100"/>
                  </a:cubicBezTo>
                  <a:cubicBezTo>
                    <a:pt x="1639" y="88"/>
                    <a:pt x="1639" y="76"/>
                    <a:pt x="1639" y="64"/>
                  </a:cubicBezTo>
                  <a:cubicBezTo>
                    <a:pt x="1639" y="64"/>
                    <a:pt x="1639" y="63"/>
                    <a:pt x="1639" y="62"/>
                  </a:cubicBezTo>
                  <a:cubicBezTo>
                    <a:pt x="1639" y="62"/>
                    <a:pt x="1639" y="62"/>
                    <a:pt x="1639" y="62"/>
                  </a:cubicBezTo>
                  <a:cubicBezTo>
                    <a:pt x="1643" y="62"/>
                    <a:pt x="1647" y="61"/>
                    <a:pt x="1650" y="62"/>
                  </a:cubicBezTo>
                  <a:cubicBezTo>
                    <a:pt x="1651" y="62"/>
                    <a:pt x="1651" y="62"/>
                    <a:pt x="1651" y="62"/>
                  </a:cubicBezTo>
                  <a:cubicBezTo>
                    <a:pt x="1651" y="62"/>
                    <a:pt x="1651" y="62"/>
                    <a:pt x="1651" y="62"/>
                  </a:cubicBezTo>
                  <a:cubicBezTo>
                    <a:pt x="1651" y="62"/>
                    <a:pt x="1651" y="62"/>
                    <a:pt x="1652" y="62"/>
                  </a:cubicBezTo>
                  <a:cubicBezTo>
                    <a:pt x="1652" y="62"/>
                    <a:pt x="1652" y="62"/>
                    <a:pt x="1652" y="62"/>
                  </a:cubicBezTo>
                  <a:cubicBezTo>
                    <a:pt x="1652" y="62"/>
                    <a:pt x="1652" y="62"/>
                    <a:pt x="1652" y="62"/>
                  </a:cubicBezTo>
                  <a:cubicBezTo>
                    <a:pt x="1652" y="62"/>
                    <a:pt x="1653" y="62"/>
                    <a:pt x="1653" y="62"/>
                  </a:cubicBezTo>
                  <a:cubicBezTo>
                    <a:pt x="1653" y="62"/>
                    <a:pt x="1653" y="62"/>
                    <a:pt x="1653" y="62"/>
                  </a:cubicBezTo>
                  <a:cubicBezTo>
                    <a:pt x="1653" y="63"/>
                    <a:pt x="1653" y="63"/>
                    <a:pt x="1653" y="63"/>
                  </a:cubicBezTo>
                  <a:cubicBezTo>
                    <a:pt x="1653" y="63"/>
                    <a:pt x="1654" y="63"/>
                    <a:pt x="1654" y="63"/>
                  </a:cubicBezTo>
                  <a:cubicBezTo>
                    <a:pt x="1654" y="63"/>
                    <a:pt x="1654" y="63"/>
                    <a:pt x="1654" y="63"/>
                  </a:cubicBezTo>
                  <a:cubicBezTo>
                    <a:pt x="1654" y="63"/>
                    <a:pt x="1654" y="63"/>
                    <a:pt x="1654" y="63"/>
                  </a:cubicBezTo>
                  <a:cubicBezTo>
                    <a:pt x="1654" y="63"/>
                    <a:pt x="1654" y="63"/>
                    <a:pt x="1654" y="63"/>
                  </a:cubicBezTo>
                  <a:cubicBezTo>
                    <a:pt x="1654" y="63"/>
                    <a:pt x="1654" y="63"/>
                    <a:pt x="1654" y="63"/>
                  </a:cubicBezTo>
                  <a:cubicBezTo>
                    <a:pt x="1655" y="63"/>
                    <a:pt x="1655" y="63"/>
                    <a:pt x="1655" y="64"/>
                  </a:cubicBezTo>
                  <a:cubicBezTo>
                    <a:pt x="1655" y="64"/>
                    <a:pt x="1655" y="64"/>
                    <a:pt x="1655" y="64"/>
                  </a:cubicBezTo>
                  <a:cubicBezTo>
                    <a:pt x="1655" y="64"/>
                    <a:pt x="1655" y="64"/>
                    <a:pt x="1655" y="64"/>
                  </a:cubicBezTo>
                  <a:cubicBezTo>
                    <a:pt x="1655" y="64"/>
                    <a:pt x="1655" y="64"/>
                    <a:pt x="1655" y="64"/>
                  </a:cubicBezTo>
                  <a:cubicBezTo>
                    <a:pt x="1656" y="64"/>
                    <a:pt x="1656" y="64"/>
                    <a:pt x="1656" y="64"/>
                  </a:cubicBezTo>
                  <a:cubicBezTo>
                    <a:pt x="1656" y="64"/>
                    <a:pt x="1656" y="64"/>
                    <a:pt x="1656" y="64"/>
                  </a:cubicBezTo>
                  <a:cubicBezTo>
                    <a:pt x="1656" y="64"/>
                    <a:pt x="1656" y="65"/>
                    <a:pt x="1656" y="65"/>
                  </a:cubicBezTo>
                  <a:cubicBezTo>
                    <a:pt x="1656" y="65"/>
                    <a:pt x="1656" y="65"/>
                    <a:pt x="1656" y="65"/>
                  </a:cubicBezTo>
                  <a:cubicBezTo>
                    <a:pt x="1657" y="65"/>
                    <a:pt x="1658" y="66"/>
                    <a:pt x="1658" y="67"/>
                  </a:cubicBezTo>
                  <a:cubicBezTo>
                    <a:pt x="1658" y="67"/>
                    <a:pt x="1658" y="67"/>
                    <a:pt x="1658" y="67"/>
                  </a:cubicBezTo>
                  <a:cubicBezTo>
                    <a:pt x="1658" y="67"/>
                    <a:pt x="1659" y="67"/>
                    <a:pt x="1659" y="67"/>
                  </a:cubicBezTo>
                  <a:cubicBezTo>
                    <a:pt x="1659" y="67"/>
                    <a:pt x="1659" y="67"/>
                    <a:pt x="1659" y="67"/>
                  </a:cubicBezTo>
                  <a:cubicBezTo>
                    <a:pt x="1659" y="67"/>
                    <a:pt x="1659" y="67"/>
                    <a:pt x="1659" y="67"/>
                  </a:cubicBezTo>
                  <a:cubicBezTo>
                    <a:pt x="1659" y="67"/>
                    <a:pt x="1659" y="67"/>
                    <a:pt x="1659" y="67"/>
                  </a:cubicBezTo>
                  <a:cubicBezTo>
                    <a:pt x="1659" y="68"/>
                    <a:pt x="1659" y="68"/>
                    <a:pt x="1660" y="68"/>
                  </a:cubicBezTo>
                  <a:cubicBezTo>
                    <a:pt x="1660" y="68"/>
                    <a:pt x="1660" y="68"/>
                    <a:pt x="1660" y="68"/>
                  </a:cubicBezTo>
                  <a:cubicBezTo>
                    <a:pt x="1660" y="69"/>
                    <a:pt x="1660" y="69"/>
                    <a:pt x="1660" y="69"/>
                  </a:cubicBezTo>
                  <a:cubicBezTo>
                    <a:pt x="1660" y="69"/>
                    <a:pt x="1660" y="69"/>
                    <a:pt x="1660" y="69"/>
                  </a:cubicBezTo>
                  <a:cubicBezTo>
                    <a:pt x="1660" y="69"/>
                    <a:pt x="1660" y="69"/>
                    <a:pt x="1660" y="69"/>
                  </a:cubicBezTo>
                  <a:cubicBezTo>
                    <a:pt x="1660" y="69"/>
                    <a:pt x="1660" y="69"/>
                    <a:pt x="1660" y="69"/>
                  </a:cubicBezTo>
                  <a:cubicBezTo>
                    <a:pt x="1661" y="70"/>
                    <a:pt x="1660" y="70"/>
                    <a:pt x="1661" y="70"/>
                  </a:cubicBezTo>
                  <a:cubicBezTo>
                    <a:pt x="1661" y="70"/>
                    <a:pt x="1661" y="70"/>
                    <a:pt x="1661" y="70"/>
                  </a:cubicBezTo>
                  <a:cubicBezTo>
                    <a:pt x="1661" y="70"/>
                    <a:pt x="1661" y="70"/>
                    <a:pt x="1661" y="71"/>
                  </a:cubicBezTo>
                  <a:cubicBezTo>
                    <a:pt x="1661" y="71"/>
                    <a:pt x="1661" y="71"/>
                    <a:pt x="1661" y="71"/>
                  </a:cubicBezTo>
                  <a:cubicBezTo>
                    <a:pt x="1661" y="71"/>
                    <a:pt x="1661" y="71"/>
                    <a:pt x="1661" y="71"/>
                  </a:cubicBezTo>
                  <a:cubicBezTo>
                    <a:pt x="1661" y="71"/>
                    <a:pt x="1661" y="71"/>
                    <a:pt x="1661" y="71"/>
                  </a:cubicBezTo>
                  <a:cubicBezTo>
                    <a:pt x="1661" y="71"/>
                    <a:pt x="1661" y="71"/>
                    <a:pt x="1661" y="71"/>
                  </a:cubicBezTo>
                  <a:cubicBezTo>
                    <a:pt x="1662" y="71"/>
                    <a:pt x="1662" y="72"/>
                    <a:pt x="1662" y="72"/>
                  </a:cubicBezTo>
                  <a:cubicBezTo>
                    <a:pt x="1662" y="72"/>
                    <a:pt x="1662" y="72"/>
                    <a:pt x="1662" y="72"/>
                  </a:cubicBezTo>
                  <a:cubicBezTo>
                    <a:pt x="1662" y="72"/>
                    <a:pt x="1662" y="72"/>
                    <a:pt x="1662" y="73"/>
                  </a:cubicBezTo>
                  <a:cubicBezTo>
                    <a:pt x="1662" y="73"/>
                    <a:pt x="1662" y="73"/>
                    <a:pt x="1662" y="73"/>
                  </a:cubicBezTo>
                  <a:cubicBezTo>
                    <a:pt x="1662" y="73"/>
                    <a:pt x="1662" y="73"/>
                    <a:pt x="1662" y="73"/>
                  </a:cubicBezTo>
                  <a:cubicBezTo>
                    <a:pt x="1662" y="73"/>
                    <a:pt x="1662" y="73"/>
                    <a:pt x="1663" y="74"/>
                  </a:cubicBezTo>
                  <a:cubicBezTo>
                    <a:pt x="1662" y="74"/>
                    <a:pt x="1662" y="74"/>
                    <a:pt x="1662" y="74"/>
                  </a:cubicBezTo>
                  <a:cubicBezTo>
                    <a:pt x="1663" y="74"/>
                    <a:pt x="1663" y="74"/>
                    <a:pt x="1663" y="74"/>
                  </a:cubicBezTo>
                  <a:cubicBezTo>
                    <a:pt x="1663" y="74"/>
                    <a:pt x="1663" y="74"/>
                    <a:pt x="1663" y="74"/>
                  </a:cubicBezTo>
                  <a:cubicBezTo>
                    <a:pt x="1663" y="75"/>
                    <a:pt x="1663" y="75"/>
                    <a:pt x="1663" y="75"/>
                  </a:cubicBezTo>
                  <a:cubicBezTo>
                    <a:pt x="1663" y="75"/>
                    <a:pt x="1663" y="75"/>
                    <a:pt x="1663" y="75"/>
                  </a:cubicBezTo>
                  <a:cubicBezTo>
                    <a:pt x="1663" y="75"/>
                    <a:pt x="1663" y="75"/>
                    <a:pt x="1663" y="75"/>
                  </a:cubicBezTo>
                  <a:cubicBezTo>
                    <a:pt x="1663" y="76"/>
                    <a:pt x="1663" y="76"/>
                    <a:pt x="1664" y="76"/>
                  </a:cubicBezTo>
                  <a:cubicBezTo>
                    <a:pt x="1664" y="76"/>
                    <a:pt x="1664" y="76"/>
                    <a:pt x="1664" y="76"/>
                  </a:cubicBezTo>
                  <a:cubicBezTo>
                    <a:pt x="1664" y="76"/>
                    <a:pt x="1664" y="77"/>
                    <a:pt x="1664" y="77"/>
                  </a:cubicBezTo>
                  <a:cubicBezTo>
                    <a:pt x="1664" y="77"/>
                    <a:pt x="1664" y="77"/>
                    <a:pt x="1664" y="77"/>
                  </a:cubicBezTo>
                  <a:cubicBezTo>
                    <a:pt x="1664" y="77"/>
                    <a:pt x="1664" y="77"/>
                    <a:pt x="1664" y="77"/>
                  </a:cubicBezTo>
                  <a:cubicBezTo>
                    <a:pt x="1664" y="77"/>
                    <a:pt x="1664" y="77"/>
                    <a:pt x="1664" y="77"/>
                  </a:cubicBezTo>
                  <a:cubicBezTo>
                    <a:pt x="1664" y="78"/>
                    <a:pt x="1664" y="78"/>
                    <a:pt x="1665" y="78"/>
                  </a:cubicBezTo>
                  <a:cubicBezTo>
                    <a:pt x="1665" y="78"/>
                    <a:pt x="1665" y="78"/>
                    <a:pt x="1665" y="78"/>
                  </a:cubicBezTo>
                  <a:cubicBezTo>
                    <a:pt x="1665" y="79"/>
                    <a:pt x="1665" y="79"/>
                    <a:pt x="1665" y="79"/>
                  </a:cubicBezTo>
                  <a:cubicBezTo>
                    <a:pt x="1665" y="79"/>
                    <a:pt x="1665" y="79"/>
                    <a:pt x="1665" y="79"/>
                  </a:cubicBezTo>
                  <a:cubicBezTo>
                    <a:pt x="1665" y="79"/>
                    <a:pt x="1665" y="80"/>
                    <a:pt x="1665" y="80"/>
                  </a:cubicBezTo>
                  <a:cubicBezTo>
                    <a:pt x="1665" y="80"/>
                    <a:pt x="1665" y="80"/>
                    <a:pt x="1665" y="80"/>
                  </a:cubicBezTo>
                  <a:cubicBezTo>
                    <a:pt x="1665" y="80"/>
                    <a:pt x="1665" y="80"/>
                    <a:pt x="1666" y="81"/>
                  </a:cubicBezTo>
                  <a:cubicBezTo>
                    <a:pt x="1666" y="81"/>
                    <a:pt x="1666" y="81"/>
                    <a:pt x="1666" y="81"/>
                  </a:cubicBezTo>
                  <a:cubicBezTo>
                    <a:pt x="1666" y="81"/>
                    <a:pt x="1666" y="81"/>
                    <a:pt x="1666" y="81"/>
                  </a:cubicBezTo>
                  <a:cubicBezTo>
                    <a:pt x="1666" y="81"/>
                    <a:pt x="1666" y="81"/>
                    <a:pt x="1666" y="82"/>
                  </a:cubicBezTo>
                  <a:cubicBezTo>
                    <a:pt x="1666" y="82"/>
                    <a:pt x="1666" y="82"/>
                    <a:pt x="1666" y="82"/>
                  </a:cubicBezTo>
                  <a:cubicBezTo>
                    <a:pt x="1666" y="82"/>
                    <a:pt x="1666" y="82"/>
                    <a:pt x="1666" y="82"/>
                  </a:cubicBezTo>
                  <a:cubicBezTo>
                    <a:pt x="1666" y="82"/>
                    <a:pt x="1666" y="82"/>
                    <a:pt x="1666" y="82"/>
                  </a:cubicBezTo>
                  <a:cubicBezTo>
                    <a:pt x="1666" y="83"/>
                    <a:pt x="1666" y="83"/>
                    <a:pt x="1667" y="83"/>
                  </a:cubicBezTo>
                  <a:cubicBezTo>
                    <a:pt x="1667" y="83"/>
                    <a:pt x="1667" y="83"/>
                    <a:pt x="1667" y="83"/>
                  </a:cubicBezTo>
                  <a:cubicBezTo>
                    <a:pt x="1667" y="83"/>
                    <a:pt x="1667" y="84"/>
                    <a:pt x="1667" y="84"/>
                  </a:cubicBezTo>
                  <a:cubicBezTo>
                    <a:pt x="1667" y="84"/>
                    <a:pt x="1667" y="84"/>
                    <a:pt x="1667" y="84"/>
                  </a:cubicBezTo>
                  <a:cubicBezTo>
                    <a:pt x="1667" y="84"/>
                    <a:pt x="1667" y="85"/>
                    <a:pt x="1667" y="85"/>
                  </a:cubicBezTo>
                  <a:cubicBezTo>
                    <a:pt x="1667" y="85"/>
                    <a:pt x="1667" y="85"/>
                    <a:pt x="1667" y="85"/>
                  </a:cubicBezTo>
                  <a:cubicBezTo>
                    <a:pt x="1668" y="85"/>
                    <a:pt x="1667" y="85"/>
                    <a:pt x="1668" y="86"/>
                  </a:cubicBezTo>
                  <a:cubicBezTo>
                    <a:pt x="1668" y="85"/>
                    <a:pt x="1668" y="85"/>
                    <a:pt x="1668" y="85"/>
                  </a:cubicBezTo>
                  <a:cubicBezTo>
                    <a:pt x="1668" y="86"/>
                    <a:pt x="1668" y="86"/>
                    <a:pt x="1668" y="86"/>
                  </a:cubicBezTo>
                  <a:cubicBezTo>
                    <a:pt x="1668" y="86"/>
                    <a:pt x="1668" y="86"/>
                    <a:pt x="1668" y="86"/>
                  </a:cubicBezTo>
                  <a:cubicBezTo>
                    <a:pt x="1668" y="86"/>
                    <a:pt x="1668" y="86"/>
                    <a:pt x="1668" y="86"/>
                  </a:cubicBezTo>
                  <a:cubicBezTo>
                    <a:pt x="1668" y="87"/>
                    <a:pt x="1668" y="87"/>
                    <a:pt x="1668" y="87"/>
                  </a:cubicBezTo>
                  <a:cubicBezTo>
                    <a:pt x="1668" y="87"/>
                    <a:pt x="1668" y="87"/>
                    <a:pt x="1668" y="87"/>
                  </a:cubicBezTo>
                  <a:cubicBezTo>
                    <a:pt x="1669" y="87"/>
                    <a:pt x="1669" y="88"/>
                    <a:pt x="1669" y="88"/>
                  </a:cubicBezTo>
                  <a:cubicBezTo>
                    <a:pt x="1669" y="88"/>
                    <a:pt x="1669" y="88"/>
                    <a:pt x="1669" y="88"/>
                  </a:cubicBezTo>
                  <a:cubicBezTo>
                    <a:pt x="1669" y="88"/>
                    <a:pt x="1669" y="88"/>
                    <a:pt x="1669" y="89"/>
                  </a:cubicBezTo>
                  <a:cubicBezTo>
                    <a:pt x="1669" y="89"/>
                    <a:pt x="1669" y="89"/>
                    <a:pt x="1669" y="89"/>
                  </a:cubicBezTo>
                  <a:cubicBezTo>
                    <a:pt x="1669" y="89"/>
                    <a:pt x="1669" y="89"/>
                    <a:pt x="1669" y="89"/>
                  </a:cubicBezTo>
                  <a:cubicBezTo>
                    <a:pt x="1669" y="89"/>
                    <a:pt x="1669" y="89"/>
                    <a:pt x="1669" y="90"/>
                  </a:cubicBezTo>
                  <a:cubicBezTo>
                    <a:pt x="1669" y="90"/>
                    <a:pt x="1669" y="90"/>
                    <a:pt x="1669" y="90"/>
                  </a:cubicBezTo>
                  <a:cubicBezTo>
                    <a:pt x="1670" y="90"/>
                    <a:pt x="1670" y="90"/>
                    <a:pt x="1670" y="90"/>
                  </a:cubicBezTo>
                  <a:cubicBezTo>
                    <a:pt x="1670" y="90"/>
                    <a:pt x="1670" y="90"/>
                    <a:pt x="1670" y="90"/>
                  </a:cubicBezTo>
                  <a:cubicBezTo>
                    <a:pt x="1670" y="91"/>
                    <a:pt x="1670" y="91"/>
                    <a:pt x="1670" y="91"/>
                  </a:cubicBezTo>
                  <a:cubicBezTo>
                    <a:pt x="1670" y="91"/>
                    <a:pt x="1670" y="91"/>
                    <a:pt x="1670" y="91"/>
                  </a:cubicBezTo>
                  <a:cubicBezTo>
                    <a:pt x="1670" y="91"/>
                    <a:pt x="1670" y="92"/>
                    <a:pt x="1670" y="92"/>
                  </a:cubicBezTo>
                  <a:cubicBezTo>
                    <a:pt x="1671" y="92"/>
                    <a:pt x="1671" y="92"/>
                    <a:pt x="1671" y="92"/>
                  </a:cubicBezTo>
                  <a:cubicBezTo>
                    <a:pt x="1671" y="92"/>
                    <a:pt x="1671" y="93"/>
                    <a:pt x="1671" y="93"/>
                  </a:cubicBezTo>
                  <a:cubicBezTo>
                    <a:pt x="1671" y="93"/>
                    <a:pt x="1671" y="93"/>
                    <a:pt x="1671" y="93"/>
                  </a:cubicBezTo>
                  <a:cubicBezTo>
                    <a:pt x="1671" y="93"/>
                    <a:pt x="1671" y="93"/>
                    <a:pt x="1671" y="94"/>
                  </a:cubicBezTo>
                  <a:cubicBezTo>
                    <a:pt x="1671" y="94"/>
                    <a:pt x="1671" y="94"/>
                    <a:pt x="1671" y="94"/>
                  </a:cubicBezTo>
                  <a:cubicBezTo>
                    <a:pt x="1671" y="94"/>
                    <a:pt x="1671" y="94"/>
                    <a:pt x="1671" y="94"/>
                  </a:cubicBezTo>
                  <a:cubicBezTo>
                    <a:pt x="1672" y="94"/>
                    <a:pt x="1672" y="94"/>
                    <a:pt x="1672" y="94"/>
                  </a:cubicBezTo>
                  <a:cubicBezTo>
                    <a:pt x="1672" y="94"/>
                    <a:pt x="1672" y="94"/>
                    <a:pt x="1672" y="94"/>
                  </a:cubicBezTo>
                  <a:cubicBezTo>
                    <a:pt x="1672" y="95"/>
                    <a:pt x="1672" y="95"/>
                    <a:pt x="1672" y="95"/>
                  </a:cubicBezTo>
                  <a:cubicBezTo>
                    <a:pt x="1672" y="95"/>
                    <a:pt x="1672" y="95"/>
                    <a:pt x="1672" y="95"/>
                  </a:cubicBezTo>
                  <a:cubicBezTo>
                    <a:pt x="1672" y="95"/>
                    <a:pt x="1672" y="96"/>
                    <a:pt x="1672" y="96"/>
                  </a:cubicBezTo>
                  <a:cubicBezTo>
                    <a:pt x="1672" y="96"/>
                    <a:pt x="1672" y="96"/>
                    <a:pt x="1672" y="96"/>
                  </a:cubicBezTo>
                  <a:cubicBezTo>
                    <a:pt x="1672" y="96"/>
                    <a:pt x="1672" y="96"/>
                    <a:pt x="1673" y="97"/>
                  </a:cubicBezTo>
                  <a:cubicBezTo>
                    <a:pt x="1673" y="97"/>
                    <a:pt x="1673" y="97"/>
                    <a:pt x="1673" y="97"/>
                  </a:cubicBezTo>
                  <a:cubicBezTo>
                    <a:pt x="1673" y="97"/>
                    <a:pt x="1673" y="97"/>
                    <a:pt x="1673" y="97"/>
                  </a:cubicBezTo>
                  <a:cubicBezTo>
                    <a:pt x="1673" y="97"/>
                    <a:pt x="1673" y="97"/>
                    <a:pt x="1673" y="98"/>
                  </a:cubicBezTo>
                  <a:cubicBezTo>
                    <a:pt x="1673" y="98"/>
                    <a:pt x="1673" y="98"/>
                    <a:pt x="1673" y="98"/>
                  </a:cubicBezTo>
                  <a:cubicBezTo>
                    <a:pt x="1673" y="98"/>
                    <a:pt x="1673" y="98"/>
                    <a:pt x="1673" y="98"/>
                  </a:cubicBezTo>
                  <a:cubicBezTo>
                    <a:pt x="1673" y="98"/>
                    <a:pt x="1673" y="98"/>
                    <a:pt x="1673" y="98"/>
                  </a:cubicBezTo>
                  <a:cubicBezTo>
                    <a:pt x="1673" y="99"/>
                    <a:pt x="1673" y="99"/>
                    <a:pt x="1674" y="99"/>
                  </a:cubicBezTo>
                  <a:cubicBezTo>
                    <a:pt x="1674" y="99"/>
                    <a:pt x="1674" y="99"/>
                    <a:pt x="1674" y="99"/>
                  </a:cubicBezTo>
                  <a:cubicBezTo>
                    <a:pt x="1674" y="99"/>
                    <a:pt x="1674" y="100"/>
                    <a:pt x="1674" y="100"/>
                  </a:cubicBezTo>
                  <a:cubicBezTo>
                    <a:pt x="1674" y="100"/>
                    <a:pt x="1674" y="100"/>
                    <a:pt x="1674" y="100"/>
                  </a:cubicBezTo>
                  <a:cubicBezTo>
                    <a:pt x="1674" y="100"/>
                    <a:pt x="1674" y="101"/>
                    <a:pt x="1674" y="101"/>
                  </a:cubicBezTo>
                  <a:cubicBezTo>
                    <a:pt x="1674" y="101"/>
                    <a:pt x="1674" y="101"/>
                    <a:pt x="1674" y="101"/>
                  </a:cubicBezTo>
                  <a:cubicBezTo>
                    <a:pt x="1674" y="101"/>
                    <a:pt x="1674" y="101"/>
                    <a:pt x="1675" y="101"/>
                  </a:cubicBezTo>
                  <a:cubicBezTo>
                    <a:pt x="1675" y="101"/>
                    <a:pt x="1675" y="101"/>
                    <a:pt x="1675" y="101"/>
                  </a:cubicBezTo>
                  <a:cubicBezTo>
                    <a:pt x="1679" y="102"/>
                    <a:pt x="1683" y="102"/>
                    <a:pt x="1687" y="102"/>
                  </a:cubicBezTo>
                  <a:cubicBezTo>
                    <a:pt x="1688" y="102"/>
                    <a:pt x="1688" y="101"/>
                    <a:pt x="1688" y="101"/>
                  </a:cubicBezTo>
                  <a:cubicBezTo>
                    <a:pt x="1688" y="101"/>
                    <a:pt x="1688" y="101"/>
                    <a:pt x="1688" y="101"/>
                  </a:cubicBezTo>
                  <a:cubicBezTo>
                    <a:pt x="1688" y="101"/>
                    <a:pt x="1688" y="100"/>
                    <a:pt x="1687" y="100"/>
                  </a:cubicBezTo>
                  <a:cubicBezTo>
                    <a:pt x="1687" y="100"/>
                    <a:pt x="1687" y="100"/>
                    <a:pt x="1687" y="100"/>
                  </a:cubicBezTo>
                  <a:cubicBezTo>
                    <a:pt x="1687" y="100"/>
                    <a:pt x="1687" y="100"/>
                    <a:pt x="1687" y="99"/>
                  </a:cubicBezTo>
                  <a:cubicBezTo>
                    <a:pt x="1687" y="99"/>
                    <a:pt x="1687" y="99"/>
                    <a:pt x="1687" y="99"/>
                  </a:cubicBezTo>
                  <a:cubicBezTo>
                    <a:pt x="1687" y="99"/>
                    <a:pt x="1687" y="99"/>
                    <a:pt x="1687" y="99"/>
                  </a:cubicBezTo>
                  <a:cubicBezTo>
                    <a:pt x="1687" y="99"/>
                    <a:pt x="1687" y="99"/>
                    <a:pt x="1687" y="99"/>
                  </a:cubicBezTo>
                  <a:cubicBezTo>
                    <a:pt x="1687" y="99"/>
                    <a:pt x="1687" y="98"/>
                    <a:pt x="1686" y="98"/>
                  </a:cubicBezTo>
                  <a:cubicBezTo>
                    <a:pt x="1686" y="98"/>
                    <a:pt x="1686" y="98"/>
                    <a:pt x="1686" y="98"/>
                  </a:cubicBezTo>
                  <a:cubicBezTo>
                    <a:pt x="1686" y="98"/>
                    <a:pt x="1686" y="98"/>
                    <a:pt x="1686" y="97"/>
                  </a:cubicBezTo>
                  <a:cubicBezTo>
                    <a:pt x="1686" y="97"/>
                    <a:pt x="1686" y="97"/>
                    <a:pt x="1686" y="97"/>
                  </a:cubicBezTo>
                  <a:cubicBezTo>
                    <a:pt x="1686" y="97"/>
                    <a:pt x="1686" y="97"/>
                    <a:pt x="1686" y="97"/>
                  </a:cubicBezTo>
                  <a:cubicBezTo>
                    <a:pt x="1686" y="97"/>
                    <a:pt x="1686" y="97"/>
                    <a:pt x="1686" y="97"/>
                  </a:cubicBezTo>
                  <a:cubicBezTo>
                    <a:pt x="1686" y="96"/>
                    <a:pt x="1686" y="96"/>
                    <a:pt x="1685" y="96"/>
                  </a:cubicBezTo>
                  <a:cubicBezTo>
                    <a:pt x="1685" y="96"/>
                    <a:pt x="1685" y="96"/>
                    <a:pt x="1685" y="96"/>
                  </a:cubicBezTo>
                  <a:cubicBezTo>
                    <a:pt x="1685" y="96"/>
                    <a:pt x="1685" y="96"/>
                    <a:pt x="1685" y="96"/>
                  </a:cubicBezTo>
                  <a:cubicBezTo>
                    <a:pt x="1685" y="96"/>
                    <a:pt x="1685" y="95"/>
                    <a:pt x="1685" y="95"/>
                  </a:cubicBezTo>
                  <a:cubicBezTo>
                    <a:pt x="1685" y="95"/>
                    <a:pt x="1685" y="95"/>
                    <a:pt x="1685" y="95"/>
                  </a:cubicBezTo>
                  <a:cubicBezTo>
                    <a:pt x="1685" y="95"/>
                    <a:pt x="1685" y="94"/>
                    <a:pt x="1685" y="94"/>
                  </a:cubicBezTo>
                  <a:cubicBezTo>
                    <a:pt x="1685" y="94"/>
                    <a:pt x="1685" y="94"/>
                    <a:pt x="1685" y="94"/>
                  </a:cubicBezTo>
                  <a:cubicBezTo>
                    <a:pt x="1685" y="94"/>
                    <a:pt x="1685" y="94"/>
                    <a:pt x="1684" y="94"/>
                  </a:cubicBezTo>
                  <a:cubicBezTo>
                    <a:pt x="1684" y="94"/>
                    <a:pt x="1684" y="94"/>
                    <a:pt x="1684" y="94"/>
                  </a:cubicBezTo>
                  <a:cubicBezTo>
                    <a:pt x="1684" y="93"/>
                    <a:pt x="1684" y="93"/>
                    <a:pt x="1684" y="93"/>
                  </a:cubicBezTo>
                  <a:cubicBezTo>
                    <a:pt x="1684" y="93"/>
                    <a:pt x="1684" y="93"/>
                    <a:pt x="1684" y="93"/>
                  </a:cubicBezTo>
                  <a:cubicBezTo>
                    <a:pt x="1684" y="93"/>
                    <a:pt x="1684" y="92"/>
                    <a:pt x="1684" y="92"/>
                  </a:cubicBezTo>
                  <a:cubicBezTo>
                    <a:pt x="1684" y="92"/>
                    <a:pt x="1684" y="92"/>
                    <a:pt x="1684" y="92"/>
                  </a:cubicBezTo>
                  <a:cubicBezTo>
                    <a:pt x="1683" y="92"/>
                    <a:pt x="1684" y="92"/>
                    <a:pt x="1683" y="91"/>
                  </a:cubicBezTo>
                  <a:cubicBezTo>
                    <a:pt x="1683" y="91"/>
                    <a:pt x="1683" y="91"/>
                    <a:pt x="1683" y="91"/>
                  </a:cubicBezTo>
                  <a:cubicBezTo>
                    <a:pt x="1683" y="91"/>
                    <a:pt x="1683" y="91"/>
                    <a:pt x="1683" y="91"/>
                  </a:cubicBezTo>
                  <a:cubicBezTo>
                    <a:pt x="1683" y="91"/>
                    <a:pt x="1683" y="91"/>
                    <a:pt x="1683" y="91"/>
                  </a:cubicBezTo>
                  <a:cubicBezTo>
                    <a:pt x="1683" y="91"/>
                    <a:pt x="1683" y="90"/>
                    <a:pt x="1683" y="90"/>
                  </a:cubicBezTo>
                  <a:cubicBezTo>
                    <a:pt x="1683" y="90"/>
                    <a:pt x="1683" y="90"/>
                    <a:pt x="1683" y="90"/>
                  </a:cubicBezTo>
                  <a:cubicBezTo>
                    <a:pt x="1682" y="90"/>
                    <a:pt x="1682" y="90"/>
                    <a:pt x="1682" y="89"/>
                  </a:cubicBezTo>
                  <a:cubicBezTo>
                    <a:pt x="1682" y="89"/>
                    <a:pt x="1682" y="89"/>
                    <a:pt x="1682" y="89"/>
                  </a:cubicBezTo>
                  <a:cubicBezTo>
                    <a:pt x="1682" y="89"/>
                    <a:pt x="1682" y="89"/>
                    <a:pt x="1682" y="89"/>
                  </a:cubicBezTo>
                  <a:cubicBezTo>
                    <a:pt x="1682" y="89"/>
                    <a:pt x="1682" y="89"/>
                    <a:pt x="1682" y="89"/>
                  </a:cubicBezTo>
                  <a:cubicBezTo>
                    <a:pt x="1682" y="88"/>
                    <a:pt x="1682" y="88"/>
                    <a:pt x="1682" y="88"/>
                  </a:cubicBezTo>
                  <a:cubicBezTo>
                    <a:pt x="1682" y="88"/>
                    <a:pt x="1682" y="88"/>
                    <a:pt x="1682" y="88"/>
                  </a:cubicBezTo>
                  <a:cubicBezTo>
                    <a:pt x="1682" y="88"/>
                    <a:pt x="1682" y="88"/>
                    <a:pt x="1682" y="88"/>
                  </a:cubicBezTo>
                  <a:cubicBezTo>
                    <a:pt x="1681" y="87"/>
                    <a:pt x="1681" y="87"/>
                    <a:pt x="1681" y="87"/>
                  </a:cubicBezTo>
                  <a:cubicBezTo>
                    <a:pt x="1681" y="87"/>
                    <a:pt x="1681" y="87"/>
                    <a:pt x="1681" y="87"/>
                  </a:cubicBezTo>
                  <a:cubicBezTo>
                    <a:pt x="1681" y="87"/>
                    <a:pt x="1681" y="86"/>
                    <a:pt x="1681" y="86"/>
                  </a:cubicBezTo>
                  <a:cubicBezTo>
                    <a:pt x="1681" y="86"/>
                    <a:pt x="1681" y="86"/>
                    <a:pt x="1681" y="86"/>
                  </a:cubicBezTo>
                  <a:cubicBezTo>
                    <a:pt x="1681" y="86"/>
                    <a:pt x="1681" y="86"/>
                    <a:pt x="1681" y="86"/>
                  </a:cubicBezTo>
                  <a:cubicBezTo>
                    <a:pt x="1681" y="86"/>
                    <a:pt x="1681" y="86"/>
                    <a:pt x="1681" y="86"/>
                  </a:cubicBezTo>
                  <a:cubicBezTo>
                    <a:pt x="1680" y="85"/>
                    <a:pt x="1680" y="85"/>
                    <a:pt x="1680" y="85"/>
                  </a:cubicBezTo>
                  <a:cubicBezTo>
                    <a:pt x="1680" y="85"/>
                    <a:pt x="1680" y="85"/>
                    <a:pt x="1680" y="85"/>
                  </a:cubicBezTo>
                  <a:cubicBezTo>
                    <a:pt x="1680" y="85"/>
                    <a:pt x="1680" y="84"/>
                    <a:pt x="1680" y="84"/>
                  </a:cubicBezTo>
                  <a:cubicBezTo>
                    <a:pt x="1680" y="84"/>
                    <a:pt x="1680" y="84"/>
                    <a:pt x="1680" y="84"/>
                  </a:cubicBezTo>
                  <a:cubicBezTo>
                    <a:pt x="1680" y="84"/>
                    <a:pt x="1680" y="84"/>
                    <a:pt x="1680" y="83"/>
                  </a:cubicBezTo>
                  <a:cubicBezTo>
                    <a:pt x="1680" y="83"/>
                    <a:pt x="1680" y="83"/>
                    <a:pt x="1680" y="83"/>
                  </a:cubicBezTo>
                  <a:cubicBezTo>
                    <a:pt x="1679" y="83"/>
                    <a:pt x="1679" y="83"/>
                    <a:pt x="1679" y="83"/>
                  </a:cubicBezTo>
                  <a:cubicBezTo>
                    <a:pt x="1679" y="83"/>
                    <a:pt x="1679" y="83"/>
                    <a:pt x="1679" y="83"/>
                  </a:cubicBezTo>
                  <a:cubicBezTo>
                    <a:pt x="1679" y="83"/>
                    <a:pt x="1679" y="82"/>
                    <a:pt x="1679" y="82"/>
                  </a:cubicBezTo>
                  <a:cubicBezTo>
                    <a:pt x="1679" y="82"/>
                    <a:pt x="1679" y="82"/>
                    <a:pt x="1679" y="82"/>
                  </a:cubicBezTo>
                  <a:cubicBezTo>
                    <a:pt x="1679" y="82"/>
                    <a:pt x="1679" y="82"/>
                    <a:pt x="1679" y="81"/>
                  </a:cubicBezTo>
                  <a:cubicBezTo>
                    <a:pt x="1678" y="81"/>
                    <a:pt x="1678" y="81"/>
                    <a:pt x="1678" y="81"/>
                  </a:cubicBezTo>
                  <a:cubicBezTo>
                    <a:pt x="1678" y="81"/>
                    <a:pt x="1678" y="81"/>
                    <a:pt x="1678" y="81"/>
                  </a:cubicBezTo>
                  <a:cubicBezTo>
                    <a:pt x="1678" y="81"/>
                    <a:pt x="1678" y="81"/>
                    <a:pt x="1678" y="81"/>
                  </a:cubicBezTo>
                  <a:cubicBezTo>
                    <a:pt x="1678" y="81"/>
                    <a:pt x="1678" y="81"/>
                    <a:pt x="1678" y="80"/>
                  </a:cubicBezTo>
                  <a:cubicBezTo>
                    <a:pt x="1678" y="80"/>
                    <a:pt x="1678" y="80"/>
                    <a:pt x="1678" y="80"/>
                  </a:cubicBezTo>
                  <a:cubicBezTo>
                    <a:pt x="1678" y="80"/>
                    <a:pt x="1678" y="80"/>
                    <a:pt x="1678" y="80"/>
                  </a:cubicBezTo>
                  <a:cubicBezTo>
                    <a:pt x="1678" y="79"/>
                    <a:pt x="1678" y="79"/>
                    <a:pt x="1677" y="79"/>
                  </a:cubicBezTo>
                  <a:cubicBezTo>
                    <a:pt x="1677" y="79"/>
                    <a:pt x="1677" y="79"/>
                    <a:pt x="1677" y="79"/>
                  </a:cubicBezTo>
                  <a:cubicBezTo>
                    <a:pt x="1677" y="79"/>
                    <a:pt x="1677" y="78"/>
                    <a:pt x="1677" y="78"/>
                  </a:cubicBezTo>
                  <a:cubicBezTo>
                    <a:pt x="1677" y="78"/>
                    <a:pt x="1677" y="78"/>
                    <a:pt x="1677" y="78"/>
                  </a:cubicBezTo>
                  <a:cubicBezTo>
                    <a:pt x="1677" y="78"/>
                    <a:pt x="1677" y="78"/>
                    <a:pt x="1677" y="78"/>
                  </a:cubicBezTo>
                  <a:cubicBezTo>
                    <a:pt x="1677" y="78"/>
                    <a:pt x="1677" y="78"/>
                    <a:pt x="1677" y="78"/>
                  </a:cubicBezTo>
                  <a:cubicBezTo>
                    <a:pt x="1677" y="77"/>
                    <a:pt x="1677" y="77"/>
                    <a:pt x="1676" y="77"/>
                  </a:cubicBezTo>
                  <a:cubicBezTo>
                    <a:pt x="1676" y="77"/>
                    <a:pt x="1676" y="77"/>
                    <a:pt x="1676" y="77"/>
                  </a:cubicBezTo>
                  <a:cubicBezTo>
                    <a:pt x="1676" y="77"/>
                    <a:pt x="1676" y="76"/>
                    <a:pt x="1676" y="76"/>
                  </a:cubicBezTo>
                  <a:cubicBezTo>
                    <a:pt x="1676" y="76"/>
                    <a:pt x="1676" y="76"/>
                    <a:pt x="1676" y="76"/>
                  </a:cubicBezTo>
                  <a:cubicBezTo>
                    <a:pt x="1676" y="76"/>
                    <a:pt x="1676" y="76"/>
                    <a:pt x="1676" y="75"/>
                  </a:cubicBezTo>
                  <a:cubicBezTo>
                    <a:pt x="1676" y="75"/>
                    <a:pt x="1676" y="75"/>
                    <a:pt x="1676" y="75"/>
                  </a:cubicBezTo>
                  <a:cubicBezTo>
                    <a:pt x="1675" y="75"/>
                    <a:pt x="1676" y="75"/>
                    <a:pt x="1675" y="75"/>
                  </a:cubicBezTo>
                  <a:cubicBezTo>
                    <a:pt x="1675" y="75"/>
                    <a:pt x="1675" y="75"/>
                    <a:pt x="1675" y="75"/>
                  </a:cubicBezTo>
                  <a:cubicBezTo>
                    <a:pt x="1675" y="75"/>
                    <a:pt x="1675" y="74"/>
                    <a:pt x="1675" y="74"/>
                  </a:cubicBezTo>
                  <a:cubicBezTo>
                    <a:pt x="1675" y="74"/>
                    <a:pt x="1675" y="74"/>
                    <a:pt x="1675" y="74"/>
                  </a:cubicBezTo>
                  <a:cubicBezTo>
                    <a:pt x="1675" y="74"/>
                    <a:pt x="1675" y="74"/>
                    <a:pt x="1675" y="74"/>
                  </a:cubicBezTo>
                  <a:cubicBezTo>
                    <a:pt x="1675" y="74"/>
                    <a:pt x="1675" y="73"/>
                    <a:pt x="1675" y="73"/>
                  </a:cubicBezTo>
                  <a:cubicBezTo>
                    <a:pt x="1675" y="73"/>
                    <a:pt x="1675" y="73"/>
                    <a:pt x="1675" y="73"/>
                  </a:cubicBezTo>
                  <a:cubicBezTo>
                    <a:pt x="1674" y="73"/>
                    <a:pt x="1675" y="72"/>
                    <a:pt x="1674" y="72"/>
                  </a:cubicBezTo>
                  <a:cubicBezTo>
                    <a:pt x="1674" y="72"/>
                    <a:pt x="1674" y="72"/>
                    <a:pt x="1674" y="72"/>
                  </a:cubicBezTo>
                  <a:cubicBezTo>
                    <a:pt x="1674" y="72"/>
                    <a:pt x="1674" y="72"/>
                    <a:pt x="1674" y="72"/>
                  </a:cubicBezTo>
                  <a:cubicBezTo>
                    <a:pt x="1674" y="72"/>
                    <a:pt x="1674" y="72"/>
                    <a:pt x="1674" y="72"/>
                  </a:cubicBezTo>
                  <a:cubicBezTo>
                    <a:pt x="1674" y="71"/>
                    <a:pt x="1674" y="71"/>
                    <a:pt x="1674" y="71"/>
                  </a:cubicBezTo>
                  <a:cubicBezTo>
                    <a:pt x="1674" y="71"/>
                    <a:pt x="1674" y="71"/>
                    <a:pt x="1674" y="71"/>
                  </a:cubicBezTo>
                  <a:cubicBezTo>
                    <a:pt x="1673" y="71"/>
                    <a:pt x="1673" y="70"/>
                    <a:pt x="1673" y="70"/>
                  </a:cubicBezTo>
                  <a:cubicBezTo>
                    <a:pt x="1673" y="70"/>
                    <a:pt x="1673" y="70"/>
                    <a:pt x="1673" y="70"/>
                  </a:cubicBezTo>
                  <a:cubicBezTo>
                    <a:pt x="1673" y="70"/>
                    <a:pt x="1673" y="70"/>
                    <a:pt x="1673" y="69"/>
                  </a:cubicBezTo>
                  <a:cubicBezTo>
                    <a:pt x="1673" y="70"/>
                    <a:pt x="1673" y="70"/>
                    <a:pt x="1673" y="70"/>
                  </a:cubicBezTo>
                  <a:cubicBezTo>
                    <a:pt x="1673" y="69"/>
                    <a:pt x="1673" y="69"/>
                    <a:pt x="1673" y="69"/>
                  </a:cubicBezTo>
                  <a:cubicBezTo>
                    <a:pt x="1673" y="69"/>
                    <a:pt x="1673" y="69"/>
                    <a:pt x="1673" y="69"/>
                  </a:cubicBezTo>
                  <a:cubicBezTo>
                    <a:pt x="1672" y="69"/>
                    <a:pt x="1672" y="68"/>
                    <a:pt x="1672" y="68"/>
                  </a:cubicBezTo>
                  <a:cubicBezTo>
                    <a:pt x="1672" y="68"/>
                    <a:pt x="1672" y="68"/>
                    <a:pt x="1672" y="68"/>
                  </a:cubicBezTo>
                  <a:cubicBezTo>
                    <a:pt x="1672" y="68"/>
                    <a:pt x="1672" y="68"/>
                    <a:pt x="1672" y="67"/>
                  </a:cubicBezTo>
                  <a:cubicBezTo>
                    <a:pt x="1672" y="67"/>
                    <a:pt x="1672" y="67"/>
                    <a:pt x="1672" y="67"/>
                  </a:cubicBezTo>
                  <a:cubicBezTo>
                    <a:pt x="1672" y="67"/>
                    <a:pt x="1672" y="67"/>
                    <a:pt x="1671" y="67"/>
                  </a:cubicBezTo>
                  <a:cubicBezTo>
                    <a:pt x="1671" y="67"/>
                    <a:pt x="1671" y="67"/>
                    <a:pt x="1671" y="67"/>
                  </a:cubicBezTo>
                  <a:cubicBezTo>
                    <a:pt x="1671" y="67"/>
                    <a:pt x="1671" y="66"/>
                    <a:pt x="1671" y="66"/>
                  </a:cubicBezTo>
                  <a:cubicBezTo>
                    <a:pt x="1671" y="66"/>
                    <a:pt x="1671" y="66"/>
                    <a:pt x="1671" y="66"/>
                  </a:cubicBezTo>
                  <a:cubicBezTo>
                    <a:pt x="1671" y="66"/>
                    <a:pt x="1671" y="66"/>
                    <a:pt x="1671" y="66"/>
                  </a:cubicBezTo>
                  <a:cubicBezTo>
                    <a:pt x="1671" y="66"/>
                    <a:pt x="1671" y="66"/>
                    <a:pt x="1671" y="66"/>
                  </a:cubicBezTo>
                  <a:cubicBezTo>
                    <a:pt x="1671" y="65"/>
                    <a:pt x="1671" y="65"/>
                    <a:pt x="1670" y="65"/>
                  </a:cubicBezTo>
                  <a:cubicBezTo>
                    <a:pt x="1670" y="65"/>
                    <a:pt x="1670" y="65"/>
                    <a:pt x="1670" y="65"/>
                  </a:cubicBezTo>
                  <a:cubicBezTo>
                    <a:pt x="1670" y="65"/>
                    <a:pt x="1670" y="65"/>
                    <a:pt x="1670" y="65"/>
                  </a:cubicBezTo>
                  <a:cubicBezTo>
                    <a:pt x="1670" y="65"/>
                    <a:pt x="1670" y="65"/>
                    <a:pt x="1670" y="65"/>
                  </a:cubicBezTo>
                  <a:cubicBezTo>
                    <a:pt x="1670" y="64"/>
                    <a:pt x="1670" y="64"/>
                    <a:pt x="1670" y="64"/>
                  </a:cubicBezTo>
                  <a:cubicBezTo>
                    <a:pt x="1670" y="64"/>
                    <a:pt x="1670" y="64"/>
                    <a:pt x="1670" y="64"/>
                  </a:cubicBezTo>
                  <a:cubicBezTo>
                    <a:pt x="1670" y="64"/>
                    <a:pt x="1670" y="64"/>
                    <a:pt x="1669" y="64"/>
                  </a:cubicBezTo>
                  <a:cubicBezTo>
                    <a:pt x="1669" y="64"/>
                    <a:pt x="1669" y="64"/>
                    <a:pt x="1669" y="64"/>
                  </a:cubicBezTo>
                  <a:cubicBezTo>
                    <a:pt x="1669" y="63"/>
                    <a:pt x="1669" y="63"/>
                    <a:pt x="1669" y="63"/>
                  </a:cubicBezTo>
                  <a:cubicBezTo>
                    <a:pt x="1669" y="63"/>
                    <a:pt x="1669" y="63"/>
                    <a:pt x="1669" y="63"/>
                  </a:cubicBezTo>
                  <a:cubicBezTo>
                    <a:pt x="1669" y="63"/>
                    <a:pt x="1669"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2"/>
                    <a:pt x="1668" y="62"/>
                    <a:pt x="1668" y="62"/>
                  </a:cubicBezTo>
                  <a:cubicBezTo>
                    <a:pt x="1668" y="61"/>
                    <a:pt x="1667" y="61"/>
                    <a:pt x="1667" y="61"/>
                  </a:cubicBezTo>
                  <a:cubicBezTo>
                    <a:pt x="1667" y="61"/>
                    <a:pt x="1667" y="61"/>
                    <a:pt x="1667" y="61"/>
                  </a:cubicBezTo>
                  <a:cubicBezTo>
                    <a:pt x="1667" y="61"/>
                    <a:pt x="1667" y="61"/>
                    <a:pt x="1667" y="61"/>
                  </a:cubicBezTo>
                  <a:cubicBezTo>
                    <a:pt x="1667" y="61"/>
                    <a:pt x="1667" y="61"/>
                    <a:pt x="1667" y="61"/>
                  </a:cubicBezTo>
                  <a:cubicBezTo>
                    <a:pt x="1667" y="60"/>
                    <a:pt x="1666" y="60"/>
                    <a:pt x="1666" y="60"/>
                  </a:cubicBezTo>
                  <a:cubicBezTo>
                    <a:pt x="1666" y="60"/>
                    <a:pt x="1666" y="60"/>
                    <a:pt x="1666" y="60"/>
                  </a:cubicBezTo>
                  <a:cubicBezTo>
                    <a:pt x="1666" y="60"/>
                    <a:pt x="1666" y="60"/>
                    <a:pt x="1666" y="60"/>
                  </a:cubicBezTo>
                  <a:cubicBezTo>
                    <a:pt x="1666" y="60"/>
                    <a:pt x="1666" y="60"/>
                    <a:pt x="1666" y="60"/>
                  </a:cubicBezTo>
                  <a:cubicBezTo>
                    <a:pt x="1665" y="60"/>
                    <a:pt x="1665" y="60"/>
                    <a:pt x="1665" y="59"/>
                  </a:cubicBezTo>
                  <a:cubicBezTo>
                    <a:pt x="1665" y="59"/>
                    <a:pt x="1665" y="59"/>
                    <a:pt x="1665" y="59"/>
                  </a:cubicBezTo>
                  <a:cubicBezTo>
                    <a:pt x="1665" y="59"/>
                    <a:pt x="1664" y="59"/>
                    <a:pt x="1664" y="59"/>
                  </a:cubicBezTo>
                  <a:cubicBezTo>
                    <a:pt x="1664" y="59"/>
                    <a:pt x="1664" y="59"/>
                    <a:pt x="1664" y="59"/>
                  </a:cubicBezTo>
                  <a:cubicBezTo>
                    <a:pt x="1664" y="59"/>
                    <a:pt x="1664" y="59"/>
                    <a:pt x="1665" y="58"/>
                  </a:cubicBezTo>
                  <a:cubicBezTo>
                    <a:pt x="1665" y="58"/>
                    <a:pt x="1665" y="58"/>
                    <a:pt x="1665" y="58"/>
                  </a:cubicBezTo>
                  <a:cubicBezTo>
                    <a:pt x="1665" y="58"/>
                    <a:pt x="1665" y="58"/>
                    <a:pt x="1666" y="58"/>
                  </a:cubicBezTo>
                  <a:cubicBezTo>
                    <a:pt x="1666" y="58"/>
                    <a:pt x="1666" y="58"/>
                    <a:pt x="1666" y="58"/>
                  </a:cubicBezTo>
                  <a:cubicBezTo>
                    <a:pt x="1666" y="58"/>
                    <a:pt x="1666" y="58"/>
                    <a:pt x="1666" y="58"/>
                  </a:cubicBezTo>
                  <a:cubicBezTo>
                    <a:pt x="1666" y="58"/>
                    <a:pt x="1666" y="58"/>
                    <a:pt x="1667" y="58"/>
                  </a:cubicBezTo>
                  <a:close/>
                  <a:moveTo>
                    <a:pt x="1433" y="7"/>
                  </a:moveTo>
                  <a:cubicBezTo>
                    <a:pt x="1433" y="7"/>
                    <a:pt x="1433" y="7"/>
                    <a:pt x="1433" y="7"/>
                  </a:cubicBezTo>
                  <a:cubicBezTo>
                    <a:pt x="1433" y="7"/>
                    <a:pt x="1433" y="7"/>
                    <a:pt x="1433" y="7"/>
                  </a:cubicBezTo>
                  <a:cubicBezTo>
                    <a:pt x="1432" y="7"/>
                    <a:pt x="1432" y="7"/>
                    <a:pt x="1432" y="7"/>
                  </a:cubicBezTo>
                  <a:cubicBezTo>
                    <a:pt x="1432" y="7"/>
                    <a:pt x="1432" y="7"/>
                    <a:pt x="1431" y="7"/>
                  </a:cubicBezTo>
                  <a:cubicBezTo>
                    <a:pt x="1431" y="7"/>
                    <a:pt x="1431" y="7"/>
                    <a:pt x="1431" y="8"/>
                  </a:cubicBezTo>
                  <a:cubicBezTo>
                    <a:pt x="1431" y="8"/>
                    <a:pt x="1431" y="8"/>
                    <a:pt x="1431" y="8"/>
                  </a:cubicBezTo>
                  <a:cubicBezTo>
                    <a:pt x="1430" y="8"/>
                    <a:pt x="1430" y="8"/>
                    <a:pt x="1430" y="8"/>
                  </a:cubicBezTo>
                  <a:cubicBezTo>
                    <a:pt x="1430" y="8"/>
                    <a:pt x="1430" y="8"/>
                    <a:pt x="1430" y="8"/>
                  </a:cubicBezTo>
                  <a:cubicBezTo>
                    <a:pt x="1429" y="8"/>
                    <a:pt x="1429" y="8"/>
                    <a:pt x="1429" y="8"/>
                  </a:cubicBezTo>
                  <a:cubicBezTo>
                    <a:pt x="1429" y="8"/>
                    <a:pt x="1429" y="8"/>
                    <a:pt x="1429" y="8"/>
                  </a:cubicBezTo>
                  <a:cubicBezTo>
                    <a:pt x="1429" y="8"/>
                    <a:pt x="1428" y="8"/>
                    <a:pt x="1428" y="9"/>
                  </a:cubicBezTo>
                  <a:cubicBezTo>
                    <a:pt x="1428" y="9"/>
                    <a:pt x="1428" y="9"/>
                    <a:pt x="1428" y="9"/>
                  </a:cubicBezTo>
                  <a:cubicBezTo>
                    <a:pt x="1428" y="9"/>
                    <a:pt x="1428" y="9"/>
                    <a:pt x="1428" y="9"/>
                  </a:cubicBezTo>
                  <a:cubicBezTo>
                    <a:pt x="1428" y="9"/>
                    <a:pt x="1428" y="9"/>
                    <a:pt x="1428" y="9"/>
                  </a:cubicBezTo>
                  <a:cubicBezTo>
                    <a:pt x="1427" y="9"/>
                    <a:pt x="1427" y="9"/>
                    <a:pt x="1427" y="9"/>
                  </a:cubicBezTo>
                  <a:cubicBezTo>
                    <a:pt x="1427" y="9"/>
                    <a:pt x="1427" y="9"/>
                    <a:pt x="1427" y="9"/>
                  </a:cubicBezTo>
                  <a:cubicBezTo>
                    <a:pt x="1427" y="9"/>
                    <a:pt x="1427" y="10"/>
                    <a:pt x="1426" y="10"/>
                  </a:cubicBezTo>
                  <a:cubicBezTo>
                    <a:pt x="1426" y="10"/>
                    <a:pt x="1426" y="10"/>
                    <a:pt x="1426" y="10"/>
                  </a:cubicBezTo>
                  <a:cubicBezTo>
                    <a:pt x="1426" y="10"/>
                    <a:pt x="1426" y="10"/>
                    <a:pt x="1426" y="10"/>
                  </a:cubicBezTo>
                  <a:cubicBezTo>
                    <a:pt x="1426" y="10"/>
                    <a:pt x="1426" y="10"/>
                    <a:pt x="1426" y="10"/>
                  </a:cubicBezTo>
                  <a:cubicBezTo>
                    <a:pt x="1426" y="10"/>
                    <a:pt x="1425" y="10"/>
                    <a:pt x="1425" y="10"/>
                  </a:cubicBezTo>
                  <a:cubicBezTo>
                    <a:pt x="1425" y="10"/>
                    <a:pt x="1425" y="10"/>
                    <a:pt x="1425" y="10"/>
                  </a:cubicBezTo>
                  <a:cubicBezTo>
                    <a:pt x="1425" y="10"/>
                    <a:pt x="1425" y="11"/>
                    <a:pt x="1425" y="11"/>
                  </a:cubicBezTo>
                  <a:cubicBezTo>
                    <a:pt x="1425" y="11"/>
                    <a:pt x="1425" y="11"/>
                    <a:pt x="1425" y="11"/>
                  </a:cubicBezTo>
                  <a:cubicBezTo>
                    <a:pt x="1425" y="11"/>
                    <a:pt x="1424" y="11"/>
                    <a:pt x="1424" y="11"/>
                  </a:cubicBezTo>
                  <a:cubicBezTo>
                    <a:pt x="1424" y="11"/>
                    <a:pt x="1424" y="11"/>
                    <a:pt x="1424" y="11"/>
                  </a:cubicBezTo>
                  <a:cubicBezTo>
                    <a:pt x="1424" y="11"/>
                    <a:pt x="1424" y="11"/>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2"/>
                    <a:pt x="1423" y="12"/>
                    <a:pt x="1423" y="12"/>
                  </a:cubicBezTo>
                  <a:cubicBezTo>
                    <a:pt x="1423"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2" y="13"/>
                    <a:pt x="1422" y="13"/>
                    <a:pt x="1422" y="13"/>
                  </a:cubicBezTo>
                  <a:cubicBezTo>
                    <a:pt x="1421" y="14"/>
                    <a:pt x="1421" y="14"/>
                    <a:pt x="1421" y="14"/>
                  </a:cubicBezTo>
                  <a:cubicBezTo>
                    <a:pt x="1421" y="14"/>
                    <a:pt x="1421" y="14"/>
                    <a:pt x="1421" y="14"/>
                  </a:cubicBezTo>
                  <a:cubicBezTo>
                    <a:pt x="1421" y="14"/>
                    <a:pt x="1421" y="14"/>
                    <a:pt x="1421" y="14"/>
                  </a:cubicBezTo>
                  <a:cubicBezTo>
                    <a:pt x="1421" y="14"/>
                    <a:pt x="1421" y="14"/>
                    <a:pt x="1421" y="14"/>
                  </a:cubicBezTo>
                  <a:cubicBezTo>
                    <a:pt x="1421" y="14"/>
                    <a:pt x="1421" y="14"/>
                    <a:pt x="1421" y="15"/>
                  </a:cubicBezTo>
                  <a:cubicBezTo>
                    <a:pt x="1421" y="15"/>
                    <a:pt x="1421" y="15"/>
                    <a:pt x="1421" y="15"/>
                  </a:cubicBezTo>
                  <a:cubicBezTo>
                    <a:pt x="1420" y="15"/>
                    <a:pt x="1420" y="15"/>
                    <a:pt x="1420" y="15"/>
                  </a:cubicBezTo>
                  <a:cubicBezTo>
                    <a:pt x="1420" y="15"/>
                    <a:pt x="1420" y="15"/>
                    <a:pt x="1420" y="15"/>
                  </a:cubicBezTo>
                  <a:cubicBezTo>
                    <a:pt x="1420" y="15"/>
                    <a:pt x="1420" y="16"/>
                    <a:pt x="1419" y="16"/>
                  </a:cubicBezTo>
                  <a:cubicBezTo>
                    <a:pt x="1419" y="16"/>
                    <a:pt x="1419" y="16"/>
                    <a:pt x="1419" y="16"/>
                  </a:cubicBezTo>
                  <a:cubicBezTo>
                    <a:pt x="1419" y="16"/>
                    <a:pt x="1419" y="16"/>
                    <a:pt x="1419" y="16"/>
                  </a:cubicBezTo>
                  <a:cubicBezTo>
                    <a:pt x="1419" y="16"/>
                    <a:pt x="1419" y="16"/>
                    <a:pt x="1419" y="16"/>
                  </a:cubicBezTo>
                  <a:cubicBezTo>
                    <a:pt x="1419" y="16"/>
                    <a:pt x="1419" y="16"/>
                    <a:pt x="1419" y="17"/>
                  </a:cubicBezTo>
                  <a:cubicBezTo>
                    <a:pt x="1419" y="17"/>
                    <a:pt x="1419" y="17"/>
                    <a:pt x="1419" y="17"/>
                  </a:cubicBezTo>
                  <a:cubicBezTo>
                    <a:pt x="1419" y="17"/>
                    <a:pt x="1419" y="17"/>
                    <a:pt x="1418" y="17"/>
                  </a:cubicBezTo>
                  <a:cubicBezTo>
                    <a:pt x="1418" y="17"/>
                    <a:pt x="1418" y="17"/>
                    <a:pt x="1418" y="17"/>
                  </a:cubicBezTo>
                  <a:cubicBezTo>
                    <a:pt x="1418" y="17"/>
                    <a:pt x="1418" y="18"/>
                    <a:pt x="1418" y="18"/>
                  </a:cubicBezTo>
                  <a:cubicBezTo>
                    <a:pt x="1418" y="18"/>
                    <a:pt x="1418" y="18"/>
                    <a:pt x="1418" y="18"/>
                  </a:cubicBezTo>
                  <a:cubicBezTo>
                    <a:pt x="1418" y="18"/>
                    <a:pt x="1418" y="18"/>
                    <a:pt x="1418" y="18"/>
                  </a:cubicBezTo>
                  <a:cubicBezTo>
                    <a:pt x="1418" y="18"/>
                    <a:pt x="1418" y="18"/>
                    <a:pt x="1418" y="18"/>
                  </a:cubicBezTo>
                  <a:cubicBezTo>
                    <a:pt x="1418" y="18"/>
                    <a:pt x="1417" y="19"/>
                    <a:pt x="1417" y="19"/>
                  </a:cubicBezTo>
                  <a:cubicBezTo>
                    <a:pt x="1417" y="19"/>
                    <a:pt x="1417" y="19"/>
                    <a:pt x="1417" y="19"/>
                  </a:cubicBezTo>
                  <a:cubicBezTo>
                    <a:pt x="1417" y="19"/>
                    <a:pt x="1417" y="19"/>
                    <a:pt x="1417" y="19"/>
                  </a:cubicBezTo>
                  <a:cubicBezTo>
                    <a:pt x="1417" y="19"/>
                    <a:pt x="1417" y="19"/>
                    <a:pt x="1417" y="19"/>
                  </a:cubicBezTo>
                  <a:cubicBezTo>
                    <a:pt x="1417" y="20"/>
                    <a:pt x="1417" y="20"/>
                    <a:pt x="1417" y="20"/>
                  </a:cubicBezTo>
                  <a:cubicBezTo>
                    <a:pt x="1417" y="20"/>
                    <a:pt x="1417" y="20"/>
                    <a:pt x="1417" y="20"/>
                  </a:cubicBezTo>
                  <a:cubicBezTo>
                    <a:pt x="1417" y="20"/>
                    <a:pt x="1416" y="20"/>
                    <a:pt x="1416" y="21"/>
                  </a:cubicBezTo>
                  <a:cubicBezTo>
                    <a:pt x="1416" y="21"/>
                    <a:pt x="1416" y="21"/>
                    <a:pt x="1416" y="21"/>
                  </a:cubicBezTo>
                  <a:cubicBezTo>
                    <a:pt x="1416" y="21"/>
                    <a:pt x="1416" y="21"/>
                    <a:pt x="1416" y="21"/>
                  </a:cubicBezTo>
                  <a:cubicBezTo>
                    <a:pt x="1416" y="21"/>
                    <a:pt x="1416" y="21"/>
                    <a:pt x="1416" y="21"/>
                  </a:cubicBezTo>
                  <a:cubicBezTo>
                    <a:pt x="1416" y="21"/>
                    <a:pt x="1416" y="21"/>
                    <a:pt x="1416" y="21"/>
                  </a:cubicBezTo>
                  <a:cubicBezTo>
                    <a:pt x="1416" y="21"/>
                    <a:pt x="1416" y="22"/>
                    <a:pt x="1416" y="22"/>
                  </a:cubicBezTo>
                  <a:cubicBezTo>
                    <a:pt x="1416" y="22"/>
                    <a:pt x="1416" y="22"/>
                    <a:pt x="1416" y="22"/>
                  </a:cubicBezTo>
                  <a:cubicBezTo>
                    <a:pt x="1415" y="22"/>
                    <a:pt x="1415" y="22"/>
                    <a:pt x="1415" y="23"/>
                  </a:cubicBezTo>
                  <a:cubicBezTo>
                    <a:pt x="1415" y="23"/>
                    <a:pt x="1415" y="23"/>
                    <a:pt x="1415" y="23"/>
                  </a:cubicBezTo>
                  <a:cubicBezTo>
                    <a:pt x="1415" y="23"/>
                    <a:pt x="1415" y="23"/>
                    <a:pt x="1415" y="23"/>
                  </a:cubicBezTo>
                  <a:cubicBezTo>
                    <a:pt x="1415" y="23"/>
                    <a:pt x="1415" y="23"/>
                    <a:pt x="1415" y="23"/>
                  </a:cubicBezTo>
                  <a:cubicBezTo>
                    <a:pt x="1415" y="24"/>
                    <a:pt x="1415" y="24"/>
                    <a:pt x="1415" y="24"/>
                  </a:cubicBezTo>
                  <a:cubicBezTo>
                    <a:pt x="1415" y="24"/>
                    <a:pt x="1415" y="24"/>
                    <a:pt x="1415" y="24"/>
                  </a:cubicBezTo>
                  <a:cubicBezTo>
                    <a:pt x="1415" y="24"/>
                    <a:pt x="1415" y="24"/>
                    <a:pt x="1415" y="24"/>
                  </a:cubicBezTo>
                  <a:cubicBezTo>
                    <a:pt x="1414" y="24"/>
                    <a:pt x="1414" y="25"/>
                    <a:pt x="1414" y="25"/>
                  </a:cubicBezTo>
                  <a:cubicBezTo>
                    <a:pt x="1414" y="25"/>
                    <a:pt x="1414" y="25"/>
                    <a:pt x="1414" y="25"/>
                  </a:cubicBezTo>
                  <a:cubicBezTo>
                    <a:pt x="1414" y="25"/>
                    <a:pt x="1414" y="26"/>
                    <a:pt x="1414" y="26"/>
                  </a:cubicBezTo>
                  <a:cubicBezTo>
                    <a:pt x="1414" y="26"/>
                    <a:pt x="1414" y="26"/>
                    <a:pt x="1414" y="26"/>
                  </a:cubicBezTo>
                  <a:cubicBezTo>
                    <a:pt x="1414" y="26"/>
                    <a:pt x="1414" y="27"/>
                    <a:pt x="1414" y="27"/>
                  </a:cubicBezTo>
                  <a:cubicBezTo>
                    <a:pt x="1414" y="27"/>
                    <a:pt x="1414" y="27"/>
                    <a:pt x="1414" y="27"/>
                  </a:cubicBezTo>
                  <a:cubicBezTo>
                    <a:pt x="1413" y="27"/>
                    <a:pt x="1413" y="28"/>
                    <a:pt x="1413" y="28"/>
                  </a:cubicBezTo>
                  <a:cubicBezTo>
                    <a:pt x="1413" y="28"/>
                    <a:pt x="1413" y="28"/>
                    <a:pt x="1413" y="28"/>
                  </a:cubicBezTo>
                  <a:cubicBezTo>
                    <a:pt x="1413" y="28"/>
                    <a:pt x="1413" y="29"/>
                    <a:pt x="1413" y="29"/>
                  </a:cubicBezTo>
                  <a:cubicBezTo>
                    <a:pt x="1413" y="29"/>
                    <a:pt x="1413" y="29"/>
                    <a:pt x="1413" y="29"/>
                  </a:cubicBezTo>
                  <a:cubicBezTo>
                    <a:pt x="1413" y="29"/>
                    <a:pt x="1413" y="30"/>
                    <a:pt x="1413" y="30"/>
                  </a:cubicBezTo>
                  <a:cubicBezTo>
                    <a:pt x="1413" y="30"/>
                    <a:pt x="1413" y="30"/>
                    <a:pt x="1413" y="30"/>
                  </a:cubicBezTo>
                  <a:cubicBezTo>
                    <a:pt x="1413" y="30"/>
                    <a:pt x="1413" y="30"/>
                    <a:pt x="1413" y="30"/>
                  </a:cubicBezTo>
                  <a:cubicBezTo>
                    <a:pt x="1412" y="30"/>
                    <a:pt x="1412" y="31"/>
                    <a:pt x="1412" y="31"/>
                  </a:cubicBezTo>
                  <a:cubicBezTo>
                    <a:pt x="1412" y="31"/>
                    <a:pt x="1412" y="31"/>
                    <a:pt x="1412" y="32"/>
                  </a:cubicBezTo>
                  <a:cubicBezTo>
                    <a:pt x="1412" y="32"/>
                    <a:pt x="1412" y="32"/>
                    <a:pt x="1412" y="33"/>
                  </a:cubicBezTo>
                  <a:cubicBezTo>
                    <a:pt x="1412" y="33"/>
                    <a:pt x="1412" y="33"/>
                    <a:pt x="1412" y="33"/>
                  </a:cubicBezTo>
                  <a:cubicBezTo>
                    <a:pt x="1411" y="33"/>
                    <a:pt x="1412" y="34"/>
                    <a:pt x="1412" y="34"/>
                  </a:cubicBezTo>
                  <a:cubicBezTo>
                    <a:pt x="1412" y="34"/>
                    <a:pt x="1412" y="34"/>
                    <a:pt x="1411" y="34"/>
                  </a:cubicBezTo>
                  <a:cubicBezTo>
                    <a:pt x="1411" y="35"/>
                    <a:pt x="1411" y="35"/>
                    <a:pt x="1411" y="36"/>
                  </a:cubicBezTo>
                  <a:cubicBezTo>
                    <a:pt x="1411" y="36"/>
                    <a:pt x="1411" y="36"/>
                    <a:pt x="1411" y="36"/>
                  </a:cubicBezTo>
                  <a:cubicBezTo>
                    <a:pt x="1411" y="37"/>
                    <a:pt x="1411" y="37"/>
                    <a:pt x="1411" y="38"/>
                  </a:cubicBezTo>
                  <a:cubicBezTo>
                    <a:pt x="1411" y="38"/>
                    <a:pt x="1411" y="38"/>
                    <a:pt x="1411" y="38"/>
                  </a:cubicBezTo>
                  <a:cubicBezTo>
                    <a:pt x="1410" y="38"/>
                    <a:pt x="1411" y="39"/>
                    <a:pt x="1410" y="40"/>
                  </a:cubicBezTo>
                  <a:cubicBezTo>
                    <a:pt x="1410" y="40"/>
                    <a:pt x="1410" y="40"/>
                    <a:pt x="1410" y="40"/>
                  </a:cubicBezTo>
                  <a:cubicBezTo>
                    <a:pt x="1410" y="41"/>
                    <a:pt x="1410" y="42"/>
                    <a:pt x="1410" y="42"/>
                  </a:cubicBezTo>
                  <a:cubicBezTo>
                    <a:pt x="1410" y="42"/>
                    <a:pt x="1410" y="43"/>
                    <a:pt x="1410" y="43"/>
                  </a:cubicBezTo>
                  <a:cubicBezTo>
                    <a:pt x="1410" y="44"/>
                    <a:pt x="1410" y="45"/>
                    <a:pt x="1410" y="46"/>
                  </a:cubicBezTo>
                  <a:cubicBezTo>
                    <a:pt x="1410" y="46"/>
                    <a:pt x="1410" y="46"/>
                    <a:pt x="1410" y="47"/>
                  </a:cubicBezTo>
                  <a:cubicBezTo>
                    <a:pt x="1409" y="48"/>
                    <a:pt x="1410" y="50"/>
                    <a:pt x="1409" y="52"/>
                  </a:cubicBezTo>
                  <a:cubicBezTo>
                    <a:pt x="1409" y="55"/>
                    <a:pt x="1409" y="58"/>
                    <a:pt x="1409" y="61"/>
                  </a:cubicBezTo>
                  <a:cubicBezTo>
                    <a:pt x="1410" y="62"/>
                    <a:pt x="1409" y="64"/>
                    <a:pt x="1410" y="65"/>
                  </a:cubicBezTo>
                  <a:cubicBezTo>
                    <a:pt x="1410" y="66"/>
                    <a:pt x="1410" y="66"/>
                    <a:pt x="1410" y="66"/>
                  </a:cubicBezTo>
                  <a:cubicBezTo>
                    <a:pt x="1410" y="67"/>
                    <a:pt x="1410" y="68"/>
                    <a:pt x="1410" y="69"/>
                  </a:cubicBezTo>
                  <a:cubicBezTo>
                    <a:pt x="1410" y="69"/>
                    <a:pt x="1410" y="69"/>
                    <a:pt x="1410" y="69"/>
                  </a:cubicBezTo>
                  <a:cubicBezTo>
                    <a:pt x="1411" y="70"/>
                    <a:pt x="1410" y="71"/>
                    <a:pt x="1410" y="72"/>
                  </a:cubicBezTo>
                  <a:cubicBezTo>
                    <a:pt x="1411" y="72"/>
                    <a:pt x="1411" y="72"/>
                    <a:pt x="1410" y="72"/>
                  </a:cubicBezTo>
                  <a:cubicBezTo>
                    <a:pt x="1411" y="72"/>
                    <a:pt x="1410" y="73"/>
                    <a:pt x="1411" y="74"/>
                  </a:cubicBezTo>
                  <a:cubicBezTo>
                    <a:pt x="1411" y="74"/>
                    <a:pt x="1411" y="74"/>
                    <a:pt x="1411" y="74"/>
                  </a:cubicBezTo>
                  <a:cubicBezTo>
                    <a:pt x="1411" y="74"/>
                    <a:pt x="1411" y="75"/>
                    <a:pt x="1411" y="75"/>
                  </a:cubicBezTo>
                  <a:cubicBezTo>
                    <a:pt x="1411" y="75"/>
                    <a:pt x="1411" y="76"/>
                    <a:pt x="1411" y="76"/>
                  </a:cubicBezTo>
                  <a:cubicBezTo>
                    <a:pt x="1411" y="76"/>
                    <a:pt x="1411" y="77"/>
                    <a:pt x="1411" y="77"/>
                  </a:cubicBezTo>
                  <a:cubicBezTo>
                    <a:pt x="1411" y="77"/>
                    <a:pt x="1411" y="77"/>
                    <a:pt x="1411" y="77"/>
                  </a:cubicBezTo>
                  <a:cubicBezTo>
                    <a:pt x="1412" y="78"/>
                    <a:pt x="1411" y="78"/>
                    <a:pt x="1412" y="79"/>
                  </a:cubicBezTo>
                  <a:cubicBezTo>
                    <a:pt x="1412" y="79"/>
                    <a:pt x="1412" y="79"/>
                    <a:pt x="1412" y="79"/>
                  </a:cubicBezTo>
                  <a:cubicBezTo>
                    <a:pt x="1412" y="79"/>
                    <a:pt x="1412" y="79"/>
                    <a:pt x="1412" y="80"/>
                  </a:cubicBezTo>
                  <a:cubicBezTo>
                    <a:pt x="1412" y="80"/>
                    <a:pt x="1412" y="80"/>
                    <a:pt x="1412" y="80"/>
                  </a:cubicBezTo>
                  <a:cubicBezTo>
                    <a:pt x="1412" y="80"/>
                    <a:pt x="1412" y="81"/>
                    <a:pt x="1413" y="81"/>
                  </a:cubicBezTo>
                  <a:cubicBezTo>
                    <a:pt x="1413" y="81"/>
                    <a:pt x="1413" y="81"/>
                    <a:pt x="1413" y="81"/>
                  </a:cubicBezTo>
                  <a:cubicBezTo>
                    <a:pt x="1413" y="81"/>
                    <a:pt x="1413" y="82"/>
                    <a:pt x="1413" y="82"/>
                  </a:cubicBezTo>
                  <a:cubicBezTo>
                    <a:pt x="1413" y="82"/>
                    <a:pt x="1413" y="82"/>
                    <a:pt x="1413" y="82"/>
                  </a:cubicBezTo>
                  <a:cubicBezTo>
                    <a:pt x="1413" y="82"/>
                    <a:pt x="1413" y="83"/>
                    <a:pt x="1413" y="83"/>
                  </a:cubicBezTo>
                  <a:cubicBezTo>
                    <a:pt x="1413" y="83"/>
                    <a:pt x="1413" y="83"/>
                    <a:pt x="1413" y="83"/>
                  </a:cubicBezTo>
                  <a:cubicBezTo>
                    <a:pt x="1413" y="83"/>
                    <a:pt x="1413" y="84"/>
                    <a:pt x="1414" y="84"/>
                  </a:cubicBezTo>
                  <a:cubicBezTo>
                    <a:pt x="1414" y="84"/>
                    <a:pt x="1414" y="84"/>
                    <a:pt x="1414" y="84"/>
                  </a:cubicBezTo>
                  <a:cubicBezTo>
                    <a:pt x="1414" y="84"/>
                    <a:pt x="1414" y="85"/>
                    <a:pt x="1414" y="85"/>
                  </a:cubicBezTo>
                  <a:cubicBezTo>
                    <a:pt x="1414" y="85"/>
                    <a:pt x="1414" y="85"/>
                    <a:pt x="1414" y="85"/>
                  </a:cubicBezTo>
                  <a:cubicBezTo>
                    <a:pt x="1414" y="85"/>
                    <a:pt x="1414" y="85"/>
                    <a:pt x="1414" y="85"/>
                  </a:cubicBezTo>
                  <a:cubicBezTo>
                    <a:pt x="1414" y="86"/>
                    <a:pt x="1414" y="86"/>
                    <a:pt x="1414" y="86"/>
                  </a:cubicBezTo>
                  <a:cubicBezTo>
                    <a:pt x="1414" y="86"/>
                    <a:pt x="1414" y="86"/>
                    <a:pt x="1414" y="86"/>
                  </a:cubicBezTo>
                  <a:cubicBezTo>
                    <a:pt x="1414" y="86"/>
                    <a:pt x="1414" y="86"/>
                    <a:pt x="1415" y="87"/>
                  </a:cubicBezTo>
                  <a:cubicBezTo>
                    <a:pt x="1415" y="86"/>
                    <a:pt x="1415" y="86"/>
                    <a:pt x="1415" y="86"/>
                  </a:cubicBezTo>
                  <a:cubicBezTo>
                    <a:pt x="1415" y="87"/>
                    <a:pt x="1415" y="87"/>
                    <a:pt x="1415" y="87"/>
                  </a:cubicBezTo>
                  <a:cubicBezTo>
                    <a:pt x="1415" y="87"/>
                    <a:pt x="1415" y="87"/>
                    <a:pt x="1415" y="87"/>
                  </a:cubicBezTo>
                  <a:cubicBezTo>
                    <a:pt x="1415" y="87"/>
                    <a:pt x="1415" y="88"/>
                    <a:pt x="1415" y="88"/>
                  </a:cubicBezTo>
                  <a:cubicBezTo>
                    <a:pt x="1415" y="88"/>
                    <a:pt x="1415" y="88"/>
                    <a:pt x="1415" y="88"/>
                  </a:cubicBezTo>
                  <a:cubicBezTo>
                    <a:pt x="1416" y="88"/>
                    <a:pt x="1415" y="88"/>
                    <a:pt x="1416" y="89"/>
                  </a:cubicBezTo>
                  <a:cubicBezTo>
                    <a:pt x="1416" y="89"/>
                    <a:pt x="1416" y="89"/>
                    <a:pt x="1416" y="89"/>
                  </a:cubicBezTo>
                  <a:cubicBezTo>
                    <a:pt x="1416" y="89"/>
                    <a:pt x="1416" y="89"/>
                    <a:pt x="1416" y="89"/>
                  </a:cubicBezTo>
                  <a:cubicBezTo>
                    <a:pt x="1416" y="89"/>
                    <a:pt x="1416" y="89"/>
                    <a:pt x="1416" y="89"/>
                  </a:cubicBezTo>
                  <a:cubicBezTo>
                    <a:pt x="1416" y="89"/>
                    <a:pt x="1416" y="90"/>
                    <a:pt x="1416" y="90"/>
                  </a:cubicBezTo>
                  <a:cubicBezTo>
                    <a:pt x="1416" y="90"/>
                    <a:pt x="1416" y="90"/>
                    <a:pt x="1416" y="90"/>
                  </a:cubicBezTo>
                  <a:cubicBezTo>
                    <a:pt x="1417" y="90"/>
                    <a:pt x="1417" y="90"/>
                    <a:pt x="1417" y="90"/>
                  </a:cubicBezTo>
                  <a:cubicBezTo>
                    <a:pt x="1417" y="90"/>
                    <a:pt x="1417" y="90"/>
                    <a:pt x="1417" y="90"/>
                  </a:cubicBezTo>
                  <a:cubicBezTo>
                    <a:pt x="1417" y="91"/>
                    <a:pt x="1417" y="91"/>
                    <a:pt x="1417" y="91"/>
                  </a:cubicBezTo>
                  <a:cubicBezTo>
                    <a:pt x="1417" y="91"/>
                    <a:pt x="1417" y="91"/>
                    <a:pt x="1417" y="91"/>
                  </a:cubicBezTo>
                  <a:cubicBezTo>
                    <a:pt x="1417" y="91"/>
                    <a:pt x="1417" y="91"/>
                    <a:pt x="1417" y="91"/>
                  </a:cubicBezTo>
                  <a:cubicBezTo>
                    <a:pt x="1417" y="91"/>
                    <a:pt x="1417" y="91"/>
                    <a:pt x="1417" y="91"/>
                  </a:cubicBezTo>
                  <a:cubicBezTo>
                    <a:pt x="1418" y="92"/>
                    <a:pt x="1418" y="92"/>
                    <a:pt x="1418" y="92"/>
                  </a:cubicBezTo>
                  <a:cubicBezTo>
                    <a:pt x="1418" y="92"/>
                    <a:pt x="1418" y="92"/>
                    <a:pt x="1418" y="92"/>
                  </a:cubicBezTo>
                  <a:cubicBezTo>
                    <a:pt x="1418" y="92"/>
                    <a:pt x="1418" y="92"/>
                    <a:pt x="1418" y="92"/>
                  </a:cubicBezTo>
                  <a:cubicBezTo>
                    <a:pt x="1418" y="92"/>
                    <a:pt x="1418" y="92"/>
                    <a:pt x="1418" y="92"/>
                  </a:cubicBezTo>
                  <a:cubicBezTo>
                    <a:pt x="1418" y="93"/>
                    <a:pt x="1419" y="93"/>
                    <a:pt x="1419" y="93"/>
                  </a:cubicBezTo>
                  <a:cubicBezTo>
                    <a:pt x="1419" y="93"/>
                    <a:pt x="1419" y="93"/>
                    <a:pt x="1419" y="93"/>
                  </a:cubicBezTo>
                  <a:cubicBezTo>
                    <a:pt x="1419" y="94"/>
                    <a:pt x="1419" y="94"/>
                    <a:pt x="1419" y="94"/>
                  </a:cubicBezTo>
                  <a:cubicBezTo>
                    <a:pt x="1419" y="94"/>
                    <a:pt x="1419" y="94"/>
                    <a:pt x="1419" y="94"/>
                  </a:cubicBezTo>
                  <a:cubicBezTo>
                    <a:pt x="1419" y="94"/>
                    <a:pt x="1419" y="94"/>
                    <a:pt x="1419" y="94"/>
                  </a:cubicBezTo>
                  <a:cubicBezTo>
                    <a:pt x="1419" y="94"/>
                    <a:pt x="1419" y="94"/>
                    <a:pt x="1419" y="94"/>
                  </a:cubicBezTo>
                  <a:cubicBezTo>
                    <a:pt x="1420" y="94"/>
                    <a:pt x="1420" y="95"/>
                    <a:pt x="1420" y="95"/>
                  </a:cubicBezTo>
                  <a:cubicBezTo>
                    <a:pt x="1420" y="95"/>
                    <a:pt x="1420" y="95"/>
                    <a:pt x="1420" y="95"/>
                  </a:cubicBezTo>
                  <a:cubicBezTo>
                    <a:pt x="1420" y="95"/>
                    <a:pt x="1420" y="95"/>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6"/>
                    <a:pt x="1421" y="96"/>
                  </a:cubicBezTo>
                  <a:cubicBezTo>
                    <a:pt x="1421" y="96"/>
                    <a:pt x="1421" y="97"/>
                    <a:pt x="1422" y="97"/>
                  </a:cubicBezTo>
                  <a:cubicBezTo>
                    <a:pt x="1422" y="97"/>
                    <a:pt x="1422" y="97"/>
                    <a:pt x="1422" y="97"/>
                  </a:cubicBezTo>
                  <a:cubicBezTo>
                    <a:pt x="1422" y="97"/>
                    <a:pt x="1422" y="97"/>
                    <a:pt x="1422" y="97"/>
                  </a:cubicBezTo>
                  <a:cubicBezTo>
                    <a:pt x="1422" y="97"/>
                    <a:pt x="1422" y="97"/>
                    <a:pt x="1422" y="97"/>
                  </a:cubicBezTo>
                  <a:cubicBezTo>
                    <a:pt x="1422" y="97"/>
                    <a:pt x="1423" y="97"/>
                    <a:pt x="1423" y="98"/>
                  </a:cubicBezTo>
                  <a:cubicBezTo>
                    <a:pt x="1423" y="98"/>
                    <a:pt x="1423" y="98"/>
                    <a:pt x="1423" y="98"/>
                  </a:cubicBezTo>
                  <a:cubicBezTo>
                    <a:pt x="1423" y="98"/>
                    <a:pt x="1423" y="98"/>
                    <a:pt x="1423" y="98"/>
                  </a:cubicBezTo>
                  <a:cubicBezTo>
                    <a:pt x="1423" y="98"/>
                    <a:pt x="1423" y="98"/>
                    <a:pt x="1423" y="98"/>
                  </a:cubicBezTo>
                  <a:cubicBezTo>
                    <a:pt x="1423" y="98"/>
                    <a:pt x="1424" y="98"/>
                    <a:pt x="1424" y="98"/>
                  </a:cubicBezTo>
                  <a:cubicBezTo>
                    <a:pt x="1424" y="98"/>
                    <a:pt x="1424" y="98"/>
                    <a:pt x="1424" y="98"/>
                  </a:cubicBezTo>
                  <a:cubicBezTo>
                    <a:pt x="1424" y="99"/>
                    <a:pt x="1424" y="99"/>
                    <a:pt x="1425" y="99"/>
                  </a:cubicBezTo>
                  <a:cubicBezTo>
                    <a:pt x="1425" y="99"/>
                    <a:pt x="1425" y="99"/>
                    <a:pt x="1425" y="99"/>
                  </a:cubicBezTo>
                  <a:cubicBezTo>
                    <a:pt x="1425" y="99"/>
                    <a:pt x="1425" y="99"/>
                    <a:pt x="1425" y="99"/>
                  </a:cubicBezTo>
                  <a:cubicBezTo>
                    <a:pt x="1425" y="99"/>
                    <a:pt x="1425" y="99"/>
                    <a:pt x="1425" y="99"/>
                  </a:cubicBezTo>
                  <a:cubicBezTo>
                    <a:pt x="1425" y="100"/>
                    <a:pt x="1426" y="100"/>
                    <a:pt x="1426" y="100"/>
                  </a:cubicBezTo>
                  <a:cubicBezTo>
                    <a:pt x="1426" y="100"/>
                    <a:pt x="1426" y="100"/>
                    <a:pt x="1426" y="100"/>
                  </a:cubicBezTo>
                  <a:cubicBezTo>
                    <a:pt x="1426" y="100"/>
                    <a:pt x="1426" y="100"/>
                    <a:pt x="1426" y="100"/>
                  </a:cubicBezTo>
                  <a:cubicBezTo>
                    <a:pt x="1426" y="100"/>
                    <a:pt x="1426" y="100"/>
                    <a:pt x="1426" y="100"/>
                  </a:cubicBezTo>
                  <a:cubicBezTo>
                    <a:pt x="1427" y="100"/>
                    <a:pt x="1427" y="100"/>
                    <a:pt x="1427" y="100"/>
                  </a:cubicBezTo>
                  <a:cubicBezTo>
                    <a:pt x="1427" y="100"/>
                    <a:pt x="1427" y="100"/>
                    <a:pt x="1427" y="100"/>
                  </a:cubicBezTo>
                  <a:cubicBezTo>
                    <a:pt x="1427" y="101"/>
                    <a:pt x="1428" y="101"/>
                    <a:pt x="1428" y="101"/>
                  </a:cubicBezTo>
                  <a:cubicBezTo>
                    <a:pt x="1428" y="101"/>
                    <a:pt x="1428" y="101"/>
                    <a:pt x="1428" y="101"/>
                  </a:cubicBezTo>
                  <a:cubicBezTo>
                    <a:pt x="1428" y="101"/>
                    <a:pt x="1428" y="101"/>
                    <a:pt x="1429" y="101"/>
                  </a:cubicBezTo>
                  <a:cubicBezTo>
                    <a:pt x="1429" y="101"/>
                    <a:pt x="1429" y="101"/>
                    <a:pt x="1429" y="101"/>
                  </a:cubicBezTo>
                  <a:cubicBezTo>
                    <a:pt x="1429" y="101"/>
                    <a:pt x="1429" y="101"/>
                    <a:pt x="1429" y="101"/>
                  </a:cubicBezTo>
                  <a:cubicBezTo>
                    <a:pt x="1429" y="101"/>
                    <a:pt x="1429" y="101"/>
                    <a:pt x="1429" y="101"/>
                  </a:cubicBezTo>
                  <a:cubicBezTo>
                    <a:pt x="1430" y="102"/>
                    <a:pt x="1430" y="102"/>
                    <a:pt x="1430" y="102"/>
                  </a:cubicBezTo>
                  <a:cubicBezTo>
                    <a:pt x="1430" y="102"/>
                    <a:pt x="1430" y="102"/>
                    <a:pt x="1430" y="102"/>
                  </a:cubicBezTo>
                  <a:cubicBezTo>
                    <a:pt x="1431" y="102"/>
                    <a:pt x="1431" y="102"/>
                    <a:pt x="1431" y="102"/>
                  </a:cubicBezTo>
                  <a:cubicBezTo>
                    <a:pt x="1431" y="102"/>
                    <a:pt x="1431" y="102"/>
                    <a:pt x="1431" y="102"/>
                  </a:cubicBezTo>
                  <a:cubicBezTo>
                    <a:pt x="1432" y="103"/>
                    <a:pt x="1432" y="102"/>
                    <a:pt x="1433" y="103"/>
                  </a:cubicBezTo>
                  <a:cubicBezTo>
                    <a:pt x="1433" y="103"/>
                    <a:pt x="1433" y="103"/>
                    <a:pt x="1433" y="103"/>
                  </a:cubicBezTo>
                  <a:cubicBezTo>
                    <a:pt x="1433" y="103"/>
                    <a:pt x="1433" y="103"/>
                    <a:pt x="1433" y="103"/>
                  </a:cubicBezTo>
                  <a:cubicBezTo>
                    <a:pt x="1434" y="103"/>
                    <a:pt x="1434" y="103"/>
                    <a:pt x="1435" y="103"/>
                  </a:cubicBezTo>
                  <a:cubicBezTo>
                    <a:pt x="1435" y="103"/>
                    <a:pt x="1435" y="103"/>
                    <a:pt x="1435" y="103"/>
                  </a:cubicBezTo>
                  <a:cubicBezTo>
                    <a:pt x="1435" y="103"/>
                    <a:pt x="1435" y="103"/>
                    <a:pt x="1435" y="103"/>
                  </a:cubicBezTo>
                  <a:cubicBezTo>
                    <a:pt x="1436" y="103"/>
                    <a:pt x="1437" y="103"/>
                    <a:pt x="1438" y="103"/>
                  </a:cubicBezTo>
                  <a:cubicBezTo>
                    <a:pt x="1439" y="103"/>
                    <a:pt x="1440" y="103"/>
                    <a:pt x="1441" y="103"/>
                  </a:cubicBezTo>
                  <a:cubicBezTo>
                    <a:pt x="1442" y="103"/>
                    <a:pt x="1443" y="103"/>
                    <a:pt x="1444" y="103"/>
                  </a:cubicBezTo>
                  <a:cubicBezTo>
                    <a:pt x="1444" y="103"/>
                    <a:pt x="1444" y="103"/>
                    <a:pt x="1444" y="103"/>
                  </a:cubicBezTo>
                  <a:cubicBezTo>
                    <a:pt x="1444" y="103"/>
                    <a:pt x="1444" y="103"/>
                    <a:pt x="1444" y="103"/>
                  </a:cubicBezTo>
                  <a:cubicBezTo>
                    <a:pt x="1445" y="103"/>
                    <a:pt x="1445" y="103"/>
                    <a:pt x="1446" y="103"/>
                  </a:cubicBezTo>
                  <a:cubicBezTo>
                    <a:pt x="1446" y="103"/>
                    <a:pt x="1446" y="103"/>
                    <a:pt x="1446" y="103"/>
                  </a:cubicBezTo>
                  <a:cubicBezTo>
                    <a:pt x="1446" y="103"/>
                    <a:pt x="1446" y="103"/>
                    <a:pt x="1446" y="103"/>
                  </a:cubicBezTo>
                  <a:cubicBezTo>
                    <a:pt x="1446" y="102"/>
                    <a:pt x="1447" y="103"/>
                    <a:pt x="1447" y="102"/>
                  </a:cubicBezTo>
                  <a:cubicBezTo>
                    <a:pt x="1447" y="102"/>
                    <a:pt x="1447" y="102"/>
                    <a:pt x="1447" y="102"/>
                  </a:cubicBezTo>
                  <a:cubicBezTo>
                    <a:pt x="1448" y="102"/>
                    <a:pt x="1448" y="102"/>
                    <a:pt x="1448" y="102"/>
                  </a:cubicBezTo>
                  <a:cubicBezTo>
                    <a:pt x="1448" y="102"/>
                    <a:pt x="1448" y="102"/>
                    <a:pt x="1448" y="102"/>
                  </a:cubicBezTo>
                  <a:cubicBezTo>
                    <a:pt x="1449" y="102"/>
                    <a:pt x="1449" y="102"/>
                    <a:pt x="1449" y="102"/>
                  </a:cubicBezTo>
                  <a:cubicBezTo>
                    <a:pt x="1449" y="102"/>
                    <a:pt x="1449" y="102"/>
                    <a:pt x="1449" y="101"/>
                  </a:cubicBezTo>
                  <a:cubicBezTo>
                    <a:pt x="1449" y="102"/>
                    <a:pt x="1449" y="102"/>
                    <a:pt x="1449" y="102"/>
                  </a:cubicBezTo>
                  <a:cubicBezTo>
                    <a:pt x="1450" y="101"/>
                    <a:pt x="1450" y="101"/>
                    <a:pt x="1450" y="101"/>
                  </a:cubicBezTo>
                  <a:cubicBezTo>
                    <a:pt x="1450" y="101"/>
                    <a:pt x="1450" y="101"/>
                    <a:pt x="1450" y="101"/>
                  </a:cubicBezTo>
                  <a:cubicBezTo>
                    <a:pt x="1450" y="101"/>
                    <a:pt x="1450" y="101"/>
                    <a:pt x="1450" y="101"/>
                  </a:cubicBezTo>
                  <a:cubicBezTo>
                    <a:pt x="1451" y="101"/>
                    <a:pt x="1451" y="101"/>
                    <a:pt x="1451" y="101"/>
                  </a:cubicBezTo>
                  <a:cubicBezTo>
                    <a:pt x="1451" y="101"/>
                    <a:pt x="1451" y="101"/>
                    <a:pt x="1451" y="101"/>
                  </a:cubicBezTo>
                  <a:cubicBezTo>
                    <a:pt x="1451" y="101"/>
                    <a:pt x="1452" y="101"/>
                    <a:pt x="1452" y="100"/>
                  </a:cubicBezTo>
                  <a:cubicBezTo>
                    <a:pt x="1452" y="100"/>
                    <a:pt x="1452" y="100"/>
                    <a:pt x="1452" y="100"/>
                  </a:cubicBezTo>
                  <a:cubicBezTo>
                    <a:pt x="1452" y="100"/>
                    <a:pt x="1452" y="100"/>
                    <a:pt x="1453" y="100"/>
                  </a:cubicBezTo>
                  <a:cubicBezTo>
                    <a:pt x="1453" y="100"/>
                    <a:pt x="1453" y="100"/>
                    <a:pt x="1453" y="100"/>
                  </a:cubicBezTo>
                  <a:cubicBezTo>
                    <a:pt x="1453" y="100"/>
                    <a:pt x="1453" y="100"/>
                    <a:pt x="1453" y="100"/>
                  </a:cubicBezTo>
                  <a:cubicBezTo>
                    <a:pt x="1453" y="100"/>
                    <a:pt x="1453" y="100"/>
                    <a:pt x="1453" y="100"/>
                  </a:cubicBezTo>
                  <a:cubicBezTo>
                    <a:pt x="1453" y="100"/>
                    <a:pt x="1453" y="100"/>
                    <a:pt x="1454" y="99"/>
                  </a:cubicBezTo>
                  <a:cubicBezTo>
                    <a:pt x="1454" y="99"/>
                    <a:pt x="1454" y="99"/>
                    <a:pt x="1454" y="99"/>
                  </a:cubicBezTo>
                  <a:cubicBezTo>
                    <a:pt x="1454" y="99"/>
                    <a:pt x="1454" y="99"/>
                    <a:pt x="1454" y="99"/>
                  </a:cubicBezTo>
                  <a:cubicBezTo>
                    <a:pt x="1454" y="99"/>
                    <a:pt x="1454" y="99"/>
                    <a:pt x="1454" y="99"/>
                  </a:cubicBezTo>
                  <a:cubicBezTo>
                    <a:pt x="1454" y="99"/>
                    <a:pt x="1455" y="99"/>
                    <a:pt x="1455" y="99"/>
                  </a:cubicBezTo>
                  <a:cubicBezTo>
                    <a:pt x="1455" y="99"/>
                    <a:pt x="1455" y="99"/>
                    <a:pt x="1455" y="99"/>
                  </a:cubicBezTo>
                  <a:cubicBezTo>
                    <a:pt x="1455" y="98"/>
                    <a:pt x="1455" y="99"/>
                    <a:pt x="1455" y="98"/>
                  </a:cubicBezTo>
                  <a:cubicBezTo>
                    <a:pt x="1455" y="98"/>
                    <a:pt x="1455" y="98"/>
                    <a:pt x="1455" y="98"/>
                  </a:cubicBezTo>
                  <a:cubicBezTo>
                    <a:pt x="1455" y="98"/>
                    <a:pt x="1456" y="98"/>
                    <a:pt x="1456" y="98"/>
                  </a:cubicBezTo>
                  <a:cubicBezTo>
                    <a:pt x="1456" y="98"/>
                    <a:pt x="1456" y="98"/>
                    <a:pt x="1456" y="98"/>
                  </a:cubicBezTo>
                  <a:cubicBezTo>
                    <a:pt x="1456" y="98"/>
                    <a:pt x="1456" y="98"/>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7" y="97"/>
                    <a:pt x="1457" y="97"/>
                    <a:pt x="1457" y="97"/>
                  </a:cubicBezTo>
                  <a:cubicBezTo>
                    <a:pt x="1458" y="97"/>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8" y="96"/>
                    <a:pt x="1458" y="96"/>
                    <a:pt x="1458" y="96"/>
                  </a:cubicBezTo>
                  <a:cubicBezTo>
                    <a:pt x="1459" y="95"/>
                    <a:pt x="1459" y="95"/>
                    <a:pt x="1459" y="95"/>
                  </a:cubicBezTo>
                  <a:cubicBezTo>
                    <a:pt x="1459" y="95"/>
                    <a:pt x="1459" y="95"/>
                    <a:pt x="1459" y="95"/>
                  </a:cubicBezTo>
                  <a:cubicBezTo>
                    <a:pt x="1459" y="95"/>
                    <a:pt x="1459" y="95"/>
                    <a:pt x="1459" y="95"/>
                  </a:cubicBezTo>
                  <a:cubicBezTo>
                    <a:pt x="1459" y="95"/>
                    <a:pt x="1459" y="95"/>
                    <a:pt x="1459" y="95"/>
                  </a:cubicBezTo>
                  <a:cubicBezTo>
                    <a:pt x="1459" y="95"/>
                    <a:pt x="1459" y="95"/>
                    <a:pt x="1459" y="94"/>
                  </a:cubicBezTo>
                  <a:cubicBezTo>
                    <a:pt x="1459" y="95"/>
                    <a:pt x="1459" y="95"/>
                    <a:pt x="1459" y="95"/>
                  </a:cubicBezTo>
                  <a:cubicBezTo>
                    <a:pt x="1460" y="94"/>
                    <a:pt x="1460" y="94"/>
                    <a:pt x="1460" y="94"/>
                  </a:cubicBezTo>
                  <a:cubicBezTo>
                    <a:pt x="1460" y="94"/>
                    <a:pt x="1460" y="94"/>
                    <a:pt x="1460" y="94"/>
                  </a:cubicBezTo>
                  <a:cubicBezTo>
                    <a:pt x="1460" y="94"/>
                    <a:pt x="1460" y="94"/>
                    <a:pt x="1460" y="94"/>
                  </a:cubicBezTo>
                  <a:cubicBezTo>
                    <a:pt x="1460" y="94"/>
                    <a:pt x="1460" y="94"/>
                    <a:pt x="1460" y="94"/>
                  </a:cubicBezTo>
                  <a:cubicBezTo>
                    <a:pt x="1460" y="94"/>
                    <a:pt x="1460" y="93"/>
                    <a:pt x="1461" y="93"/>
                  </a:cubicBezTo>
                  <a:cubicBezTo>
                    <a:pt x="1461" y="93"/>
                    <a:pt x="1461" y="93"/>
                    <a:pt x="1461" y="93"/>
                  </a:cubicBezTo>
                  <a:cubicBezTo>
                    <a:pt x="1461" y="93"/>
                    <a:pt x="1461" y="93"/>
                    <a:pt x="1461" y="93"/>
                  </a:cubicBezTo>
                  <a:cubicBezTo>
                    <a:pt x="1461" y="93"/>
                    <a:pt x="1461" y="93"/>
                    <a:pt x="1461" y="93"/>
                  </a:cubicBezTo>
                  <a:cubicBezTo>
                    <a:pt x="1461" y="93"/>
                    <a:pt x="1461" y="93"/>
                    <a:pt x="1461" y="92"/>
                  </a:cubicBezTo>
                  <a:cubicBezTo>
                    <a:pt x="1461" y="92"/>
                    <a:pt x="1461" y="92"/>
                    <a:pt x="1461" y="92"/>
                  </a:cubicBezTo>
                  <a:cubicBezTo>
                    <a:pt x="1461" y="92"/>
                    <a:pt x="1461" y="92"/>
                    <a:pt x="1462" y="92"/>
                  </a:cubicBezTo>
                  <a:cubicBezTo>
                    <a:pt x="1462" y="92"/>
                    <a:pt x="1462" y="92"/>
                    <a:pt x="1462" y="92"/>
                  </a:cubicBezTo>
                  <a:cubicBezTo>
                    <a:pt x="1462" y="92"/>
                    <a:pt x="1462" y="92"/>
                    <a:pt x="1462" y="91"/>
                  </a:cubicBezTo>
                  <a:cubicBezTo>
                    <a:pt x="1462" y="91"/>
                    <a:pt x="1462" y="91"/>
                    <a:pt x="1462" y="91"/>
                  </a:cubicBezTo>
                  <a:cubicBezTo>
                    <a:pt x="1462" y="91"/>
                    <a:pt x="1462" y="91"/>
                    <a:pt x="1463" y="90"/>
                  </a:cubicBezTo>
                  <a:cubicBezTo>
                    <a:pt x="1463" y="90"/>
                    <a:pt x="1463" y="90"/>
                    <a:pt x="1463" y="90"/>
                  </a:cubicBezTo>
                  <a:cubicBezTo>
                    <a:pt x="1463" y="90"/>
                    <a:pt x="1463" y="90"/>
                    <a:pt x="1463" y="90"/>
                  </a:cubicBezTo>
                  <a:cubicBezTo>
                    <a:pt x="1463" y="90"/>
                    <a:pt x="1463" y="90"/>
                    <a:pt x="1463" y="90"/>
                  </a:cubicBezTo>
                  <a:cubicBezTo>
                    <a:pt x="1463" y="90"/>
                    <a:pt x="1463" y="89"/>
                    <a:pt x="1463" y="89"/>
                  </a:cubicBezTo>
                  <a:cubicBezTo>
                    <a:pt x="1463" y="89"/>
                    <a:pt x="1463" y="89"/>
                    <a:pt x="1463" y="89"/>
                  </a:cubicBezTo>
                  <a:cubicBezTo>
                    <a:pt x="1464" y="89"/>
                    <a:pt x="1463" y="89"/>
                    <a:pt x="1464" y="89"/>
                  </a:cubicBezTo>
                  <a:cubicBezTo>
                    <a:pt x="1464" y="89"/>
                    <a:pt x="1464" y="89"/>
                    <a:pt x="1464" y="89"/>
                  </a:cubicBezTo>
                  <a:cubicBezTo>
                    <a:pt x="1464" y="88"/>
                    <a:pt x="1464" y="88"/>
                    <a:pt x="1464" y="88"/>
                  </a:cubicBezTo>
                  <a:cubicBezTo>
                    <a:pt x="1464" y="88"/>
                    <a:pt x="1464" y="88"/>
                    <a:pt x="1464" y="88"/>
                  </a:cubicBezTo>
                  <a:cubicBezTo>
                    <a:pt x="1464" y="88"/>
                    <a:pt x="1464" y="87"/>
                    <a:pt x="1464" y="87"/>
                  </a:cubicBezTo>
                  <a:cubicBezTo>
                    <a:pt x="1464" y="87"/>
                    <a:pt x="1464" y="87"/>
                    <a:pt x="1464" y="87"/>
                  </a:cubicBezTo>
                  <a:cubicBezTo>
                    <a:pt x="1465" y="87"/>
                    <a:pt x="1465" y="87"/>
                    <a:pt x="1465" y="87"/>
                  </a:cubicBezTo>
                  <a:cubicBezTo>
                    <a:pt x="1465" y="87"/>
                    <a:pt x="1465" y="87"/>
                    <a:pt x="1465" y="87"/>
                  </a:cubicBezTo>
                  <a:cubicBezTo>
                    <a:pt x="1465" y="86"/>
                    <a:pt x="1465" y="86"/>
                    <a:pt x="1465" y="86"/>
                  </a:cubicBezTo>
                  <a:cubicBezTo>
                    <a:pt x="1465" y="86"/>
                    <a:pt x="1465" y="86"/>
                    <a:pt x="1465" y="86"/>
                  </a:cubicBezTo>
                  <a:cubicBezTo>
                    <a:pt x="1465" y="86"/>
                    <a:pt x="1465" y="85"/>
                    <a:pt x="1465" y="85"/>
                  </a:cubicBezTo>
                  <a:cubicBezTo>
                    <a:pt x="1465" y="85"/>
                    <a:pt x="1465" y="85"/>
                    <a:pt x="1465" y="85"/>
                  </a:cubicBezTo>
                  <a:cubicBezTo>
                    <a:pt x="1466" y="85"/>
                    <a:pt x="1466" y="85"/>
                    <a:pt x="1466" y="84"/>
                  </a:cubicBezTo>
                  <a:cubicBezTo>
                    <a:pt x="1466" y="84"/>
                    <a:pt x="1466" y="84"/>
                    <a:pt x="1466" y="84"/>
                  </a:cubicBezTo>
                  <a:cubicBezTo>
                    <a:pt x="1466" y="84"/>
                    <a:pt x="1466" y="84"/>
                    <a:pt x="1466" y="84"/>
                  </a:cubicBezTo>
                  <a:cubicBezTo>
                    <a:pt x="1466" y="83"/>
                    <a:pt x="1466" y="83"/>
                    <a:pt x="1466" y="83"/>
                  </a:cubicBezTo>
                  <a:cubicBezTo>
                    <a:pt x="1466" y="83"/>
                    <a:pt x="1466" y="83"/>
                    <a:pt x="1466" y="83"/>
                  </a:cubicBezTo>
                  <a:cubicBezTo>
                    <a:pt x="1466" y="83"/>
                    <a:pt x="1466" y="83"/>
                    <a:pt x="1466" y="83"/>
                  </a:cubicBezTo>
                  <a:cubicBezTo>
                    <a:pt x="1466" y="83"/>
                    <a:pt x="1466" y="83"/>
                    <a:pt x="1466" y="83"/>
                  </a:cubicBezTo>
                  <a:cubicBezTo>
                    <a:pt x="1467" y="82"/>
                    <a:pt x="1467" y="82"/>
                    <a:pt x="1467" y="82"/>
                  </a:cubicBezTo>
                  <a:cubicBezTo>
                    <a:pt x="1467" y="82"/>
                    <a:pt x="1467" y="82"/>
                    <a:pt x="1467" y="82"/>
                  </a:cubicBezTo>
                  <a:cubicBezTo>
                    <a:pt x="1467" y="81"/>
                    <a:pt x="1467" y="81"/>
                    <a:pt x="1467" y="81"/>
                  </a:cubicBezTo>
                  <a:cubicBezTo>
                    <a:pt x="1467" y="81"/>
                    <a:pt x="1467" y="81"/>
                    <a:pt x="1467" y="81"/>
                  </a:cubicBezTo>
                  <a:cubicBezTo>
                    <a:pt x="1467" y="81"/>
                    <a:pt x="1467" y="81"/>
                    <a:pt x="1467" y="81"/>
                  </a:cubicBezTo>
                  <a:cubicBezTo>
                    <a:pt x="1467" y="80"/>
                    <a:pt x="1467" y="80"/>
                    <a:pt x="1467" y="80"/>
                  </a:cubicBezTo>
                  <a:cubicBezTo>
                    <a:pt x="1467" y="80"/>
                    <a:pt x="1467" y="80"/>
                    <a:pt x="1467" y="80"/>
                  </a:cubicBezTo>
                  <a:cubicBezTo>
                    <a:pt x="1468" y="80"/>
                    <a:pt x="1468" y="80"/>
                    <a:pt x="1468" y="80"/>
                  </a:cubicBezTo>
                  <a:cubicBezTo>
                    <a:pt x="1468" y="79"/>
                    <a:pt x="1468" y="79"/>
                    <a:pt x="1468" y="79"/>
                  </a:cubicBezTo>
                  <a:cubicBezTo>
                    <a:pt x="1468" y="79"/>
                    <a:pt x="1468" y="79"/>
                    <a:pt x="1468" y="79"/>
                  </a:cubicBezTo>
                  <a:cubicBezTo>
                    <a:pt x="1468" y="78"/>
                    <a:pt x="1468" y="78"/>
                    <a:pt x="1468" y="77"/>
                  </a:cubicBezTo>
                  <a:cubicBezTo>
                    <a:pt x="1468" y="77"/>
                    <a:pt x="1468" y="77"/>
                    <a:pt x="1468" y="77"/>
                  </a:cubicBezTo>
                  <a:cubicBezTo>
                    <a:pt x="1468" y="77"/>
                    <a:pt x="1468" y="77"/>
                    <a:pt x="1468" y="77"/>
                  </a:cubicBezTo>
                  <a:cubicBezTo>
                    <a:pt x="1469" y="77"/>
                    <a:pt x="1468" y="76"/>
                    <a:pt x="1469" y="76"/>
                  </a:cubicBezTo>
                  <a:cubicBezTo>
                    <a:pt x="1468" y="76"/>
                    <a:pt x="1468" y="76"/>
                    <a:pt x="1469" y="76"/>
                  </a:cubicBezTo>
                  <a:cubicBezTo>
                    <a:pt x="1469" y="75"/>
                    <a:pt x="1469" y="75"/>
                    <a:pt x="1469" y="75"/>
                  </a:cubicBezTo>
                  <a:cubicBezTo>
                    <a:pt x="1469" y="74"/>
                    <a:pt x="1469" y="74"/>
                    <a:pt x="1469" y="74"/>
                  </a:cubicBezTo>
                  <a:cubicBezTo>
                    <a:pt x="1469" y="74"/>
                    <a:pt x="1469" y="74"/>
                    <a:pt x="1469" y="74"/>
                  </a:cubicBezTo>
                  <a:cubicBezTo>
                    <a:pt x="1469" y="74"/>
                    <a:pt x="1469" y="73"/>
                    <a:pt x="1469" y="73"/>
                  </a:cubicBezTo>
                  <a:cubicBezTo>
                    <a:pt x="1469" y="73"/>
                    <a:pt x="1469" y="73"/>
                    <a:pt x="1469" y="73"/>
                  </a:cubicBezTo>
                  <a:cubicBezTo>
                    <a:pt x="1470" y="72"/>
                    <a:pt x="1469" y="71"/>
                    <a:pt x="1470" y="71"/>
                  </a:cubicBezTo>
                  <a:cubicBezTo>
                    <a:pt x="1470" y="71"/>
                    <a:pt x="1470" y="71"/>
                    <a:pt x="1470" y="71"/>
                  </a:cubicBezTo>
                  <a:cubicBezTo>
                    <a:pt x="1470" y="70"/>
                    <a:pt x="1470" y="69"/>
                    <a:pt x="1470" y="69"/>
                  </a:cubicBezTo>
                  <a:cubicBezTo>
                    <a:pt x="1470" y="68"/>
                    <a:pt x="1470" y="68"/>
                    <a:pt x="1470" y="68"/>
                  </a:cubicBezTo>
                  <a:cubicBezTo>
                    <a:pt x="1470" y="67"/>
                    <a:pt x="1470" y="67"/>
                    <a:pt x="1470" y="66"/>
                  </a:cubicBezTo>
                  <a:cubicBezTo>
                    <a:pt x="1470" y="66"/>
                    <a:pt x="1470" y="66"/>
                    <a:pt x="1470" y="65"/>
                  </a:cubicBezTo>
                  <a:cubicBezTo>
                    <a:pt x="1471" y="64"/>
                    <a:pt x="1470" y="63"/>
                    <a:pt x="1471" y="62"/>
                  </a:cubicBezTo>
                  <a:cubicBezTo>
                    <a:pt x="1470" y="61"/>
                    <a:pt x="1471" y="61"/>
                    <a:pt x="1471" y="60"/>
                  </a:cubicBezTo>
                  <a:cubicBezTo>
                    <a:pt x="1471" y="56"/>
                    <a:pt x="1471" y="51"/>
                    <a:pt x="1471" y="47"/>
                  </a:cubicBezTo>
                  <a:cubicBezTo>
                    <a:pt x="1471" y="46"/>
                    <a:pt x="1471" y="46"/>
                    <a:pt x="1471" y="46"/>
                  </a:cubicBezTo>
                  <a:cubicBezTo>
                    <a:pt x="1470" y="44"/>
                    <a:pt x="1471" y="43"/>
                    <a:pt x="1470" y="42"/>
                  </a:cubicBezTo>
                  <a:cubicBezTo>
                    <a:pt x="1470" y="42"/>
                    <a:pt x="1470" y="41"/>
                    <a:pt x="1470" y="41"/>
                  </a:cubicBezTo>
                  <a:cubicBezTo>
                    <a:pt x="1470" y="40"/>
                    <a:pt x="1470" y="40"/>
                    <a:pt x="1470" y="39"/>
                  </a:cubicBezTo>
                  <a:cubicBezTo>
                    <a:pt x="1470" y="39"/>
                    <a:pt x="1470" y="38"/>
                    <a:pt x="1470" y="38"/>
                  </a:cubicBezTo>
                  <a:cubicBezTo>
                    <a:pt x="1470" y="38"/>
                    <a:pt x="1470" y="37"/>
                    <a:pt x="1470" y="36"/>
                  </a:cubicBezTo>
                  <a:cubicBezTo>
                    <a:pt x="1470" y="36"/>
                    <a:pt x="1469" y="36"/>
                    <a:pt x="1470" y="36"/>
                  </a:cubicBezTo>
                  <a:cubicBezTo>
                    <a:pt x="1469" y="35"/>
                    <a:pt x="1470" y="35"/>
                    <a:pt x="1469" y="34"/>
                  </a:cubicBezTo>
                  <a:cubicBezTo>
                    <a:pt x="1469" y="34"/>
                    <a:pt x="1469" y="34"/>
                    <a:pt x="1469" y="34"/>
                  </a:cubicBezTo>
                  <a:cubicBezTo>
                    <a:pt x="1469" y="34"/>
                    <a:pt x="1469" y="33"/>
                    <a:pt x="1469" y="33"/>
                  </a:cubicBezTo>
                  <a:cubicBezTo>
                    <a:pt x="1469" y="33"/>
                    <a:pt x="1469" y="32"/>
                    <a:pt x="1469" y="32"/>
                  </a:cubicBezTo>
                  <a:cubicBezTo>
                    <a:pt x="1469" y="32"/>
                    <a:pt x="1469" y="31"/>
                    <a:pt x="1469" y="31"/>
                  </a:cubicBezTo>
                  <a:cubicBezTo>
                    <a:pt x="1468" y="31"/>
                    <a:pt x="1468" y="31"/>
                    <a:pt x="1468" y="31"/>
                  </a:cubicBezTo>
                  <a:cubicBezTo>
                    <a:pt x="1469" y="31"/>
                    <a:pt x="1469" y="31"/>
                    <a:pt x="1469" y="31"/>
                  </a:cubicBezTo>
                  <a:cubicBezTo>
                    <a:pt x="1468" y="30"/>
                    <a:pt x="1469" y="30"/>
                    <a:pt x="1468" y="29"/>
                  </a:cubicBezTo>
                  <a:cubicBezTo>
                    <a:pt x="1468" y="29"/>
                    <a:pt x="1468" y="29"/>
                    <a:pt x="1468" y="29"/>
                  </a:cubicBezTo>
                  <a:cubicBezTo>
                    <a:pt x="1468" y="29"/>
                    <a:pt x="1468" y="29"/>
                    <a:pt x="1468" y="28"/>
                  </a:cubicBezTo>
                  <a:cubicBezTo>
                    <a:pt x="1468" y="28"/>
                    <a:pt x="1468" y="28"/>
                    <a:pt x="1468" y="28"/>
                  </a:cubicBezTo>
                  <a:cubicBezTo>
                    <a:pt x="1468" y="28"/>
                    <a:pt x="1468" y="27"/>
                    <a:pt x="1468" y="27"/>
                  </a:cubicBezTo>
                  <a:cubicBezTo>
                    <a:pt x="1468" y="27"/>
                    <a:pt x="1468" y="27"/>
                    <a:pt x="1468" y="27"/>
                  </a:cubicBezTo>
                  <a:cubicBezTo>
                    <a:pt x="1467" y="27"/>
                    <a:pt x="1467" y="26"/>
                    <a:pt x="1467" y="26"/>
                  </a:cubicBezTo>
                  <a:cubicBezTo>
                    <a:pt x="1467" y="26"/>
                    <a:pt x="1467" y="26"/>
                    <a:pt x="1467" y="26"/>
                  </a:cubicBezTo>
                  <a:cubicBezTo>
                    <a:pt x="1467" y="26"/>
                    <a:pt x="1467" y="25"/>
                    <a:pt x="1467" y="25"/>
                  </a:cubicBezTo>
                  <a:cubicBezTo>
                    <a:pt x="1467" y="25"/>
                    <a:pt x="1467" y="25"/>
                    <a:pt x="1467" y="25"/>
                  </a:cubicBezTo>
                  <a:cubicBezTo>
                    <a:pt x="1467" y="25"/>
                    <a:pt x="1467" y="24"/>
                    <a:pt x="1466" y="24"/>
                  </a:cubicBezTo>
                  <a:cubicBezTo>
                    <a:pt x="1466" y="24"/>
                    <a:pt x="1466" y="24"/>
                    <a:pt x="1466" y="24"/>
                  </a:cubicBezTo>
                  <a:cubicBezTo>
                    <a:pt x="1466" y="24"/>
                    <a:pt x="1466" y="23"/>
                    <a:pt x="1466" y="23"/>
                  </a:cubicBezTo>
                  <a:cubicBezTo>
                    <a:pt x="1466" y="23"/>
                    <a:pt x="1466" y="23"/>
                    <a:pt x="1466" y="23"/>
                  </a:cubicBezTo>
                  <a:cubicBezTo>
                    <a:pt x="1466" y="23"/>
                    <a:pt x="1466" y="22"/>
                    <a:pt x="1466" y="22"/>
                  </a:cubicBezTo>
                  <a:cubicBezTo>
                    <a:pt x="1466" y="22"/>
                    <a:pt x="1466" y="22"/>
                    <a:pt x="1466" y="22"/>
                  </a:cubicBezTo>
                  <a:cubicBezTo>
                    <a:pt x="1466" y="22"/>
                    <a:pt x="1466" y="22"/>
                    <a:pt x="1465" y="21"/>
                  </a:cubicBezTo>
                  <a:cubicBezTo>
                    <a:pt x="1465" y="21"/>
                    <a:pt x="1465" y="21"/>
                    <a:pt x="1465" y="21"/>
                  </a:cubicBezTo>
                  <a:cubicBezTo>
                    <a:pt x="1465" y="21"/>
                    <a:pt x="1465" y="21"/>
                    <a:pt x="1465" y="21"/>
                  </a:cubicBezTo>
                  <a:cubicBezTo>
                    <a:pt x="1465" y="21"/>
                    <a:pt x="1465" y="21"/>
                    <a:pt x="1465" y="21"/>
                  </a:cubicBezTo>
                  <a:cubicBezTo>
                    <a:pt x="1465" y="21"/>
                    <a:pt x="1465" y="20"/>
                    <a:pt x="1465" y="20"/>
                  </a:cubicBezTo>
                  <a:cubicBezTo>
                    <a:pt x="1465" y="20"/>
                    <a:pt x="1465" y="20"/>
                    <a:pt x="1465" y="20"/>
                  </a:cubicBezTo>
                  <a:cubicBezTo>
                    <a:pt x="1465" y="20"/>
                    <a:pt x="1465" y="20"/>
                    <a:pt x="1464" y="19"/>
                  </a:cubicBezTo>
                  <a:cubicBezTo>
                    <a:pt x="1464" y="19"/>
                    <a:pt x="1464" y="19"/>
                    <a:pt x="1464" y="19"/>
                  </a:cubicBezTo>
                  <a:cubicBezTo>
                    <a:pt x="1464" y="19"/>
                    <a:pt x="1464" y="19"/>
                    <a:pt x="1464" y="19"/>
                  </a:cubicBezTo>
                  <a:cubicBezTo>
                    <a:pt x="1464" y="19"/>
                    <a:pt x="1464" y="19"/>
                    <a:pt x="1464" y="19"/>
                  </a:cubicBezTo>
                  <a:cubicBezTo>
                    <a:pt x="1464" y="19"/>
                    <a:pt x="1464" y="18"/>
                    <a:pt x="1464" y="18"/>
                  </a:cubicBezTo>
                  <a:cubicBezTo>
                    <a:pt x="1464" y="18"/>
                    <a:pt x="1464" y="18"/>
                    <a:pt x="1464" y="18"/>
                  </a:cubicBezTo>
                  <a:cubicBezTo>
                    <a:pt x="1463" y="18"/>
                    <a:pt x="1464" y="18"/>
                    <a:pt x="1463" y="18"/>
                  </a:cubicBezTo>
                  <a:cubicBezTo>
                    <a:pt x="1463" y="18"/>
                    <a:pt x="1463" y="18"/>
                    <a:pt x="1463" y="18"/>
                  </a:cubicBezTo>
                  <a:cubicBezTo>
                    <a:pt x="1463" y="17"/>
                    <a:pt x="1463" y="17"/>
                    <a:pt x="1463" y="17"/>
                  </a:cubicBezTo>
                  <a:cubicBezTo>
                    <a:pt x="1463" y="17"/>
                    <a:pt x="1463" y="17"/>
                    <a:pt x="1463" y="17"/>
                  </a:cubicBezTo>
                  <a:cubicBezTo>
                    <a:pt x="1463" y="17"/>
                    <a:pt x="1463" y="17"/>
                    <a:pt x="1463" y="17"/>
                  </a:cubicBezTo>
                  <a:cubicBezTo>
                    <a:pt x="1463" y="17"/>
                    <a:pt x="1463" y="17"/>
                    <a:pt x="1463" y="17"/>
                  </a:cubicBezTo>
                  <a:cubicBezTo>
                    <a:pt x="1462" y="16"/>
                    <a:pt x="1463" y="16"/>
                    <a:pt x="1462" y="16"/>
                  </a:cubicBezTo>
                  <a:cubicBezTo>
                    <a:pt x="1462" y="16"/>
                    <a:pt x="1462" y="16"/>
                    <a:pt x="1462" y="16"/>
                  </a:cubicBezTo>
                  <a:cubicBezTo>
                    <a:pt x="1462" y="16"/>
                    <a:pt x="1462" y="16"/>
                    <a:pt x="1462" y="16"/>
                  </a:cubicBezTo>
                  <a:cubicBezTo>
                    <a:pt x="1462" y="16"/>
                    <a:pt x="1462" y="16"/>
                    <a:pt x="1462" y="16"/>
                  </a:cubicBezTo>
                  <a:cubicBezTo>
                    <a:pt x="1462" y="15"/>
                    <a:pt x="1462" y="15"/>
                    <a:pt x="1462" y="15"/>
                  </a:cubicBezTo>
                  <a:cubicBezTo>
                    <a:pt x="1462" y="15"/>
                    <a:pt x="1462" y="15"/>
                    <a:pt x="1462" y="15"/>
                  </a:cubicBezTo>
                  <a:cubicBezTo>
                    <a:pt x="1461" y="15"/>
                    <a:pt x="1461" y="14"/>
                    <a:pt x="1461" y="14"/>
                  </a:cubicBezTo>
                  <a:cubicBezTo>
                    <a:pt x="1461" y="14"/>
                    <a:pt x="1461" y="14"/>
                    <a:pt x="1461" y="14"/>
                  </a:cubicBezTo>
                  <a:cubicBezTo>
                    <a:pt x="1461" y="14"/>
                    <a:pt x="1461" y="14"/>
                    <a:pt x="1461" y="14"/>
                  </a:cubicBezTo>
                  <a:cubicBezTo>
                    <a:pt x="1461" y="14"/>
                    <a:pt x="1461" y="14"/>
                    <a:pt x="1461" y="14"/>
                  </a:cubicBezTo>
                  <a:cubicBezTo>
                    <a:pt x="1460" y="14"/>
                    <a:pt x="1460" y="14"/>
                    <a:pt x="1460" y="13"/>
                  </a:cubicBezTo>
                  <a:cubicBezTo>
                    <a:pt x="1460" y="13"/>
                    <a:pt x="1460" y="13"/>
                    <a:pt x="1460" y="13"/>
                  </a:cubicBezTo>
                  <a:cubicBezTo>
                    <a:pt x="1460" y="13"/>
                    <a:pt x="1460" y="13"/>
                    <a:pt x="1460" y="13"/>
                  </a:cubicBezTo>
                  <a:cubicBezTo>
                    <a:pt x="1460" y="13"/>
                    <a:pt x="1460" y="13"/>
                    <a:pt x="1460" y="13"/>
                  </a:cubicBezTo>
                  <a:cubicBezTo>
                    <a:pt x="1460" y="13"/>
                    <a:pt x="1460" y="13"/>
                    <a:pt x="1459" y="13"/>
                  </a:cubicBezTo>
                  <a:cubicBezTo>
                    <a:pt x="1460" y="13"/>
                    <a:pt x="1460" y="13"/>
                    <a:pt x="1460" y="13"/>
                  </a:cubicBezTo>
                  <a:cubicBezTo>
                    <a:pt x="1459" y="13"/>
                    <a:pt x="1459" y="13"/>
                    <a:pt x="1459" y="12"/>
                  </a:cubicBezTo>
                  <a:cubicBezTo>
                    <a:pt x="1459" y="12"/>
                    <a:pt x="1459" y="12"/>
                    <a:pt x="1459" y="12"/>
                  </a:cubicBezTo>
                  <a:cubicBezTo>
                    <a:pt x="1459" y="12"/>
                    <a:pt x="1459" y="12"/>
                    <a:pt x="1459" y="12"/>
                  </a:cubicBezTo>
                  <a:cubicBezTo>
                    <a:pt x="1459" y="12"/>
                    <a:pt x="1459" y="12"/>
                    <a:pt x="1459" y="12"/>
                  </a:cubicBezTo>
                  <a:cubicBezTo>
                    <a:pt x="1459" y="12"/>
                    <a:pt x="1459" y="12"/>
                    <a:pt x="1458" y="12"/>
                  </a:cubicBezTo>
                  <a:cubicBezTo>
                    <a:pt x="1458" y="12"/>
                    <a:pt x="1458" y="12"/>
                    <a:pt x="1458" y="12"/>
                  </a:cubicBezTo>
                  <a:cubicBezTo>
                    <a:pt x="1458" y="12"/>
                    <a:pt x="1458" y="11"/>
                    <a:pt x="1458" y="11"/>
                  </a:cubicBezTo>
                  <a:cubicBezTo>
                    <a:pt x="1458" y="11"/>
                    <a:pt x="1458" y="11"/>
                    <a:pt x="1458" y="11"/>
                  </a:cubicBezTo>
                  <a:cubicBezTo>
                    <a:pt x="1458" y="11"/>
                    <a:pt x="1457" y="11"/>
                    <a:pt x="1457" y="11"/>
                  </a:cubicBezTo>
                  <a:cubicBezTo>
                    <a:pt x="1457" y="11"/>
                    <a:pt x="1457" y="11"/>
                    <a:pt x="1457" y="11"/>
                  </a:cubicBezTo>
                  <a:cubicBezTo>
                    <a:pt x="1457" y="11"/>
                    <a:pt x="1457" y="10"/>
                    <a:pt x="1457" y="10"/>
                  </a:cubicBezTo>
                  <a:cubicBezTo>
                    <a:pt x="1457" y="10"/>
                    <a:pt x="1457" y="10"/>
                    <a:pt x="1457" y="10"/>
                  </a:cubicBezTo>
                  <a:cubicBezTo>
                    <a:pt x="1456" y="10"/>
                    <a:pt x="1456" y="10"/>
                    <a:pt x="1456" y="10"/>
                  </a:cubicBezTo>
                  <a:cubicBezTo>
                    <a:pt x="1456" y="10"/>
                    <a:pt x="1456" y="10"/>
                    <a:pt x="1456" y="10"/>
                  </a:cubicBezTo>
                  <a:cubicBezTo>
                    <a:pt x="1456" y="9"/>
                    <a:pt x="1455" y="9"/>
                    <a:pt x="1455" y="9"/>
                  </a:cubicBezTo>
                  <a:cubicBezTo>
                    <a:pt x="1455" y="9"/>
                    <a:pt x="1455" y="9"/>
                    <a:pt x="1455" y="9"/>
                  </a:cubicBezTo>
                  <a:cubicBezTo>
                    <a:pt x="1455" y="9"/>
                    <a:pt x="1455" y="9"/>
                    <a:pt x="1455" y="9"/>
                  </a:cubicBezTo>
                  <a:cubicBezTo>
                    <a:pt x="1455" y="9"/>
                    <a:pt x="1455" y="9"/>
                    <a:pt x="1455" y="9"/>
                  </a:cubicBezTo>
                  <a:cubicBezTo>
                    <a:pt x="1454" y="9"/>
                    <a:pt x="1454" y="9"/>
                    <a:pt x="1454" y="9"/>
                  </a:cubicBezTo>
                  <a:cubicBezTo>
                    <a:pt x="1454" y="9"/>
                    <a:pt x="1454" y="9"/>
                    <a:pt x="1454" y="9"/>
                  </a:cubicBezTo>
                  <a:cubicBezTo>
                    <a:pt x="1454" y="8"/>
                    <a:pt x="1453" y="8"/>
                    <a:pt x="1453" y="8"/>
                  </a:cubicBezTo>
                  <a:cubicBezTo>
                    <a:pt x="1453" y="8"/>
                    <a:pt x="1453" y="8"/>
                    <a:pt x="1453" y="8"/>
                  </a:cubicBezTo>
                  <a:cubicBezTo>
                    <a:pt x="1453" y="8"/>
                    <a:pt x="1453" y="8"/>
                    <a:pt x="1452" y="8"/>
                  </a:cubicBezTo>
                  <a:cubicBezTo>
                    <a:pt x="1453" y="8"/>
                    <a:pt x="1453" y="8"/>
                    <a:pt x="1453" y="8"/>
                  </a:cubicBezTo>
                  <a:cubicBezTo>
                    <a:pt x="1452" y="8"/>
                    <a:pt x="1452" y="8"/>
                    <a:pt x="1452" y="8"/>
                  </a:cubicBezTo>
                  <a:cubicBezTo>
                    <a:pt x="1452" y="8"/>
                    <a:pt x="1452" y="8"/>
                    <a:pt x="1452" y="8"/>
                  </a:cubicBezTo>
                  <a:cubicBezTo>
                    <a:pt x="1451" y="7"/>
                    <a:pt x="1451" y="7"/>
                    <a:pt x="1451" y="7"/>
                  </a:cubicBezTo>
                  <a:cubicBezTo>
                    <a:pt x="1451" y="7"/>
                    <a:pt x="1451" y="7"/>
                    <a:pt x="1450" y="7"/>
                  </a:cubicBezTo>
                  <a:cubicBezTo>
                    <a:pt x="1450" y="7"/>
                    <a:pt x="1450" y="7"/>
                    <a:pt x="1450" y="7"/>
                  </a:cubicBezTo>
                  <a:cubicBezTo>
                    <a:pt x="1450" y="7"/>
                    <a:pt x="1450" y="7"/>
                    <a:pt x="1450" y="7"/>
                  </a:cubicBezTo>
                  <a:cubicBezTo>
                    <a:pt x="1449" y="7"/>
                    <a:pt x="1449" y="7"/>
                    <a:pt x="1449" y="7"/>
                  </a:cubicBezTo>
                  <a:cubicBezTo>
                    <a:pt x="1449" y="7"/>
                    <a:pt x="1449" y="7"/>
                    <a:pt x="1448" y="7"/>
                  </a:cubicBezTo>
                  <a:cubicBezTo>
                    <a:pt x="1448" y="7"/>
                    <a:pt x="1448" y="7"/>
                    <a:pt x="1448" y="6"/>
                  </a:cubicBezTo>
                  <a:cubicBezTo>
                    <a:pt x="1448" y="6"/>
                    <a:pt x="1447" y="6"/>
                    <a:pt x="1447" y="6"/>
                  </a:cubicBezTo>
                  <a:cubicBezTo>
                    <a:pt x="1446" y="6"/>
                    <a:pt x="1446" y="6"/>
                    <a:pt x="1446" y="6"/>
                  </a:cubicBezTo>
                  <a:cubicBezTo>
                    <a:pt x="1445" y="6"/>
                    <a:pt x="1445" y="6"/>
                    <a:pt x="1444" y="6"/>
                  </a:cubicBezTo>
                  <a:cubicBezTo>
                    <a:pt x="1443" y="6"/>
                    <a:pt x="1443" y="6"/>
                    <a:pt x="1442" y="6"/>
                  </a:cubicBezTo>
                  <a:cubicBezTo>
                    <a:pt x="1441" y="6"/>
                    <a:pt x="1441" y="6"/>
                    <a:pt x="1440" y="6"/>
                  </a:cubicBezTo>
                  <a:cubicBezTo>
                    <a:pt x="1440" y="6"/>
                    <a:pt x="1439" y="6"/>
                    <a:pt x="1438" y="6"/>
                  </a:cubicBezTo>
                  <a:cubicBezTo>
                    <a:pt x="1438" y="6"/>
                    <a:pt x="1437" y="6"/>
                    <a:pt x="1436" y="6"/>
                  </a:cubicBezTo>
                  <a:cubicBezTo>
                    <a:pt x="1436" y="6"/>
                    <a:pt x="1436" y="6"/>
                    <a:pt x="1436" y="6"/>
                  </a:cubicBezTo>
                  <a:cubicBezTo>
                    <a:pt x="1435" y="6"/>
                    <a:pt x="1435" y="6"/>
                    <a:pt x="1434" y="6"/>
                  </a:cubicBezTo>
                  <a:cubicBezTo>
                    <a:pt x="1434" y="7"/>
                    <a:pt x="1434" y="7"/>
                    <a:pt x="1434" y="7"/>
                  </a:cubicBezTo>
                  <a:cubicBezTo>
                    <a:pt x="1434" y="7"/>
                    <a:pt x="1434" y="7"/>
                    <a:pt x="1434" y="7"/>
                  </a:cubicBezTo>
                  <a:cubicBezTo>
                    <a:pt x="1434" y="7"/>
                    <a:pt x="1433" y="7"/>
                    <a:pt x="1433" y="7"/>
                  </a:cubicBezTo>
                  <a:close/>
                  <a:moveTo>
                    <a:pt x="1010" y="17"/>
                  </a:moveTo>
                  <a:cubicBezTo>
                    <a:pt x="1010" y="17"/>
                    <a:pt x="1010" y="17"/>
                    <a:pt x="1010" y="17"/>
                  </a:cubicBezTo>
                  <a:cubicBezTo>
                    <a:pt x="1010" y="17"/>
                    <a:pt x="1010" y="17"/>
                    <a:pt x="1010" y="17"/>
                  </a:cubicBezTo>
                  <a:cubicBezTo>
                    <a:pt x="1010" y="18"/>
                    <a:pt x="1011" y="17"/>
                    <a:pt x="1011" y="18"/>
                  </a:cubicBezTo>
                  <a:cubicBezTo>
                    <a:pt x="1011" y="18"/>
                    <a:pt x="1011" y="18"/>
                    <a:pt x="1011" y="18"/>
                  </a:cubicBezTo>
                  <a:cubicBezTo>
                    <a:pt x="1012" y="18"/>
                    <a:pt x="1012" y="18"/>
                    <a:pt x="1012" y="18"/>
                  </a:cubicBezTo>
                  <a:cubicBezTo>
                    <a:pt x="1012" y="18"/>
                    <a:pt x="1012" y="18"/>
                    <a:pt x="1013" y="18"/>
                  </a:cubicBezTo>
                  <a:cubicBezTo>
                    <a:pt x="1013" y="18"/>
                    <a:pt x="1013" y="18"/>
                    <a:pt x="1013" y="18"/>
                  </a:cubicBezTo>
                  <a:cubicBezTo>
                    <a:pt x="1013" y="18"/>
                    <a:pt x="1013" y="18"/>
                    <a:pt x="1014" y="18"/>
                  </a:cubicBezTo>
                  <a:cubicBezTo>
                    <a:pt x="1014" y="18"/>
                    <a:pt x="1014" y="18"/>
                    <a:pt x="1014" y="18"/>
                  </a:cubicBezTo>
                  <a:cubicBezTo>
                    <a:pt x="1014" y="19"/>
                    <a:pt x="1014" y="19"/>
                    <a:pt x="1014" y="19"/>
                  </a:cubicBezTo>
                  <a:cubicBezTo>
                    <a:pt x="1015" y="19"/>
                    <a:pt x="1015" y="19"/>
                    <a:pt x="1015" y="19"/>
                  </a:cubicBezTo>
                  <a:cubicBezTo>
                    <a:pt x="1015" y="19"/>
                    <a:pt x="1015" y="19"/>
                    <a:pt x="1015" y="19"/>
                  </a:cubicBezTo>
                  <a:cubicBezTo>
                    <a:pt x="1015" y="19"/>
                    <a:pt x="1015" y="19"/>
                    <a:pt x="1015" y="19"/>
                  </a:cubicBezTo>
                  <a:cubicBezTo>
                    <a:pt x="1015" y="19"/>
                    <a:pt x="1015" y="19"/>
                    <a:pt x="1015" y="19"/>
                  </a:cubicBezTo>
                  <a:cubicBezTo>
                    <a:pt x="1016" y="19"/>
                    <a:pt x="1016" y="19"/>
                    <a:pt x="1016" y="19"/>
                  </a:cubicBezTo>
                  <a:cubicBezTo>
                    <a:pt x="1016" y="19"/>
                    <a:pt x="1016" y="19"/>
                    <a:pt x="1016" y="19"/>
                  </a:cubicBezTo>
                  <a:cubicBezTo>
                    <a:pt x="1017" y="20"/>
                    <a:pt x="1017" y="20"/>
                    <a:pt x="1017" y="20"/>
                  </a:cubicBezTo>
                  <a:cubicBezTo>
                    <a:pt x="1017" y="20"/>
                    <a:pt x="1017" y="20"/>
                    <a:pt x="1017" y="20"/>
                  </a:cubicBezTo>
                  <a:cubicBezTo>
                    <a:pt x="1017" y="20"/>
                    <a:pt x="1018" y="20"/>
                    <a:pt x="1018" y="20"/>
                  </a:cubicBezTo>
                  <a:cubicBezTo>
                    <a:pt x="1018" y="20"/>
                    <a:pt x="1018" y="20"/>
                    <a:pt x="1018" y="20"/>
                  </a:cubicBezTo>
                  <a:cubicBezTo>
                    <a:pt x="1018" y="20"/>
                    <a:pt x="1018" y="20"/>
                    <a:pt x="1019" y="20"/>
                  </a:cubicBezTo>
                  <a:cubicBezTo>
                    <a:pt x="1019" y="20"/>
                    <a:pt x="1019" y="20"/>
                    <a:pt x="1019" y="20"/>
                  </a:cubicBezTo>
                  <a:cubicBezTo>
                    <a:pt x="1019" y="21"/>
                    <a:pt x="1019" y="21"/>
                    <a:pt x="1019" y="21"/>
                  </a:cubicBezTo>
                  <a:cubicBezTo>
                    <a:pt x="1019" y="21"/>
                    <a:pt x="1019" y="21"/>
                    <a:pt x="1019" y="21"/>
                  </a:cubicBezTo>
                  <a:cubicBezTo>
                    <a:pt x="1019" y="21"/>
                    <a:pt x="1020" y="21"/>
                    <a:pt x="1020" y="21"/>
                  </a:cubicBezTo>
                  <a:cubicBezTo>
                    <a:pt x="1020" y="21"/>
                    <a:pt x="1020" y="21"/>
                    <a:pt x="1020" y="21"/>
                  </a:cubicBezTo>
                  <a:cubicBezTo>
                    <a:pt x="1020" y="21"/>
                    <a:pt x="1020" y="21"/>
                    <a:pt x="1021" y="21"/>
                  </a:cubicBezTo>
                  <a:cubicBezTo>
                    <a:pt x="1021" y="21"/>
                    <a:pt x="1021" y="21"/>
                    <a:pt x="1021" y="21"/>
                  </a:cubicBezTo>
                  <a:cubicBezTo>
                    <a:pt x="1021" y="22"/>
                    <a:pt x="1021" y="22"/>
                    <a:pt x="1021" y="21"/>
                  </a:cubicBezTo>
                  <a:cubicBezTo>
                    <a:pt x="1021" y="21"/>
                    <a:pt x="1021" y="21"/>
                    <a:pt x="1021" y="21"/>
                  </a:cubicBezTo>
                  <a:cubicBezTo>
                    <a:pt x="1021" y="20"/>
                    <a:pt x="1021" y="19"/>
                    <a:pt x="1021" y="17"/>
                  </a:cubicBezTo>
                  <a:cubicBezTo>
                    <a:pt x="1021" y="15"/>
                    <a:pt x="1021" y="12"/>
                    <a:pt x="1021" y="10"/>
                  </a:cubicBezTo>
                  <a:cubicBezTo>
                    <a:pt x="1021" y="10"/>
                    <a:pt x="1021" y="10"/>
                    <a:pt x="1021" y="10"/>
                  </a:cubicBezTo>
                  <a:cubicBezTo>
                    <a:pt x="1021" y="9"/>
                    <a:pt x="1020" y="9"/>
                    <a:pt x="1020" y="9"/>
                  </a:cubicBezTo>
                  <a:cubicBezTo>
                    <a:pt x="1020" y="9"/>
                    <a:pt x="1020" y="9"/>
                    <a:pt x="1020" y="9"/>
                  </a:cubicBezTo>
                  <a:cubicBezTo>
                    <a:pt x="1020" y="9"/>
                    <a:pt x="1020" y="9"/>
                    <a:pt x="1019" y="9"/>
                  </a:cubicBezTo>
                  <a:cubicBezTo>
                    <a:pt x="1019" y="9"/>
                    <a:pt x="1019" y="9"/>
                    <a:pt x="1019" y="9"/>
                  </a:cubicBezTo>
                  <a:cubicBezTo>
                    <a:pt x="1019" y="9"/>
                    <a:pt x="1019" y="9"/>
                    <a:pt x="1019" y="9"/>
                  </a:cubicBezTo>
                  <a:cubicBezTo>
                    <a:pt x="1019" y="9"/>
                    <a:pt x="1019" y="9"/>
                    <a:pt x="1018" y="9"/>
                  </a:cubicBezTo>
                  <a:cubicBezTo>
                    <a:pt x="1018" y="9"/>
                    <a:pt x="1018" y="9"/>
                    <a:pt x="1018" y="9"/>
                  </a:cubicBezTo>
                  <a:cubicBezTo>
                    <a:pt x="1018" y="8"/>
                    <a:pt x="1018" y="9"/>
                    <a:pt x="1017" y="8"/>
                  </a:cubicBezTo>
                  <a:cubicBezTo>
                    <a:pt x="1017" y="8"/>
                    <a:pt x="1017" y="8"/>
                    <a:pt x="1017" y="8"/>
                  </a:cubicBezTo>
                  <a:cubicBezTo>
                    <a:pt x="1017" y="8"/>
                    <a:pt x="1017" y="8"/>
                    <a:pt x="1016" y="8"/>
                  </a:cubicBezTo>
                  <a:cubicBezTo>
                    <a:pt x="1016" y="8"/>
                    <a:pt x="1016" y="8"/>
                    <a:pt x="1016" y="8"/>
                  </a:cubicBezTo>
                  <a:cubicBezTo>
                    <a:pt x="1016" y="8"/>
                    <a:pt x="1015" y="8"/>
                    <a:pt x="1015" y="8"/>
                  </a:cubicBezTo>
                  <a:cubicBezTo>
                    <a:pt x="1015" y="8"/>
                    <a:pt x="1015" y="8"/>
                    <a:pt x="1015" y="7"/>
                  </a:cubicBezTo>
                  <a:cubicBezTo>
                    <a:pt x="1014" y="7"/>
                    <a:pt x="1014" y="7"/>
                    <a:pt x="1014" y="7"/>
                  </a:cubicBezTo>
                  <a:cubicBezTo>
                    <a:pt x="1013" y="7"/>
                    <a:pt x="1013" y="7"/>
                    <a:pt x="1013" y="7"/>
                  </a:cubicBezTo>
                  <a:cubicBezTo>
                    <a:pt x="1013" y="7"/>
                    <a:pt x="1012" y="7"/>
                    <a:pt x="1012" y="7"/>
                  </a:cubicBezTo>
                  <a:cubicBezTo>
                    <a:pt x="1012" y="7"/>
                    <a:pt x="1012" y="7"/>
                    <a:pt x="1012" y="7"/>
                  </a:cubicBezTo>
                  <a:cubicBezTo>
                    <a:pt x="1011" y="7"/>
                    <a:pt x="1010" y="7"/>
                    <a:pt x="1010" y="7"/>
                  </a:cubicBezTo>
                  <a:cubicBezTo>
                    <a:pt x="1010" y="7"/>
                    <a:pt x="1010" y="7"/>
                    <a:pt x="1009" y="6"/>
                  </a:cubicBezTo>
                  <a:cubicBezTo>
                    <a:pt x="1009" y="6"/>
                    <a:pt x="1008" y="7"/>
                    <a:pt x="1007" y="6"/>
                  </a:cubicBezTo>
                  <a:cubicBezTo>
                    <a:pt x="1007" y="6"/>
                    <a:pt x="1007" y="6"/>
                    <a:pt x="1007" y="6"/>
                  </a:cubicBezTo>
                  <a:cubicBezTo>
                    <a:pt x="1005" y="6"/>
                    <a:pt x="1004" y="6"/>
                    <a:pt x="1003" y="6"/>
                  </a:cubicBezTo>
                  <a:cubicBezTo>
                    <a:pt x="1002" y="6"/>
                    <a:pt x="1001" y="6"/>
                    <a:pt x="1000" y="6"/>
                  </a:cubicBezTo>
                  <a:cubicBezTo>
                    <a:pt x="999" y="6"/>
                    <a:pt x="999" y="6"/>
                    <a:pt x="998" y="6"/>
                  </a:cubicBezTo>
                  <a:cubicBezTo>
                    <a:pt x="997" y="6"/>
                    <a:pt x="996" y="6"/>
                    <a:pt x="995" y="6"/>
                  </a:cubicBezTo>
                  <a:cubicBezTo>
                    <a:pt x="994" y="6"/>
                    <a:pt x="993" y="6"/>
                    <a:pt x="992" y="6"/>
                  </a:cubicBezTo>
                  <a:cubicBezTo>
                    <a:pt x="992" y="6"/>
                    <a:pt x="992" y="6"/>
                    <a:pt x="992" y="6"/>
                  </a:cubicBezTo>
                  <a:cubicBezTo>
                    <a:pt x="991" y="7"/>
                    <a:pt x="990" y="6"/>
                    <a:pt x="990" y="6"/>
                  </a:cubicBezTo>
                  <a:cubicBezTo>
                    <a:pt x="990" y="7"/>
                    <a:pt x="990" y="7"/>
                    <a:pt x="990" y="7"/>
                  </a:cubicBezTo>
                  <a:cubicBezTo>
                    <a:pt x="989" y="7"/>
                    <a:pt x="989" y="7"/>
                    <a:pt x="989" y="7"/>
                  </a:cubicBezTo>
                  <a:cubicBezTo>
                    <a:pt x="989" y="7"/>
                    <a:pt x="988" y="6"/>
                    <a:pt x="988" y="7"/>
                  </a:cubicBezTo>
                  <a:cubicBezTo>
                    <a:pt x="988" y="7"/>
                    <a:pt x="988" y="7"/>
                    <a:pt x="988" y="7"/>
                  </a:cubicBezTo>
                  <a:cubicBezTo>
                    <a:pt x="987" y="7"/>
                    <a:pt x="987" y="7"/>
                    <a:pt x="986" y="7"/>
                  </a:cubicBezTo>
                  <a:cubicBezTo>
                    <a:pt x="986" y="7"/>
                    <a:pt x="986" y="7"/>
                    <a:pt x="986" y="7"/>
                  </a:cubicBezTo>
                  <a:cubicBezTo>
                    <a:pt x="986" y="7"/>
                    <a:pt x="985" y="7"/>
                    <a:pt x="985" y="8"/>
                  </a:cubicBezTo>
                  <a:cubicBezTo>
                    <a:pt x="985" y="8"/>
                    <a:pt x="985" y="8"/>
                    <a:pt x="985" y="8"/>
                  </a:cubicBezTo>
                  <a:cubicBezTo>
                    <a:pt x="984" y="8"/>
                    <a:pt x="984" y="8"/>
                    <a:pt x="984" y="8"/>
                  </a:cubicBezTo>
                  <a:cubicBezTo>
                    <a:pt x="984" y="8"/>
                    <a:pt x="984" y="8"/>
                    <a:pt x="984" y="8"/>
                  </a:cubicBezTo>
                  <a:cubicBezTo>
                    <a:pt x="983" y="8"/>
                    <a:pt x="983" y="8"/>
                    <a:pt x="983" y="8"/>
                  </a:cubicBezTo>
                  <a:cubicBezTo>
                    <a:pt x="983" y="8"/>
                    <a:pt x="983" y="8"/>
                    <a:pt x="983" y="8"/>
                  </a:cubicBezTo>
                  <a:cubicBezTo>
                    <a:pt x="982" y="9"/>
                    <a:pt x="982" y="8"/>
                    <a:pt x="982" y="9"/>
                  </a:cubicBezTo>
                  <a:cubicBezTo>
                    <a:pt x="982" y="9"/>
                    <a:pt x="982" y="9"/>
                    <a:pt x="982" y="9"/>
                  </a:cubicBezTo>
                  <a:cubicBezTo>
                    <a:pt x="981" y="9"/>
                    <a:pt x="981" y="9"/>
                    <a:pt x="981" y="9"/>
                  </a:cubicBezTo>
                  <a:cubicBezTo>
                    <a:pt x="981" y="9"/>
                    <a:pt x="981" y="9"/>
                    <a:pt x="981" y="9"/>
                  </a:cubicBezTo>
                  <a:cubicBezTo>
                    <a:pt x="980" y="9"/>
                    <a:pt x="980" y="9"/>
                    <a:pt x="980" y="9"/>
                  </a:cubicBezTo>
                  <a:cubicBezTo>
                    <a:pt x="980" y="9"/>
                    <a:pt x="980" y="9"/>
                    <a:pt x="980" y="9"/>
                  </a:cubicBezTo>
                  <a:cubicBezTo>
                    <a:pt x="980" y="9"/>
                    <a:pt x="979" y="9"/>
                    <a:pt x="979" y="10"/>
                  </a:cubicBezTo>
                  <a:cubicBezTo>
                    <a:pt x="979" y="10"/>
                    <a:pt x="979" y="10"/>
                    <a:pt x="979" y="10"/>
                  </a:cubicBezTo>
                  <a:cubicBezTo>
                    <a:pt x="979" y="10"/>
                    <a:pt x="978" y="10"/>
                    <a:pt x="978" y="10"/>
                  </a:cubicBezTo>
                  <a:cubicBezTo>
                    <a:pt x="978" y="10"/>
                    <a:pt x="978" y="10"/>
                    <a:pt x="978" y="10"/>
                  </a:cubicBezTo>
                  <a:cubicBezTo>
                    <a:pt x="978" y="10"/>
                    <a:pt x="978" y="10"/>
                    <a:pt x="977" y="10"/>
                  </a:cubicBezTo>
                  <a:cubicBezTo>
                    <a:pt x="977" y="10"/>
                    <a:pt x="977" y="10"/>
                    <a:pt x="977" y="10"/>
                  </a:cubicBezTo>
                  <a:cubicBezTo>
                    <a:pt x="977" y="11"/>
                    <a:pt x="977" y="10"/>
                    <a:pt x="977" y="11"/>
                  </a:cubicBezTo>
                  <a:cubicBezTo>
                    <a:pt x="977" y="11"/>
                    <a:pt x="977" y="11"/>
                    <a:pt x="977" y="11"/>
                  </a:cubicBezTo>
                  <a:cubicBezTo>
                    <a:pt x="977" y="11"/>
                    <a:pt x="976" y="11"/>
                    <a:pt x="976" y="11"/>
                  </a:cubicBezTo>
                  <a:cubicBezTo>
                    <a:pt x="976" y="11"/>
                    <a:pt x="976" y="11"/>
                    <a:pt x="976" y="11"/>
                  </a:cubicBezTo>
                  <a:cubicBezTo>
                    <a:pt x="976" y="11"/>
                    <a:pt x="976" y="11"/>
                    <a:pt x="975" y="11"/>
                  </a:cubicBezTo>
                  <a:cubicBezTo>
                    <a:pt x="975" y="11"/>
                    <a:pt x="975" y="11"/>
                    <a:pt x="975" y="11"/>
                  </a:cubicBezTo>
                  <a:cubicBezTo>
                    <a:pt x="975" y="12"/>
                    <a:pt x="975" y="11"/>
                    <a:pt x="975" y="12"/>
                  </a:cubicBezTo>
                  <a:cubicBezTo>
                    <a:pt x="975" y="12"/>
                    <a:pt x="975" y="12"/>
                    <a:pt x="975" y="12"/>
                  </a:cubicBezTo>
                  <a:cubicBezTo>
                    <a:pt x="974" y="12"/>
                    <a:pt x="974" y="12"/>
                    <a:pt x="974" y="12"/>
                  </a:cubicBezTo>
                  <a:cubicBezTo>
                    <a:pt x="974" y="12"/>
                    <a:pt x="974" y="12"/>
                    <a:pt x="974" y="12"/>
                  </a:cubicBezTo>
                  <a:cubicBezTo>
                    <a:pt x="974" y="12"/>
                    <a:pt x="974" y="12"/>
                    <a:pt x="974" y="12"/>
                  </a:cubicBezTo>
                  <a:cubicBezTo>
                    <a:pt x="974" y="12"/>
                    <a:pt x="974" y="12"/>
                    <a:pt x="974" y="12"/>
                  </a:cubicBezTo>
                  <a:cubicBezTo>
                    <a:pt x="973" y="13"/>
                    <a:pt x="973" y="13"/>
                    <a:pt x="973" y="13"/>
                  </a:cubicBezTo>
                  <a:cubicBezTo>
                    <a:pt x="973" y="13"/>
                    <a:pt x="973" y="13"/>
                    <a:pt x="973" y="13"/>
                  </a:cubicBezTo>
                  <a:cubicBezTo>
                    <a:pt x="973" y="13"/>
                    <a:pt x="972" y="13"/>
                    <a:pt x="972" y="13"/>
                  </a:cubicBezTo>
                  <a:cubicBezTo>
                    <a:pt x="972" y="13"/>
                    <a:pt x="972" y="13"/>
                    <a:pt x="972" y="13"/>
                  </a:cubicBezTo>
                  <a:cubicBezTo>
                    <a:pt x="972" y="13"/>
                    <a:pt x="972" y="13"/>
                    <a:pt x="972" y="13"/>
                  </a:cubicBezTo>
                  <a:cubicBezTo>
                    <a:pt x="972" y="13"/>
                    <a:pt x="972" y="13"/>
                    <a:pt x="972" y="13"/>
                  </a:cubicBezTo>
                  <a:cubicBezTo>
                    <a:pt x="972" y="14"/>
                    <a:pt x="971" y="14"/>
                    <a:pt x="971" y="14"/>
                  </a:cubicBezTo>
                  <a:cubicBezTo>
                    <a:pt x="971" y="14"/>
                    <a:pt x="971" y="14"/>
                    <a:pt x="971" y="14"/>
                  </a:cubicBezTo>
                  <a:cubicBezTo>
                    <a:pt x="971" y="14"/>
                    <a:pt x="971" y="14"/>
                    <a:pt x="971" y="14"/>
                  </a:cubicBezTo>
                  <a:cubicBezTo>
                    <a:pt x="971" y="14"/>
                    <a:pt x="971" y="14"/>
                    <a:pt x="971" y="14"/>
                  </a:cubicBezTo>
                  <a:cubicBezTo>
                    <a:pt x="971" y="14"/>
                    <a:pt x="971" y="14"/>
                    <a:pt x="970" y="14"/>
                  </a:cubicBezTo>
                  <a:cubicBezTo>
                    <a:pt x="970" y="14"/>
                    <a:pt x="970" y="14"/>
                    <a:pt x="970" y="14"/>
                  </a:cubicBezTo>
                  <a:cubicBezTo>
                    <a:pt x="970" y="15"/>
                    <a:pt x="970" y="15"/>
                    <a:pt x="970" y="15"/>
                  </a:cubicBezTo>
                  <a:cubicBezTo>
                    <a:pt x="970" y="15"/>
                    <a:pt x="970" y="15"/>
                    <a:pt x="970" y="15"/>
                  </a:cubicBezTo>
                  <a:cubicBezTo>
                    <a:pt x="970" y="15"/>
                    <a:pt x="970" y="15"/>
                    <a:pt x="969" y="15"/>
                  </a:cubicBezTo>
                  <a:cubicBezTo>
                    <a:pt x="969" y="15"/>
                    <a:pt x="969" y="15"/>
                    <a:pt x="969" y="15"/>
                  </a:cubicBezTo>
                  <a:cubicBezTo>
                    <a:pt x="969" y="15"/>
                    <a:pt x="969" y="16"/>
                    <a:pt x="968" y="16"/>
                  </a:cubicBezTo>
                  <a:cubicBezTo>
                    <a:pt x="968" y="16"/>
                    <a:pt x="968" y="16"/>
                    <a:pt x="968" y="16"/>
                  </a:cubicBezTo>
                  <a:cubicBezTo>
                    <a:pt x="968" y="16"/>
                    <a:pt x="968" y="16"/>
                    <a:pt x="968" y="16"/>
                  </a:cubicBezTo>
                  <a:cubicBezTo>
                    <a:pt x="968" y="16"/>
                    <a:pt x="968" y="16"/>
                    <a:pt x="968" y="16"/>
                  </a:cubicBezTo>
                  <a:cubicBezTo>
                    <a:pt x="968" y="16"/>
                    <a:pt x="968" y="16"/>
                    <a:pt x="968" y="17"/>
                  </a:cubicBezTo>
                  <a:cubicBezTo>
                    <a:pt x="968" y="17"/>
                    <a:pt x="968" y="17"/>
                    <a:pt x="968" y="17"/>
                  </a:cubicBezTo>
                  <a:cubicBezTo>
                    <a:pt x="968" y="17"/>
                    <a:pt x="967" y="17"/>
                    <a:pt x="967" y="17"/>
                  </a:cubicBezTo>
                  <a:cubicBezTo>
                    <a:pt x="967" y="17"/>
                    <a:pt x="967" y="17"/>
                    <a:pt x="967" y="17"/>
                  </a:cubicBezTo>
                  <a:cubicBezTo>
                    <a:pt x="967" y="17"/>
                    <a:pt x="967" y="17"/>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6" y="18"/>
                    <a:pt x="966" y="18"/>
                    <a:pt x="966" y="18"/>
                  </a:cubicBezTo>
                  <a:cubicBezTo>
                    <a:pt x="965" y="18"/>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5" y="19"/>
                    <a:pt x="965" y="19"/>
                    <a:pt x="965" y="19"/>
                  </a:cubicBezTo>
                  <a:cubicBezTo>
                    <a:pt x="964" y="19"/>
                    <a:pt x="964" y="20"/>
                    <a:pt x="964" y="20"/>
                  </a:cubicBezTo>
                  <a:cubicBezTo>
                    <a:pt x="964" y="20"/>
                    <a:pt x="964" y="20"/>
                    <a:pt x="964" y="20"/>
                  </a:cubicBezTo>
                  <a:cubicBezTo>
                    <a:pt x="964" y="20"/>
                    <a:pt x="964" y="20"/>
                    <a:pt x="964" y="20"/>
                  </a:cubicBezTo>
                  <a:cubicBezTo>
                    <a:pt x="964" y="20"/>
                    <a:pt x="964" y="20"/>
                    <a:pt x="964" y="20"/>
                  </a:cubicBezTo>
                  <a:cubicBezTo>
                    <a:pt x="964" y="20"/>
                    <a:pt x="964" y="20"/>
                    <a:pt x="964" y="21"/>
                  </a:cubicBezTo>
                  <a:cubicBezTo>
                    <a:pt x="964" y="20"/>
                    <a:pt x="964" y="20"/>
                    <a:pt x="964" y="20"/>
                  </a:cubicBezTo>
                  <a:cubicBezTo>
                    <a:pt x="963" y="21"/>
                    <a:pt x="963" y="21"/>
                    <a:pt x="963" y="21"/>
                  </a:cubicBezTo>
                  <a:cubicBezTo>
                    <a:pt x="963" y="21"/>
                    <a:pt x="963" y="21"/>
                    <a:pt x="963" y="21"/>
                  </a:cubicBezTo>
                  <a:cubicBezTo>
                    <a:pt x="963" y="22"/>
                    <a:pt x="963" y="22"/>
                    <a:pt x="962" y="22"/>
                  </a:cubicBezTo>
                  <a:cubicBezTo>
                    <a:pt x="962" y="22"/>
                    <a:pt x="962" y="22"/>
                    <a:pt x="962" y="22"/>
                  </a:cubicBezTo>
                  <a:cubicBezTo>
                    <a:pt x="962" y="22"/>
                    <a:pt x="962" y="22"/>
                    <a:pt x="962" y="22"/>
                  </a:cubicBezTo>
                  <a:cubicBezTo>
                    <a:pt x="962" y="22"/>
                    <a:pt x="962" y="22"/>
                    <a:pt x="962" y="22"/>
                  </a:cubicBezTo>
                  <a:cubicBezTo>
                    <a:pt x="962" y="22"/>
                    <a:pt x="962" y="22"/>
                    <a:pt x="962" y="23"/>
                  </a:cubicBezTo>
                  <a:cubicBezTo>
                    <a:pt x="962" y="23"/>
                    <a:pt x="962" y="23"/>
                    <a:pt x="962" y="23"/>
                  </a:cubicBezTo>
                  <a:cubicBezTo>
                    <a:pt x="961" y="23"/>
                    <a:pt x="961" y="23"/>
                    <a:pt x="961" y="24"/>
                  </a:cubicBezTo>
                  <a:cubicBezTo>
                    <a:pt x="961" y="24"/>
                    <a:pt x="961" y="24"/>
                    <a:pt x="961" y="24"/>
                  </a:cubicBezTo>
                  <a:cubicBezTo>
                    <a:pt x="961" y="24"/>
                    <a:pt x="961" y="24"/>
                    <a:pt x="961" y="24"/>
                  </a:cubicBezTo>
                  <a:cubicBezTo>
                    <a:pt x="961" y="24"/>
                    <a:pt x="961" y="24"/>
                    <a:pt x="961" y="24"/>
                  </a:cubicBezTo>
                  <a:cubicBezTo>
                    <a:pt x="961" y="24"/>
                    <a:pt x="960" y="24"/>
                    <a:pt x="960" y="24"/>
                  </a:cubicBezTo>
                  <a:cubicBezTo>
                    <a:pt x="960" y="24"/>
                    <a:pt x="960" y="24"/>
                    <a:pt x="960" y="24"/>
                  </a:cubicBezTo>
                  <a:cubicBezTo>
                    <a:pt x="960" y="24"/>
                    <a:pt x="960" y="25"/>
                    <a:pt x="960" y="25"/>
                  </a:cubicBezTo>
                  <a:cubicBezTo>
                    <a:pt x="960" y="25"/>
                    <a:pt x="960" y="25"/>
                    <a:pt x="960" y="25"/>
                  </a:cubicBezTo>
                  <a:cubicBezTo>
                    <a:pt x="960" y="25"/>
                    <a:pt x="960" y="25"/>
                    <a:pt x="960" y="25"/>
                  </a:cubicBezTo>
                  <a:cubicBezTo>
                    <a:pt x="960" y="25"/>
                    <a:pt x="960" y="25"/>
                    <a:pt x="960" y="25"/>
                  </a:cubicBezTo>
                  <a:cubicBezTo>
                    <a:pt x="959" y="25"/>
                    <a:pt x="960" y="26"/>
                    <a:pt x="959" y="26"/>
                  </a:cubicBezTo>
                  <a:cubicBezTo>
                    <a:pt x="959" y="26"/>
                    <a:pt x="959" y="26"/>
                    <a:pt x="959" y="26"/>
                  </a:cubicBezTo>
                  <a:cubicBezTo>
                    <a:pt x="959" y="26"/>
                    <a:pt x="959" y="26"/>
                    <a:pt x="959" y="26"/>
                  </a:cubicBezTo>
                  <a:cubicBezTo>
                    <a:pt x="959" y="26"/>
                    <a:pt x="959" y="26"/>
                    <a:pt x="959" y="26"/>
                  </a:cubicBezTo>
                  <a:cubicBezTo>
                    <a:pt x="959" y="26"/>
                    <a:pt x="959" y="27"/>
                    <a:pt x="959" y="27"/>
                  </a:cubicBezTo>
                  <a:cubicBezTo>
                    <a:pt x="959" y="27"/>
                    <a:pt x="959" y="27"/>
                    <a:pt x="959" y="27"/>
                  </a:cubicBezTo>
                  <a:cubicBezTo>
                    <a:pt x="958" y="27"/>
                    <a:pt x="958" y="27"/>
                    <a:pt x="958" y="27"/>
                  </a:cubicBezTo>
                  <a:cubicBezTo>
                    <a:pt x="958" y="27"/>
                    <a:pt x="958" y="27"/>
                    <a:pt x="958" y="27"/>
                  </a:cubicBezTo>
                  <a:cubicBezTo>
                    <a:pt x="958" y="28"/>
                    <a:pt x="958" y="28"/>
                    <a:pt x="958" y="28"/>
                  </a:cubicBezTo>
                  <a:cubicBezTo>
                    <a:pt x="958" y="28"/>
                    <a:pt x="958" y="28"/>
                    <a:pt x="958" y="28"/>
                  </a:cubicBezTo>
                  <a:cubicBezTo>
                    <a:pt x="958" y="28"/>
                    <a:pt x="958" y="29"/>
                    <a:pt x="958" y="29"/>
                  </a:cubicBezTo>
                  <a:cubicBezTo>
                    <a:pt x="958" y="29"/>
                    <a:pt x="958" y="29"/>
                    <a:pt x="958" y="29"/>
                  </a:cubicBezTo>
                  <a:cubicBezTo>
                    <a:pt x="957" y="29"/>
                    <a:pt x="957" y="29"/>
                    <a:pt x="957" y="29"/>
                  </a:cubicBezTo>
                  <a:cubicBezTo>
                    <a:pt x="957" y="29"/>
                    <a:pt x="957" y="29"/>
                    <a:pt x="957" y="29"/>
                  </a:cubicBezTo>
                  <a:cubicBezTo>
                    <a:pt x="957" y="30"/>
                    <a:pt x="957" y="30"/>
                    <a:pt x="957" y="30"/>
                  </a:cubicBezTo>
                  <a:cubicBezTo>
                    <a:pt x="957" y="30"/>
                    <a:pt x="957" y="30"/>
                    <a:pt x="957" y="30"/>
                  </a:cubicBezTo>
                  <a:cubicBezTo>
                    <a:pt x="957" y="30"/>
                    <a:pt x="957" y="30"/>
                    <a:pt x="957" y="30"/>
                  </a:cubicBezTo>
                  <a:cubicBezTo>
                    <a:pt x="957" y="30"/>
                    <a:pt x="957" y="30"/>
                    <a:pt x="957" y="31"/>
                  </a:cubicBezTo>
                  <a:cubicBezTo>
                    <a:pt x="957" y="31"/>
                    <a:pt x="957" y="31"/>
                    <a:pt x="957" y="31"/>
                  </a:cubicBezTo>
                  <a:cubicBezTo>
                    <a:pt x="956" y="31"/>
                    <a:pt x="956" y="31"/>
                    <a:pt x="956" y="31"/>
                  </a:cubicBezTo>
                  <a:cubicBezTo>
                    <a:pt x="956" y="31"/>
                    <a:pt x="956" y="31"/>
                    <a:pt x="956" y="31"/>
                  </a:cubicBezTo>
                  <a:cubicBezTo>
                    <a:pt x="956" y="31"/>
                    <a:pt x="956" y="32"/>
                    <a:pt x="956" y="32"/>
                  </a:cubicBezTo>
                  <a:cubicBezTo>
                    <a:pt x="956" y="32"/>
                    <a:pt x="956" y="32"/>
                    <a:pt x="956" y="32"/>
                  </a:cubicBezTo>
                  <a:cubicBezTo>
                    <a:pt x="956" y="32"/>
                    <a:pt x="956" y="32"/>
                    <a:pt x="956" y="32"/>
                  </a:cubicBezTo>
                  <a:cubicBezTo>
                    <a:pt x="956" y="32"/>
                    <a:pt x="956" y="33"/>
                    <a:pt x="956" y="33"/>
                  </a:cubicBezTo>
                  <a:cubicBezTo>
                    <a:pt x="956" y="33"/>
                    <a:pt x="956" y="33"/>
                    <a:pt x="956" y="33"/>
                  </a:cubicBezTo>
                  <a:cubicBezTo>
                    <a:pt x="955" y="33"/>
                    <a:pt x="955" y="33"/>
                    <a:pt x="955" y="33"/>
                  </a:cubicBezTo>
                  <a:cubicBezTo>
                    <a:pt x="955" y="33"/>
                    <a:pt x="955" y="33"/>
                    <a:pt x="955" y="34"/>
                  </a:cubicBezTo>
                  <a:cubicBezTo>
                    <a:pt x="955" y="34"/>
                    <a:pt x="955" y="34"/>
                    <a:pt x="955" y="34"/>
                  </a:cubicBezTo>
                  <a:cubicBezTo>
                    <a:pt x="955" y="34"/>
                    <a:pt x="955" y="34"/>
                    <a:pt x="955" y="34"/>
                  </a:cubicBezTo>
                  <a:cubicBezTo>
                    <a:pt x="955" y="34"/>
                    <a:pt x="955" y="34"/>
                    <a:pt x="955" y="34"/>
                  </a:cubicBezTo>
                  <a:cubicBezTo>
                    <a:pt x="955" y="35"/>
                    <a:pt x="955" y="35"/>
                    <a:pt x="954" y="35"/>
                  </a:cubicBezTo>
                  <a:cubicBezTo>
                    <a:pt x="955" y="35"/>
                    <a:pt x="955" y="35"/>
                    <a:pt x="955" y="35"/>
                  </a:cubicBezTo>
                  <a:cubicBezTo>
                    <a:pt x="954" y="35"/>
                    <a:pt x="954" y="35"/>
                    <a:pt x="954" y="35"/>
                  </a:cubicBezTo>
                  <a:cubicBezTo>
                    <a:pt x="954" y="36"/>
                    <a:pt x="954" y="36"/>
                    <a:pt x="954" y="36"/>
                  </a:cubicBezTo>
                  <a:cubicBezTo>
                    <a:pt x="954" y="36"/>
                    <a:pt x="954" y="36"/>
                    <a:pt x="954" y="36"/>
                  </a:cubicBezTo>
                  <a:cubicBezTo>
                    <a:pt x="954" y="36"/>
                    <a:pt x="954" y="37"/>
                    <a:pt x="954" y="37"/>
                  </a:cubicBezTo>
                  <a:cubicBezTo>
                    <a:pt x="954" y="37"/>
                    <a:pt x="954" y="37"/>
                    <a:pt x="954" y="37"/>
                  </a:cubicBezTo>
                  <a:cubicBezTo>
                    <a:pt x="953" y="37"/>
                    <a:pt x="954" y="38"/>
                    <a:pt x="953" y="38"/>
                  </a:cubicBezTo>
                  <a:cubicBezTo>
                    <a:pt x="953" y="38"/>
                    <a:pt x="953" y="38"/>
                    <a:pt x="953" y="38"/>
                  </a:cubicBezTo>
                  <a:cubicBezTo>
                    <a:pt x="953" y="38"/>
                    <a:pt x="953" y="39"/>
                    <a:pt x="953" y="39"/>
                  </a:cubicBezTo>
                  <a:cubicBezTo>
                    <a:pt x="953" y="39"/>
                    <a:pt x="953" y="39"/>
                    <a:pt x="953" y="39"/>
                  </a:cubicBezTo>
                  <a:cubicBezTo>
                    <a:pt x="953" y="40"/>
                    <a:pt x="953" y="40"/>
                    <a:pt x="953" y="40"/>
                  </a:cubicBezTo>
                  <a:cubicBezTo>
                    <a:pt x="953" y="41"/>
                    <a:pt x="953" y="41"/>
                    <a:pt x="953" y="41"/>
                  </a:cubicBezTo>
                  <a:cubicBezTo>
                    <a:pt x="953" y="41"/>
                    <a:pt x="953" y="41"/>
                    <a:pt x="953" y="41"/>
                  </a:cubicBezTo>
                  <a:cubicBezTo>
                    <a:pt x="952" y="41"/>
                    <a:pt x="953" y="41"/>
                    <a:pt x="952" y="42"/>
                  </a:cubicBezTo>
                  <a:cubicBezTo>
                    <a:pt x="952" y="42"/>
                    <a:pt x="952" y="42"/>
                    <a:pt x="952" y="42"/>
                  </a:cubicBezTo>
                  <a:cubicBezTo>
                    <a:pt x="952" y="42"/>
                    <a:pt x="952" y="43"/>
                    <a:pt x="952" y="43"/>
                  </a:cubicBezTo>
                  <a:cubicBezTo>
                    <a:pt x="952" y="43"/>
                    <a:pt x="952" y="43"/>
                    <a:pt x="952" y="43"/>
                  </a:cubicBezTo>
                  <a:cubicBezTo>
                    <a:pt x="952" y="43"/>
                    <a:pt x="952" y="43"/>
                    <a:pt x="952" y="43"/>
                  </a:cubicBezTo>
                  <a:cubicBezTo>
                    <a:pt x="952" y="44"/>
                    <a:pt x="952" y="44"/>
                    <a:pt x="952" y="45"/>
                  </a:cubicBezTo>
                  <a:cubicBezTo>
                    <a:pt x="952" y="45"/>
                    <a:pt x="952" y="45"/>
                    <a:pt x="952" y="45"/>
                  </a:cubicBezTo>
                  <a:cubicBezTo>
                    <a:pt x="951" y="46"/>
                    <a:pt x="952" y="46"/>
                    <a:pt x="951" y="47"/>
                  </a:cubicBezTo>
                  <a:cubicBezTo>
                    <a:pt x="951" y="47"/>
                    <a:pt x="951" y="47"/>
                    <a:pt x="951" y="48"/>
                  </a:cubicBezTo>
                  <a:cubicBezTo>
                    <a:pt x="951" y="48"/>
                    <a:pt x="951" y="49"/>
                    <a:pt x="951" y="50"/>
                  </a:cubicBezTo>
                  <a:cubicBezTo>
                    <a:pt x="951" y="50"/>
                    <a:pt x="951" y="50"/>
                    <a:pt x="951" y="50"/>
                  </a:cubicBezTo>
                  <a:cubicBezTo>
                    <a:pt x="951" y="54"/>
                    <a:pt x="951" y="58"/>
                    <a:pt x="951" y="62"/>
                  </a:cubicBezTo>
                  <a:cubicBezTo>
                    <a:pt x="951" y="62"/>
                    <a:pt x="951" y="63"/>
                    <a:pt x="951" y="63"/>
                  </a:cubicBezTo>
                  <a:cubicBezTo>
                    <a:pt x="951" y="63"/>
                    <a:pt x="951" y="64"/>
                    <a:pt x="951" y="65"/>
                  </a:cubicBezTo>
                  <a:cubicBezTo>
                    <a:pt x="951" y="65"/>
                    <a:pt x="951" y="65"/>
                    <a:pt x="951" y="66"/>
                  </a:cubicBezTo>
                  <a:cubicBezTo>
                    <a:pt x="952" y="66"/>
                    <a:pt x="951" y="67"/>
                    <a:pt x="952" y="67"/>
                  </a:cubicBezTo>
                  <a:cubicBezTo>
                    <a:pt x="952" y="67"/>
                    <a:pt x="952" y="67"/>
                    <a:pt x="952" y="67"/>
                  </a:cubicBezTo>
                  <a:cubicBezTo>
                    <a:pt x="952" y="68"/>
                    <a:pt x="952" y="68"/>
                    <a:pt x="952" y="68"/>
                  </a:cubicBezTo>
                  <a:cubicBezTo>
                    <a:pt x="952" y="68"/>
                    <a:pt x="952" y="69"/>
                    <a:pt x="952" y="69"/>
                  </a:cubicBezTo>
                  <a:cubicBezTo>
                    <a:pt x="952" y="69"/>
                    <a:pt x="952" y="69"/>
                    <a:pt x="952" y="69"/>
                  </a:cubicBezTo>
                  <a:cubicBezTo>
                    <a:pt x="952" y="69"/>
                    <a:pt x="952" y="69"/>
                    <a:pt x="952" y="69"/>
                  </a:cubicBezTo>
                  <a:cubicBezTo>
                    <a:pt x="952" y="70"/>
                    <a:pt x="952" y="70"/>
                    <a:pt x="952" y="71"/>
                  </a:cubicBezTo>
                  <a:cubicBezTo>
                    <a:pt x="952" y="71"/>
                    <a:pt x="952" y="71"/>
                    <a:pt x="952" y="71"/>
                  </a:cubicBezTo>
                  <a:cubicBezTo>
                    <a:pt x="952" y="71"/>
                    <a:pt x="952" y="71"/>
                    <a:pt x="952" y="71"/>
                  </a:cubicBezTo>
                  <a:cubicBezTo>
                    <a:pt x="953" y="71"/>
                    <a:pt x="952" y="72"/>
                    <a:pt x="953" y="72"/>
                  </a:cubicBezTo>
                  <a:cubicBezTo>
                    <a:pt x="953" y="72"/>
                    <a:pt x="953" y="72"/>
                    <a:pt x="953" y="72"/>
                  </a:cubicBezTo>
                  <a:cubicBezTo>
                    <a:pt x="953" y="72"/>
                    <a:pt x="953" y="73"/>
                    <a:pt x="953" y="73"/>
                  </a:cubicBezTo>
                  <a:cubicBezTo>
                    <a:pt x="953" y="73"/>
                    <a:pt x="953" y="73"/>
                    <a:pt x="953" y="73"/>
                  </a:cubicBezTo>
                  <a:cubicBezTo>
                    <a:pt x="953" y="73"/>
                    <a:pt x="953" y="74"/>
                    <a:pt x="953" y="74"/>
                  </a:cubicBezTo>
                  <a:cubicBezTo>
                    <a:pt x="953" y="74"/>
                    <a:pt x="953" y="74"/>
                    <a:pt x="953" y="74"/>
                  </a:cubicBezTo>
                  <a:cubicBezTo>
                    <a:pt x="954" y="75"/>
                    <a:pt x="954" y="75"/>
                    <a:pt x="954" y="75"/>
                  </a:cubicBezTo>
                  <a:cubicBezTo>
                    <a:pt x="954" y="75"/>
                    <a:pt x="954" y="75"/>
                    <a:pt x="954" y="75"/>
                  </a:cubicBezTo>
                  <a:cubicBezTo>
                    <a:pt x="954" y="76"/>
                    <a:pt x="954" y="76"/>
                    <a:pt x="954" y="76"/>
                  </a:cubicBezTo>
                  <a:cubicBezTo>
                    <a:pt x="954" y="76"/>
                    <a:pt x="954" y="76"/>
                    <a:pt x="954" y="76"/>
                  </a:cubicBezTo>
                  <a:cubicBezTo>
                    <a:pt x="954" y="76"/>
                    <a:pt x="954" y="77"/>
                    <a:pt x="954" y="77"/>
                  </a:cubicBezTo>
                  <a:cubicBezTo>
                    <a:pt x="954" y="77"/>
                    <a:pt x="954" y="77"/>
                    <a:pt x="954" y="77"/>
                  </a:cubicBezTo>
                  <a:cubicBezTo>
                    <a:pt x="955" y="77"/>
                    <a:pt x="955" y="78"/>
                    <a:pt x="955" y="78"/>
                  </a:cubicBezTo>
                  <a:cubicBezTo>
                    <a:pt x="955" y="78"/>
                    <a:pt x="955" y="78"/>
                    <a:pt x="955" y="78"/>
                  </a:cubicBezTo>
                  <a:cubicBezTo>
                    <a:pt x="955" y="78"/>
                    <a:pt x="955" y="78"/>
                    <a:pt x="955" y="79"/>
                  </a:cubicBezTo>
                  <a:cubicBezTo>
                    <a:pt x="955" y="79"/>
                    <a:pt x="955" y="79"/>
                    <a:pt x="955" y="79"/>
                  </a:cubicBezTo>
                  <a:cubicBezTo>
                    <a:pt x="955" y="79"/>
                    <a:pt x="955" y="79"/>
                    <a:pt x="955" y="79"/>
                  </a:cubicBezTo>
                  <a:cubicBezTo>
                    <a:pt x="955" y="79"/>
                    <a:pt x="955" y="79"/>
                    <a:pt x="956" y="80"/>
                  </a:cubicBezTo>
                  <a:cubicBezTo>
                    <a:pt x="956" y="80"/>
                    <a:pt x="956" y="80"/>
                    <a:pt x="956" y="80"/>
                  </a:cubicBezTo>
                  <a:cubicBezTo>
                    <a:pt x="956" y="80"/>
                    <a:pt x="956" y="80"/>
                    <a:pt x="956" y="80"/>
                  </a:cubicBezTo>
                  <a:cubicBezTo>
                    <a:pt x="956" y="80"/>
                    <a:pt x="956" y="80"/>
                    <a:pt x="956" y="80"/>
                  </a:cubicBezTo>
                  <a:cubicBezTo>
                    <a:pt x="956" y="80"/>
                    <a:pt x="956" y="81"/>
                    <a:pt x="956" y="81"/>
                  </a:cubicBezTo>
                  <a:cubicBezTo>
                    <a:pt x="956" y="81"/>
                    <a:pt x="956" y="81"/>
                    <a:pt x="956" y="81"/>
                  </a:cubicBezTo>
                  <a:cubicBezTo>
                    <a:pt x="956" y="81"/>
                    <a:pt x="956" y="81"/>
                    <a:pt x="957" y="82"/>
                  </a:cubicBezTo>
                  <a:cubicBezTo>
                    <a:pt x="957" y="82"/>
                    <a:pt x="957" y="82"/>
                    <a:pt x="957" y="82"/>
                  </a:cubicBezTo>
                  <a:cubicBezTo>
                    <a:pt x="957" y="82"/>
                    <a:pt x="957" y="82"/>
                    <a:pt x="957" y="82"/>
                  </a:cubicBezTo>
                  <a:cubicBezTo>
                    <a:pt x="957" y="82"/>
                    <a:pt x="957" y="82"/>
                    <a:pt x="957" y="82"/>
                  </a:cubicBezTo>
                  <a:cubicBezTo>
                    <a:pt x="957" y="82"/>
                    <a:pt x="957" y="82"/>
                    <a:pt x="957" y="82"/>
                  </a:cubicBezTo>
                  <a:cubicBezTo>
                    <a:pt x="957" y="82"/>
                    <a:pt x="957" y="83"/>
                    <a:pt x="957" y="83"/>
                  </a:cubicBezTo>
                  <a:cubicBezTo>
                    <a:pt x="957" y="83"/>
                    <a:pt x="957" y="83"/>
                    <a:pt x="957" y="83"/>
                  </a:cubicBezTo>
                  <a:cubicBezTo>
                    <a:pt x="957" y="83"/>
                    <a:pt x="957" y="83"/>
                    <a:pt x="958" y="83"/>
                  </a:cubicBezTo>
                  <a:cubicBezTo>
                    <a:pt x="958" y="83"/>
                    <a:pt x="958" y="83"/>
                    <a:pt x="958" y="83"/>
                  </a:cubicBezTo>
                  <a:cubicBezTo>
                    <a:pt x="958" y="84"/>
                    <a:pt x="958" y="84"/>
                    <a:pt x="958" y="84"/>
                  </a:cubicBezTo>
                  <a:cubicBezTo>
                    <a:pt x="958" y="84"/>
                    <a:pt x="958" y="84"/>
                    <a:pt x="958" y="84"/>
                  </a:cubicBezTo>
                  <a:cubicBezTo>
                    <a:pt x="958" y="84"/>
                    <a:pt x="958" y="84"/>
                    <a:pt x="958" y="84"/>
                  </a:cubicBezTo>
                  <a:cubicBezTo>
                    <a:pt x="958" y="84"/>
                    <a:pt x="958" y="84"/>
                    <a:pt x="958" y="84"/>
                  </a:cubicBezTo>
                  <a:cubicBezTo>
                    <a:pt x="958" y="85"/>
                    <a:pt x="958" y="85"/>
                    <a:pt x="959" y="85"/>
                  </a:cubicBezTo>
                  <a:cubicBezTo>
                    <a:pt x="959" y="85"/>
                    <a:pt x="959" y="85"/>
                    <a:pt x="959" y="85"/>
                  </a:cubicBezTo>
                  <a:cubicBezTo>
                    <a:pt x="959" y="85"/>
                    <a:pt x="959" y="85"/>
                    <a:pt x="959" y="86"/>
                  </a:cubicBezTo>
                  <a:cubicBezTo>
                    <a:pt x="959" y="86"/>
                    <a:pt x="959" y="86"/>
                    <a:pt x="959" y="86"/>
                  </a:cubicBezTo>
                  <a:cubicBezTo>
                    <a:pt x="959" y="86"/>
                    <a:pt x="959" y="86"/>
                    <a:pt x="959" y="86"/>
                  </a:cubicBezTo>
                  <a:cubicBezTo>
                    <a:pt x="959" y="86"/>
                    <a:pt x="959" y="86"/>
                    <a:pt x="959" y="86"/>
                  </a:cubicBezTo>
                  <a:cubicBezTo>
                    <a:pt x="959" y="86"/>
                    <a:pt x="960" y="86"/>
                    <a:pt x="960" y="87"/>
                  </a:cubicBezTo>
                  <a:cubicBezTo>
                    <a:pt x="960" y="87"/>
                    <a:pt x="960" y="87"/>
                    <a:pt x="960" y="87"/>
                  </a:cubicBezTo>
                  <a:cubicBezTo>
                    <a:pt x="960" y="87"/>
                    <a:pt x="960" y="87"/>
                    <a:pt x="960" y="87"/>
                  </a:cubicBezTo>
                  <a:cubicBezTo>
                    <a:pt x="960" y="87"/>
                    <a:pt x="960" y="87"/>
                    <a:pt x="960" y="87"/>
                  </a:cubicBezTo>
                  <a:cubicBezTo>
                    <a:pt x="960" y="87"/>
                    <a:pt x="960" y="87"/>
                    <a:pt x="960" y="88"/>
                  </a:cubicBezTo>
                  <a:cubicBezTo>
                    <a:pt x="960" y="87"/>
                    <a:pt x="960" y="87"/>
                    <a:pt x="960" y="87"/>
                  </a:cubicBezTo>
                  <a:cubicBezTo>
                    <a:pt x="960" y="88"/>
                    <a:pt x="961" y="88"/>
                    <a:pt x="961" y="88"/>
                  </a:cubicBezTo>
                  <a:cubicBezTo>
                    <a:pt x="961" y="88"/>
                    <a:pt x="961" y="88"/>
                    <a:pt x="961" y="88"/>
                  </a:cubicBezTo>
                  <a:cubicBezTo>
                    <a:pt x="961" y="88"/>
                    <a:pt x="961" y="88"/>
                    <a:pt x="961" y="88"/>
                  </a:cubicBezTo>
                  <a:cubicBezTo>
                    <a:pt x="961" y="88"/>
                    <a:pt x="961" y="88"/>
                    <a:pt x="961" y="88"/>
                  </a:cubicBezTo>
                  <a:cubicBezTo>
                    <a:pt x="961" y="89"/>
                    <a:pt x="961" y="89"/>
                    <a:pt x="962" y="89"/>
                  </a:cubicBezTo>
                  <a:cubicBezTo>
                    <a:pt x="962" y="89"/>
                    <a:pt x="962" y="89"/>
                    <a:pt x="962" y="89"/>
                  </a:cubicBezTo>
                  <a:cubicBezTo>
                    <a:pt x="962" y="89"/>
                    <a:pt x="962" y="90"/>
                    <a:pt x="962" y="90"/>
                  </a:cubicBezTo>
                  <a:cubicBezTo>
                    <a:pt x="962" y="90"/>
                    <a:pt x="962" y="90"/>
                    <a:pt x="962" y="90"/>
                  </a:cubicBezTo>
                  <a:cubicBezTo>
                    <a:pt x="962" y="90"/>
                    <a:pt x="962" y="90"/>
                    <a:pt x="963" y="90"/>
                  </a:cubicBezTo>
                  <a:cubicBezTo>
                    <a:pt x="962" y="90"/>
                    <a:pt x="962" y="90"/>
                    <a:pt x="962" y="90"/>
                  </a:cubicBezTo>
                  <a:cubicBezTo>
                    <a:pt x="963" y="90"/>
                    <a:pt x="963" y="90"/>
                    <a:pt x="963" y="90"/>
                  </a:cubicBezTo>
                  <a:cubicBezTo>
                    <a:pt x="963" y="90"/>
                    <a:pt x="963" y="90"/>
                    <a:pt x="963" y="90"/>
                  </a:cubicBezTo>
                  <a:cubicBezTo>
                    <a:pt x="963" y="90"/>
                    <a:pt x="963" y="91"/>
                    <a:pt x="963" y="91"/>
                  </a:cubicBezTo>
                  <a:cubicBezTo>
                    <a:pt x="963" y="91"/>
                    <a:pt x="963" y="91"/>
                    <a:pt x="963" y="91"/>
                  </a:cubicBezTo>
                  <a:cubicBezTo>
                    <a:pt x="963" y="91"/>
                    <a:pt x="963" y="91"/>
                    <a:pt x="964" y="91"/>
                  </a:cubicBezTo>
                  <a:cubicBezTo>
                    <a:pt x="964" y="91"/>
                    <a:pt x="964" y="91"/>
                    <a:pt x="964" y="91"/>
                  </a:cubicBezTo>
                  <a:cubicBezTo>
                    <a:pt x="964" y="91"/>
                    <a:pt x="964" y="91"/>
                    <a:pt x="964" y="91"/>
                  </a:cubicBezTo>
                  <a:cubicBezTo>
                    <a:pt x="964" y="91"/>
                    <a:pt x="964" y="91"/>
                    <a:pt x="964" y="91"/>
                  </a:cubicBezTo>
                  <a:cubicBezTo>
                    <a:pt x="964" y="92"/>
                    <a:pt x="964" y="92"/>
                    <a:pt x="964" y="92"/>
                  </a:cubicBezTo>
                  <a:cubicBezTo>
                    <a:pt x="964" y="92"/>
                    <a:pt x="964" y="92"/>
                    <a:pt x="964" y="92"/>
                  </a:cubicBezTo>
                  <a:cubicBezTo>
                    <a:pt x="964" y="92"/>
                    <a:pt x="964" y="92"/>
                    <a:pt x="965" y="92"/>
                  </a:cubicBezTo>
                  <a:cubicBezTo>
                    <a:pt x="965" y="92"/>
                    <a:pt x="965" y="92"/>
                    <a:pt x="965" y="92"/>
                  </a:cubicBezTo>
                  <a:cubicBezTo>
                    <a:pt x="965" y="92"/>
                    <a:pt x="965" y="92"/>
                    <a:pt x="965" y="92"/>
                  </a:cubicBezTo>
                  <a:cubicBezTo>
                    <a:pt x="965" y="92"/>
                    <a:pt x="965" y="92"/>
                    <a:pt x="965" y="92"/>
                  </a:cubicBezTo>
                  <a:cubicBezTo>
                    <a:pt x="965" y="93"/>
                    <a:pt x="965" y="93"/>
                    <a:pt x="965" y="93"/>
                  </a:cubicBezTo>
                  <a:cubicBezTo>
                    <a:pt x="965" y="93"/>
                    <a:pt x="965" y="93"/>
                    <a:pt x="965" y="93"/>
                  </a:cubicBezTo>
                  <a:cubicBezTo>
                    <a:pt x="965" y="93"/>
                    <a:pt x="966" y="93"/>
                    <a:pt x="966" y="94"/>
                  </a:cubicBezTo>
                  <a:cubicBezTo>
                    <a:pt x="966" y="94"/>
                    <a:pt x="966" y="94"/>
                    <a:pt x="966" y="94"/>
                  </a:cubicBezTo>
                  <a:cubicBezTo>
                    <a:pt x="966"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4"/>
                    <a:pt x="967" y="94"/>
                    <a:pt x="967" y="94"/>
                  </a:cubicBezTo>
                  <a:cubicBezTo>
                    <a:pt x="967" y="95"/>
                    <a:pt x="968" y="95"/>
                    <a:pt x="968" y="95"/>
                  </a:cubicBezTo>
                  <a:cubicBezTo>
                    <a:pt x="968" y="95"/>
                    <a:pt x="968" y="95"/>
                    <a:pt x="968" y="95"/>
                  </a:cubicBezTo>
                  <a:cubicBezTo>
                    <a:pt x="968" y="95"/>
                    <a:pt x="968" y="95"/>
                    <a:pt x="968" y="95"/>
                  </a:cubicBezTo>
                  <a:cubicBezTo>
                    <a:pt x="968" y="95"/>
                    <a:pt x="968" y="95"/>
                    <a:pt x="968" y="95"/>
                  </a:cubicBezTo>
                  <a:cubicBezTo>
                    <a:pt x="969" y="96"/>
                    <a:pt x="969" y="96"/>
                    <a:pt x="969" y="96"/>
                  </a:cubicBezTo>
                  <a:cubicBezTo>
                    <a:pt x="969" y="96"/>
                    <a:pt x="969" y="96"/>
                    <a:pt x="969" y="96"/>
                  </a:cubicBezTo>
                  <a:cubicBezTo>
                    <a:pt x="970" y="96"/>
                    <a:pt x="970" y="96"/>
                    <a:pt x="971" y="97"/>
                  </a:cubicBezTo>
                  <a:cubicBezTo>
                    <a:pt x="970" y="97"/>
                    <a:pt x="970" y="97"/>
                    <a:pt x="970" y="97"/>
                  </a:cubicBezTo>
                  <a:cubicBezTo>
                    <a:pt x="971" y="97"/>
                    <a:pt x="971" y="97"/>
                    <a:pt x="971" y="97"/>
                  </a:cubicBezTo>
                  <a:cubicBezTo>
                    <a:pt x="971" y="97"/>
                    <a:pt x="971" y="97"/>
                    <a:pt x="971" y="97"/>
                  </a:cubicBezTo>
                  <a:cubicBezTo>
                    <a:pt x="971" y="97"/>
                    <a:pt x="971" y="97"/>
                    <a:pt x="972" y="97"/>
                  </a:cubicBezTo>
                  <a:cubicBezTo>
                    <a:pt x="972" y="97"/>
                    <a:pt x="972" y="97"/>
                    <a:pt x="972" y="97"/>
                  </a:cubicBezTo>
                  <a:cubicBezTo>
                    <a:pt x="972" y="98"/>
                    <a:pt x="972" y="97"/>
                    <a:pt x="972" y="98"/>
                  </a:cubicBezTo>
                  <a:cubicBezTo>
                    <a:pt x="972" y="98"/>
                    <a:pt x="972" y="98"/>
                    <a:pt x="972" y="98"/>
                  </a:cubicBezTo>
                  <a:cubicBezTo>
                    <a:pt x="972" y="98"/>
                    <a:pt x="973" y="98"/>
                    <a:pt x="973" y="98"/>
                  </a:cubicBezTo>
                  <a:cubicBezTo>
                    <a:pt x="973" y="98"/>
                    <a:pt x="973" y="98"/>
                    <a:pt x="973" y="98"/>
                  </a:cubicBezTo>
                  <a:cubicBezTo>
                    <a:pt x="973" y="98"/>
                    <a:pt x="973" y="98"/>
                    <a:pt x="974" y="98"/>
                  </a:cubicBezTo>
                  <a:cubicBezTo>
                    <a:pt x="974" y="98"/>
                    <a:pt x="974" y="98"/>
                    <a:pt x="974" y="98"/>
                  </a:cubicBezTo>
                  <a:cubicBezTo>
                    <a:pt x="974" y="99"/>
                    <a:pt x="974" y="99"/>
                    <a:pt x="974" y="99"/>
                  </a:cubicBezTo>
                  <a:cubicBezTo>
                    <a:pt x="974" y="99"/>
                    <a:pt x="974" y="99"/>
                    <a:pt x="974" y="99"/>
                  </a:cubicBezTo>
                  <a:cubicBezTo>
                    <a:pt x="974" y="99"/>
                    <a:pt x="975" y="99"/>
                    <a:pt x="975" y="99"/>
                  </a:cubicBezTo>
                  <a:cubicBezTo>
                    <a:pt x="975" y="99"/>
                    <a:pt x="975" y="99"/>
                    <a:pt x="975" y="99"/>
                  </a:cubicBezTo>
                  <a:cubicBezTo>
                    <a:pt x="975" y="99"/>
                    <a:pt x="975" y="99"/>
                    <a:pt x="976" y="99"/>
                  </a:cubicBezTo>
                  <a:cubicBezTo>
                    <a:pt x="976" y="99"/>
                    <a:pt x="976" y="99"/>
                    <a:pt x="976" y="99"/>
                  </a:cubicBezTo>
                  <a:cubicBezTo>
                    <a:pt x="976" y="100"/>
                    <a:pt x="976" y="100"/>
                    <a:pt x="977" y="100"/>
                  </a:cubicBezTo>
                  <a:cubicBezTo>
                    <a:pt x="977" y="100"/>
                    <a:pt x="977" y="100"/>
                    <a:pt x="977" y="100"/>
                  </a:cubicBezTo>
                  <a:cubicBezTo>
                    <a:pt x="977" y="100"/>
                    <a:pt x="977" y="100"/>
                    <a:pt x="977" y="100"/>
                  </a:cubicBezTo>
                  <a:cubicBezTo>
                    <a:pt x="977" y="100"/>
                    <a:pt x="977" y="100"/>
                    <a:pt x="977" y="100"/>
                  </a:cubicBezTo>
                  <a:cubicBezTo>
                    <a:pt x="977" y="100"/>
                    <a:pt x="977" y="100"/>
                    <a:pt x="977" y="100"/>
                  </a:cubicBezTo>
                  <a:cubicBezTo>
                    <a:pt x="978" y="100"/>
                    <a:pt x="978" y="100"/>
                    <a:pt x="978" y="100"/>
                  </a:cubicBezTo>
                  <a:cubicBezTo>
                    <a:pt x="978" y="100"/>
                    <a:pt x="978" y="100"/>
                    <a:pt x="978" y="100"/>
                  </a:cubicBezTo>
                  <a:cubicBezTo>
                    <a:pt x="978" y="100"/>
                    <a:pt x="978" y="100"/>
                    <a:pt x="978" y="100"/>
                  </a:cubicBezTo>
                  <a:cubicBezTo>
                    <a:pt x="979" y="101"/>
                    <a:pt x="979" y="101"/>
                    <a:pt x="979" y="101"/>
                  </a:cubicBezTo>
                  <a:cubicBezTo>
                    <a:pt x="979" y="101"/>
                    <a:pt x="979" y="101"/>
                    <a:pt x="979" y="101"/>
                  </a:cubicBezTo>
                  <a:cubicBezTo>
                    <a:pt x="980" y="101"/>
                    <a:pt x="980" y="101"/>
                    <a:pt x="980" y="101"/>
                  </a:cubicBezTo>
                  <a:cubicBezTo>
                    <a:pt x="980" y="101"/>
                    <a:pt x="980" y="101"/>
                    <a:pt x="980" y="101"/>
                  </a:cubicBezTo>
                  <a:cubicBezTo>
                    <a:pt x="980" y="101"/>
                    <a:pt x="980" y="101"/>
                    <a:pt x="980" y="101"/>
                  </a:cubicBezTo>
                  <a:cubicBezTo>
                    <a:pt x="981" y="101"/>
                    <a:pt x="981" y="101"/>
                    <a:pt x="981" y="101"/>
                  </a:cubicBezTo>
                  <a:cubicBezTo>
                    <a:pt x="981" y="101"/>
                    <a:pt x="981" y="101"/>
                    <a:pt x="982" y="102"/>
                  </a:cubicBezTo>
                  <a:cubicBezTo>
                    <a:pt x="982" y="101"/>
                    <a:pt x="982" y="101"/>
                    <a:pt x="982" y="101"/>
                  </a:cubicBezTo>
                  <a:cubicBezTo>
                    <a:pt x="982" y="102"/>
                    <a:pt x="982" y="102"/>
                    <a:pt x="983" y="102"/>
                  </a:cubicBezTo>
                  <a:cubicBezTo>
                    <a:pt x="983" y="102"/>
                    <a:pt x="983" y="102"/>
                    <a:pt x="983" y="102"/>
                  </a:cubicBezTo>
                  <a:cubicBezTo>
                    <a:pt x="983" y="102"/>
                    <a:pt x="983" y="102"/>
                    <a:pt x="983" y="102"/>
                  </a:cubicBezTo>
                  <a:cubicBezTo>
                    <a:pt x="983" y="102"/>
                    <a:pt x="984" y="102"/>
                    <a:pt x="984" y="102"/>
                  </a:cubicBezTo>
                  <a:cubicBezTo>
                    <a:pt x="985" y="102"/>
                    <a:pt x="985" y="102"/>
                    <a:pt x="985" y="102"/>
                  </a:cubicBezTo>
                  <a:cubicBezTo>
                    <a:pt x="985" y="102"/>
                    <a:pt x="985" y="102"/>
                    <a:pt x="985" y="102"/>
                  </a:cubicBezTo>
                  <a:cubicBezTo>
                    <a:pt x="985" y="103"/>
                    <a:pt x="986" y="102"/>
                    <a:pt x="986" y="103"/>
                  </a:cubicBezTo>
                  <a:cubicBezTo>
                    <a:pt x="986" y="102"/>
                    <a:pt x="986" y="102"/>
                    <a:pt x="986" y="102"/>
                  </a:cubicBezTo>
                  <a:cubicBezTo>
                    <a:pt x="986" y="103"/>
                    <a:pt x="986" y="103"/>
                    <a:pt x="986" y="103"/>
                  </a:cubicBezTo>
                  <a:cubicBezTo>
                    <a:pt x="987" y="103"/>
                    <a:pt x="988" y="103"/>
                    <a:pt x="989" y="103"/>
                  </a:cubicBezTo>
                  <a:cubicBezTo>
                    <a:pt x="989" y="103"/>
                    <a:pt x="989" y="103"/>
                    <a:pt x="989" y="103"/>
                  </a:cubicBezTo>
                  <a:cubicBezTo>
                    <a:pt x="991" y="103"/>
                    <a:pt x="992" y="103"/>
                    <a:pt x="993" y="103"/>
                  </a:cubicBezTo>
                  <a:cubicBezTo>
                    <a:pt x="995" y="103"/>
                    <a:pt x="996" y="103"/>
                    <a:pt x="997" y="103"/>
                  </a:cubicBezTo>
                  <a:cubicBezTo>
                    <a:pt x="999" y="103"/>
                    <a:pt x="1000" y="103"/>
                    <a:pt x="1002" y="103"/>
                  </a:cubicBezTo>
                  <a:cubicBezTo>
                    <a:pt x="1002" y="103"/>
                    <a:pt x="1002" y="103"/>
                    <a:pt x="1003" y="103"/>
                  </a:cubicBezTo>
                  <a:cubicBezTo>
                    <a:pt x="1004" y="102"/>
                    <a:pt x="1004" y="103"/>
                    <a:pt x="1005" y="103"/>
                  </a:cubicBezTo>
                  <a:cubicBezTo>
                    <a:pt x="1005" y="102"/>
                    <a:pt x="1005" y="102"/>
                    <a:pt x="1005" y="102"/>
                  </a:cubicBezTo>
                  <a:cubicBezTo>
                    <a:pt x="1006" y="103"/>
                    <a:pt x="1006" y="103"/>
                    <a:pt x="1006" y="103"/>
                  </a:cubicBezTo>
                  <a:cubicBezTo>
                    <a:pt x="1006" y="102"/>
                    <a:pt x="1007" y="103"/>
                    <a:pt x="1007" y="102"/>
                  </a:cubicBezTo>
                  <a:cubicBezTo>
                    <a:pt x="1007" y="102"/>
                    <a:pt x="1007" y="102"/>
                    <a:pt x="1007" y="102"/>
                  </a:cubicBezTo>
                  <a:cubicBezTo>
                    <a:pt x="1008" y="102"/>
                    <a:pt x="1008" y="102"/>
                    <a:pt x="1008" y="102"/>
                  </a:cubicBezTo>
                  <a:cubicBezTo>
                    <a:pt x="1008" y="102"/>
                    <a:pt x="1009" y="102"/>
                    <a:pt x="1009" y="102"/>
                  </a:cubicBezTo>
                  <a:cubicBezTo>
                    <a:pt x="1009" y="102"/>
                    <a:pt x="1009" y="102"/>
                    <a:pt x="1009" y="102"/>
                  </a:cubicBezTo>
                  <a:cubicBezTo>
                    <a:pt x="1009" y="102"/>
                    <a:pt x="1009" y="102"/>
                    <a:pt x="1009" y="102"/>
                  </a:cubicBezTo>
                  <a:cubicBezTo>
                    <a:pt x="1010" y="102"/>
                    <a:pt x="1010" y="102"/>
                    <a:pt x="1011" y="102"/>
                  </a:cubicBezTo>
                  <a:cubicBezTo>
                    <a:pt x="1011" y="101"/>
                    <a:pt x="1011" y="101"/>
                    <a:pt x="1011" y="101"/>
                  </a:cubicBezTo>
                  <a:cubicBezTo>
                    <a:pt x="1011" y="101"/>
                    <a:pt x="1011" y="101"/>
                    <a:pt x="1011" y="101"/>
                  </a:cubicBezTo>
                  <a:cubicBezTo>
                    <a:pt x="1011" y="101"/>
                    <a:pt x="1012" y="101"/>
                    <a:pt x="1012" y="101"/>
                  </a:cubicBezTo>
                  <a:cubicBezTo>
                    <a:pt x="1012" y="101"/>
                    <a:pt x="1012" y="101"/>
                    <a:pt x="1012" y="101"/>
                  </a:cubicBezTo>
                  <a:cubicBezTo>
                    <a:pt x="1013" y="101"/>
                    <a:pt x="1013" y="101"/>
                    <a:pt x="1013" y="101"/>
                  </a:cubicBezTo>
                  <a:cubicBezTo>
                    <a:pt x="1013" y="101"/>
                    <a:pt x="1013" y="101"/>
                    <a:pt x="1013" y="101"/>
                  </a:cubicBezTo>
                  <a:cubicBezTo>
                    <a:pt x="1013" y="101"/>
                    <a:pt x="1013" y="101"/>
                    <a:pt x="1013" y="101"/>
                  </a:cubicBezTo>
                  <a:cubicBezTo>
                    <a:pt x="1014" y="101"/>
                    <a:pt x="1014" y="101"/>
                    <a:pt x="1014" y="101"/>
                  </a:cubicBezTo>
                  <a:cubicBezTo>
                    <a:pt x="1014" y="100"/>
                    <a:pt x="1014" y="100"/>
                    <a:pt x="1014" y="100"/>
                  </a:cubicBezTo>
                  <a:cubicBezTo>
                    <a:pt x="1015" y="100"/>
                    <a:pt x="1015" y="100"/>
                    <a:pt x="1015" y="100"/>
                  </a:cubicBezTo>
                  <a:cubicBezTo>
                    <a:pt x="1015" y="100"/>
                    <a:pt x="1015" y="100"/>
                    <a:pt x="1015" y="100"/>
                  </a:cubicBezTo>
                  <a:cubicBezTo>
                    <a:pt x="1015" y="100"/>
                    <a:pt x="1015" y="100"/>
                    <a:pt x="1015" y="100"/>
                  </a:cubicBezTo>
                  <a:cubicBezTo>
                    <a:pt x="1016" y="100"/>
                    <a:pt x="1016" y="100"/>
                    <a:pt x="1016" y="100"/>
                  </a:cubicBezTo>
                  <a:cubicBezTo>
                    <a:pt x="1016" y="100"/>
                    <a:pt x="1016" y="100"/>
                    <a:pt x="1016" y="100"/>
                  </a:cubicBezTo>
                  <a:cubicBezTo>
                    <a:pt x="1016" y="100"/>
                    <a:pt x="1016" y="100"/>
                    <a:pt x="1016" y="100"/>
                  </a:cubicBezTo>
                  <a:cubicBezTo>
                    <a:pt x="1017" y="99"/>
                    <a:pt x="1017" y="100"/>
                    <a:pt x="1017" y="99"/>
                  </a:cubicBezTo>
                  <a:cubicBezTo>
                    <a:pt x="1017" y="99"/>
                    <a:pt x="1017" y="99"/>
                    <a:pt x="1017" y="99"/>
                  </a:cubicBezTo>
                  <a:cubicBezTo>
                    <a:pt x="1018" y="99"/>
                    <a:pt x="1018" y="99"/>
                    <a:pt x="1018" y="99"/>
                  </a:cubicBezTo>
                  <a:cubicBezTo>
                    <a:pt x="1018" y="99"/>
                    <a:pt x="1018" y="99"/>
                    <a:pt x="1018" y="99"/>
                  </a:cubicBezTo>
                  <a:cubicBezTo>
                    <a:pt x="1018" y="99"/>
                    <a:pt x="1019" y="99"/>
                    <a:pt x="1019" y="99"/>
                  </a:cubicBezTo>
                  <a:cubicBezTo>
                    <a:pt x="1019" y="99"/>
                    <a:pt x="1019" y="99"/>
                    <a:pt x="1019" y="99"/>
                  </a:cubicBezTo>
                  <a:cubicBezTo>
                    <a:pt x="1019" y="99"/>
                    <a:pt x="1019" y="99"/>
                    <a:pt x="1019" y="99"/>
                  </a:cubicBezTo>
                  <a:cubicBezTo>
                    <a:pt x="1019" y="99"/>
                    <a:pt x="1019" y="99"/>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0" y="98"/>
                    <a:pt x="1020" y="98"/>
                    <a:pt x="1020" y="98"/>
                  </a:cubicBezTo>
                  <a:cubicBezTo>
                    <a:pt x="1021" y="98"/>
                    <a:pt x="1021" y="98"/>
                    <a:pt x="1021" y="98"/>
                  </a:cubicBezTo>
                  <a:cubicBezTo>
                    <a:pt x="1021" y="98"/>
                    <a:pt x="1021" y="98"/>
                    <a:pt x="1021" y="98"/>
                  </a:cubicBezTo>
                  <a:cubicBezTo>
                    <a:pt x="1021" y="94"/>
                    <a:pt x="1021" y="91"/>
                    <a:pt x="1021" y="87"/>
                  </a:cubicBezTo>
                  <a:cubicBezTo>
                    <a:pt x="1021" y="87"/>
                    <a:pt x="1021" y="87"/>
                    <a:pt x="1021" y="87"/>
                  </a:cubicBezTo>
                  <a:cubicBezTo>
                    <a:pt x="1021" y="87"/>
                    <a:pt x="1021" y="87"/>
                    <a:pt x="1021" y="87"/>
                  </a:cubicBezTo>
                  <a:cubicBezTo>
                    <a:pt x="1020" y="87"/>
                    <a:pt x="1020" y="87"/>
                    <a:pt x="1020" y="87"/>
                  </a:cubicBezTo>
                  <a:cubicBezTo>
                    <a:pt x="1020" y="87"/>
                    <a:pt x="1020" y="87"/>
                    <a:pt x="1020" y="87"/>
                  </a:cubicBezTo>
                  <a:cubicBezTo>
                    <a:pt x="1020" y="87"/>
                    <a:pt x="1019" y="87"/>
                    <a:pt x="1019" y="88"/>
                  </a:cubicBezTo>
                  <a:cubicBezTo>
                    <a:pt x="1019" y="88"/>
                    <a:pt x="1019" y="88"/>
                    <a:pt x="1019" y="88"/>
                  </a:cubicBezTo>
                  <a:cubicBezTo>
                    <a:pt x="1019" y="88"/>
                    <a:pt x="1019" y="88"/>
                    <a:pt x="1019" y="88"/>
                  </a:cubicBezTo>
                  <a:cubicBezTo>
                    <a:pt x="1019" y="88"/>
                    <a:pt x="1019" y="88"/>
                    <a:pt x="1019" y="88"/>
                  </a:cubicBezTo>
                  <a:cubicBezTo>
                    <a:pt x="1018" y="88"/>
                    <a:pt x="1018" y="88"/>
                    <a:pt x="1018" y="88"/>
                  </a:cubicBezTo>
                  <a:cubicBezTo>
                    <a:pt x="1018" y="88"/>
                    <a:pt x="1018" y="88"/>
                    <a:pt x="1018" y="88"/>
                  </a:cubicBezTo>
                  <a:cubicBezTo>
                    <a:pt x="1018" y="88"/>
                    <a:pt x="1018" y="88"/>
                    <a:pt x="1018" y="88"/>
                  </a:cubicBezTo>
                  <a:cubicBezTo>
                    <a:pt x="1018" y="88"/>
                    <a:pt x="1018" y="88"/>
                    <a:pt x="1017" y="89"/>
                  </a:cubicBezTo>
                  <a:cubicBezTo>
                    <a:pt x="1017" y="89"/>
                    <a:pt x="1017" y="89"/>
                    <a:pt x="1017" y="89"/>
                  </a:cubicBezTo>
                  <a:cubicBezTo>
                    <a:pt x="1017" y="89"/>
                    <a:pt x="1017" y="89"/>
                    <a:pt x="1017" y="89"/>
                  </a:cubicBezTo>
                  <a:cubicBezTo>
                    <a:pt x="1017" y="89"/>
                    <a:pt x="1017" y="89"/>
                    <a:pt x="1016" y="89"/>
                  </a:cubicBezTo>
                  <a:cubicBezTo>
                    <a:pt x="1016" y="89"/>
                    <a:pt x="1016" y="89"/>
                    <a:pt x="1016" y="89"/>
                  </a:cubicBezTo>
                  <a:cubicBezTo>
                    <a:pt x="1016" y="89"/>
                    <a:pt x="1016" y="89"/>
                    <a:pt x="1016" y="89"/>
                  </a:cubicBezTo>
                  <a:cubicBezTo>
                    <a:pt x="1016" y="89"/>
                    <a:pt x="1016" y="89"/>
                    <a:pt x="1016" y="89"/>
                  </a:cubicBezTo>
                  <a:cubicBezTo>
                    <a:pt x="1016" y="90"/>
                    <a:pt x="1015" y="89"/>
                    <a:pt x="1015" y="90"/>
                  </a:cubicBezTo>
                  <a:cubicBezTo>
                    <a:pt x="1015" y="90"/>
                    <a:pt x="1015" y="90"/>
                    <a:pt x="1015" y="90"/>
                  </a:cubicBezTo>
                  <a:cubicBezTo>
                    <a:pt x="1015" y="90"/>
                    <a:pt x="1014" y="90"/>
                    <a:pt x="1014" y="90"/>
                  </a:cubicBezTo>
                  <a:cubicBezTo>
                    <a:pt x="1014" y="90"/>
                    <a:pt x="1014" y="90"/>
                    <a:pt x="1014" y="90"/>
                  </a:cubicBezTo>
                  <a:cubicBezTo>
                    <a:pt x="1014" y="90"/>
                    <a:pt x="1013" y="90"/>
                    <a:pt x="1013" y="90"/>
                  </a:cubicBezTo>
                  <a:cubicBezTo>
                    <a:pt x="1013" y="90"/>
                    <a:pt x="1013" y="90"/>
                    <a:pt x="1013" y="90"/>
                  </a:cubicBezTo>
                  <a:cubicBezTo>
                    <a:pt x="1013" y="91"/>
                    <a:pt x="1012" y="91"/>
                    <a:pt x="1012" y="91"/>
                  </a:cubicBezTo>
                  <a:cubicBezTo>
                    <a:pt x="1012" y="91"/>
                    <a:pt x="1012" y="91"/>
                    <a:pt x="1012" y="91"/>
                  </a:cubicBezTo>
                  <a:cubicBezTo>
                    <a:pt x="1012" y="91"/>
                    <a:pt x="1011" y="91"/>
                    <a:pt x="1011" y="91"/>
                  </a:cubicBezTo>
                  <a:cubicBezTo>
                    <a:pt x="1011" y="91"/>
                    <a:pt x="1011" y="91"/>
                    <a:pt x="1011" y="91"/>
                  </a:cubicBezTo>
                  <a:cubicBezTo>
                    <a:pt x="1011" y="91"/>
                    <a:pt x="1010" y="91"/>
                    <a:pt x="1010" y="91"/>
                  </a:cubicBezTo>
                  <a:cubicBezTo>
                    <a:pt x="1010" y="92"/>
                    <a:pt x="1010" y="92"/>
                    <a:pt x="1010" y="91"/>
                  </a:cubicBezTo>
                  <a:cubicBezTo>
                    <a:pt x="1009" y="92"/>
                    <a:pt x="1009" y="91"/>
                    <a:pt x="1008" y="92"/>
                  </a:cubicBezTo>
                  <a:cubicBezTo>
                    <a:pt x="1008" y="92"/>
                    <a:pt x="1008" y="92"/>
                    <a:pt x="1008" y="92"/>
                  </a:cubicBezTo>
                  <a:cubicBezTo>
                    <a:pt x="1008" y="92"/>
                    <a:pt x="1007" y="92"/>
                    <a:pt x="1007" y="92"/>
                  </a:cubicBezTo>
                  <a:cubicBezTo>
                    <a:pt x="1007" y="92"/>
                    <a:pt x="1006" y="92"/>
                    <a:pt x="1006" y="92"/>
                  </a:cubicBezTo>
                  <a:cubicBezTo>
                    <a:pt x="1006" y="92"/>
                    <a:pt x="1005" y="92"/>
                    <a:pt x="1005" y="92"/>
                  </a:cubicBezTo>
                  <a:cubicBezTo>
                    <a:pt x="1004" y="93"/>
                    <a:pt x="1004" y="93"/>
                    <a:pt x="1004" y="92"/>
                  </a:cubicBezTo>
                  <a:cubicBezTo>
                    <a:pt x="1003" y="93"/>
                    <a:pt x="1003" y="92"/>
                    <a:pt x="1002" y="93"/>
                  </a:cubicBezTo>
                  <a:cubicBezTo>
                    <a:pt x="1001" y="93"/>
                    <a:pt x="1001" y="93"/>
                    <a:pt x="1001" y="93"/>
                  </a:cubicBezTo>
                  <a:cubicBezTo>
                    <a:pt x="998" y="93"/>
                    <a:pt x="996" y="93"/>
                    <a:pt x="993" y="93"/>
                  </a:cubicBezTo>
                  <a:cubicBezTo>
                    <a:pt x="993" y="93"/>
                    <a:pt x="993" y="93"/>
                    <a:pt x="992" y="93"/>
                  </a:cubicBezTo>
                  <a:cubicBezTo>
                    <a:pt x="992" y="92"/>
                    <a:pt x="991" y="93"/>
                    <a:pt x="990" y="92"/>
                  </a:cubicBezTo>
                  <a:cubicBezTo>
                    <a:pt x="990" y="93"/>
                    <a:pt x="990" y="93"/>
                    <a:pt x="990" y="93"/>
                  </a:cubicBezTo>
                  <a:cubicBezTo>
                    <a:pt x="990" y="92"/>
                    <a:pt x="990" y="92"/>
                    <a:pt x="990" y="92"/>
                  </a:cubicBezTo>
                  <a:cubicBezTo>
                    <a:pt x="989" y="92"/>
                    <a:pt x="989" y="92"/>
                    <a:pt x="988" y="92"/>
                  </a:cubicBezTo>
                  <a:cubicBezTo>
                    <a:pt x="988" y="92"/>
                    <a:pt x="988" y="92"/>
                    <a:pt x="988" y="92"/>
                  </a:cubicBezTo>
                  <a:cubicBezTo>
                    <a:pt x="988" y="92"/>
                    <a:pt x="988" y="92"/>
                    <a:pt x="988" y="92"/>
                  </a:cubicBezTo>
                  <a:cubicBezTo>
                    <a:pt x="988" y="92"/>
                    <a:pt x="987" y="92"/>
                    <a:pt x="987" y="92"/>
                  </a:cubicBezTo>
                  <a:cubicBezTo>
                    <a:pt x="987" y="92"/>
                    <a:pt x="987" y="92"/>
                    <a:pt x="987" y="92"/>
                  </a:cubicBezTo>
                  <a:cubicBezTo>
                    <a:pt x="986" y="91"/>
                    <a:pt x="986" y="92"/>
                    <a:pt x="986" y="91"/>
                  </a:cubicBezTo>
                  <a:cubicBezTo>
                    <a:pt x="986" y="92"/>
                    <a:pt x="985" y="91"/>
                    <a:pt x="985" y="91"/>
                  </a:cubicBezTo>
                  <a:cubicBezTo>
                    <a:pt x="985" y="91"/>
                    <a:pt x="985" y="91"/>
                    <a:pt x="985" y="91"/>
                  </a:cubicBezTo>
                  <a:cubicBezTo>
                    <a:pt x="985" y="91"/>
                    <a:pt x="984" y="91"/>
                    <a:pt x="984" y="91"/>
                  </a:cubicBezTo>
                  <a:cubicBezTo>
                    <a:pt x="984" y="91"/>
                    <a:pt x="984" y="91"/>
                    <a:pt x="984" y="91"/>
                  </a:cubicBezTo>
                  <a:cubicBezTo>
                    <a:pt x="984" y="91"/>
                    <a:pt x="984" y="91"/>
                    <a:pt x="984" y="91"/>
                  </a:cubicBezTo>
                  <a:cubicBezTo>
                    <a:pt x="983" y="91"/>
                    <a:pt x="983" y="91"/>
                    <a:pt x="983" y="90"/>
                  </a:cubicBezTo>
                  <a:cubicBezTo>
                    <a:pt x="983" y="90"/>
                    <a:pt x="983" y="90"/>
                    <a:pt x="983" y="90"/>
                  </a:cubicBezTo>
                  <a:cubicBezTo>
                    <a:pt x="983" y="90"/>
                    <a:pt x="983" y="90"/>
                    <a:pt x="983" y="90"/>
                  </a:cubicBezTo>
                  <a:cubicBezTo>
                    <a:pt x="982" y="90"/>
                    <a:pt x="982" y="90"/>
                    <a:pt x="982" y="90"/>
                  </a:cubicBezTo>
                  <a:cubicBezTo>
                    <a:pt x="982" y="90"/>
                    <a:pt x="982" y="90"/>
                    <a:pt x="982" y="90"/>
                  </a:cubicBezTo>
                  <a:cubicBezTo>
                    <a:pt x="982" y="90"/>
                    <a:pt x="981" y="90"/>
                    <a:pt x="981" y="90"/>
                  </a:cubicBezTo>
                  <a:cubicBezTo>
                    <a:pt x="981" y="90"/>
                    <a:pt x="981" y="90"/>
                    <a:pt x="981" y="90"/>
                  </a:cubicBezTo>
                  <a:cubicBezTo>
                    <a:pt x="981" y="89"/>
                    <a:pt x="981" y="90"/>
                    <a:pt x="981" y="89"/>
                  </a:cubicBezTo>
                  <a:cubicBezTo>
                    <a:pt x="981" y="89"/>
                    <a:pt x="981" y="89"/>
                    <a:pt x="981" y="89"/>
                  </a:cubicBezTo>
                  <a:cubicBezTo>
                    <a:pt x="980" y="89"/>
                    <a:pt x="980" y="89"/>
                    <a:pt x="980" y="89"/>
                  </a:cubicBezTo>
                  <a:cubicBezTo>
                    <a:pt x="980" y="89"/>
                    <a:pt x="980" y="89"/>
                    <a:pt x="980" y="89"/>
                  </a:cubicBezTo>
                  <a:cubicBezTo>
                    <a:pt x="980" y="89"/>
                    <a:pt x="979" y="89"/>
                    <a:pt x="979" y="89"/>
                  </a:cubicBezTo>
                  <a:cubicBezTo>
                    <a:pt x="979" y="89"/>
                    <a:pt x="979" y="89"/>
                    <a:pt x="979" y="89"/>
                  </a:cubicBezTo>
                  <a:cubicBezTo>
                    <a:pt x="979" y="88"/>
                    <a:pt x="979" y="88"/>
                    <a:pt x="979" y="88"/>
                  </a:cubicBezTo>
                  <a:cubicBezTo>
                    <a:pt x="979" y="88"/>
                    <a:pt x="979" y="88"/>
                    <a:pt x="979" y="88"/>
                  </a:cubicBezTo>
                  <a:cubicBezTo>
                    <a:pt x="978" y="88"/>
                    <a:pt x="978" y="88"/>
                    <a:pt x="978" y="88"/>
                  </a:cubicBezTo>
                  <a:cubicBezTo>
                    <a:pt x="978" y="88"/>
                    <a:pt x="978" y="88"/>
                    <a:pt x="978" y="88"/>
                  </a:cubicBezTo>
                  <a:cubicBezTo>
                    <a:pt x="978" y="88"/>
                    <a:pt x="978" y="88"/>
                    <a:pt x="978" y="88"/>
                  </a:cubicBezTo>
                  <a:cubicBezTo>
                    <a:pt x="978" y="88"/>
                    <a:pt x="978" y="88"/>
                    <a:pt x="977" y="88"/>
                  </a:cubicBezTo>
                  <a:cubicBezTo>
                    <a:pt x="977" y="88"/>
                    <a:pt x="977" y="88"/>
                    <a:pt x="977" y="88"/>
                  </a:cubicBezTo>
                  <a:cubicBezTo>
                    <a:pt x="977" y="87"/>
                    <a:pt x="977" y="87"/>
                    <a:pt x="977" y="87"/>
                  </a:cubicBezTo>
                  <a:cubicBezTo>
                    <a:pt x="977" y="87"/>
                    <a:pt x="977" y="87"/>
                    <a:pt x="977" y="87"/>
                  </a:cubicBezTo>
                  <a:cubicBezTo>
                    <a:pt x="977" y="87"/>
                    <a:pt x="977" y="87"/>
                    <a:pt x="976" y="87"/>
                  </a:cubicBezTo>
                  <a:cubicBezTo>
                    <a:pt x="976" y="87"/>
                    <a:pt x="976" y="87"/>
                    <a:pt x="976" y="87"/>
                  </a:cubicBezTo>
                  <a:cubicBezTo>
                    <a:pt x="976" y="87"/>
                    <a:pt x="976" y="87"/>
                    <a:pt x="976" y="87"/>
                  </a:cubicBezTo>
                  <a:cubicBezTo>
                    <a:pt x="976" y="87"/>
                    <a:pt x="976" y="87"/>
                    <a:pt x="976" y="87"/>
                  </a:cubicBezTo>
                  <a:cubicBezTo>
                    <a:pt x="976" y="86"/>
                    <a:pt x="976" y="86"/>
                    <a:pt x="976" y="86"/>
                  </a:cubicBezTo>
                  <a:cubicBezTo>
                    <a:pt x="976" y="86"/>
                    <a:pt x="976" y="86"/>
                    <a:pt x="976" y="86"/>
                  </a:cubicBezTo>
                  <a:cubicBezTo>
                    <a:pt x="975" y="86"/>
                    <a:pt x="975" y="86"/>
                    <a:pt x="975" y="85"/>
                  </a:cubicBezTo>
                  <a:cubicBezTo>
                    <a:pt x="975" y="85"/>
                    <a:pt x="975" y="85"/>
                    <a:pt x="975" y="85"/>
                  </a:cubicBezTo>
                  <a:cubicBezTo>
                    <a:pt x="975" y="85"/>
                    <a:pt x="974" y="85"/>
                    <a:pt x="974" y="85"/>
                  </a:cubicBezTo>
                  <a:cubicBezTo>
                    <a:pt x="974" y="85"/>
                    <a:pt x="974" y="85"/>
                    <a:pt x="974" y="85"/>
                  </a:cubicBezTo>
                  <a:cubicBezTo>
                    <a:pt x="974" y="85"/>
                    <a:pt x="974" y="85"/>
                    <a:pt x="974" y="85"/>
                  </a:cubicBezTo>
                  <a:cubicBezTo>
                    <a:pt x="974" y="85"/>
                    <a:pt x="974" y="85"/>
                    <a:pt x="974" y="85"/>
                  </a:cubicBezTo>
                  <a:cubicBezTo>
                    <a:pt x="974" y="85"/>
                    <a:pt x="974" y="85"/>
                    <a:pt x="974" y="84"/>
                  </a:cubicBezTo>
                  <a:cubicBezTo>
                    <a:pt x="974" y="85"/>
                    <a:pt x="974" y="85"/>
                    <a:pt x="974" y="85"/>
                  </a:cubicBezTo>
                  <a:cubicBezTo>
                    <a:pt x="973" y="84"/>
                    <a:pt x="973" y="84"/>
                    <a:pt x="973" y="84"/>
                  </a:cubicBezTo>
                  <a:cubicBezTo>
                    <a:pt x="973" y="84"/>
                    <a:pt x="973" y="84"/>
                    <a:pt x="973" y="84"/>
                  </a:cubicBezTo>
                  <a:cubicBezTo>
                    <a:pt x="973" y="84"/>
                    <a:pt x="973" y="84"/>
                    <a:pt x="973" y="84"/>
                  </a:cubicBezTo>
                  <a:cubicBezTo>
                    <a:pt x="973" y="84"/>
                    <a:pt x="973" y="84"/>
                    <a:pt x="973" y="84"/>
                  </a:cubicBezTo>
                  <a:cubicBezTo>
                    <a:pt x="973" y="84"/>
                    <a:pt x="973" y="84"/>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3"/>
                    <a:pt x="972" y="83"/>
                  </a:cubicBezTo>
                  <a:cubicBezTo>
                    <a:pt x="972" y="83"/>
                    <a:pt x="972" y="82"/>
                    <a:pt x="971" y="82"/>
                  </a:cubicBezTo>
                  <a:cubicBezTo>
                    <a:pt x="971" y="82"/>
                    <a:pt x="971" y="82"/>
                    <a:pt x="971" y="82"/>
                  </a:cubicBezTo>
                  <a:cubicBezTo>
                    <a:pt x="971" y="82"/>
                    <a:pt x="971" y="82"/>
                    <a:pt x="971" y="82"/>
                  </a:cubicBezTo>
                  <a:cubicBezTo>
                    <a:pt x="971" y="82"/>
                    <a:pt x="971" y="82"/>
                    <a:pt x="971" y="82"/>
                  </a:cubicBezTo>
                  <a:cubicBezTo>
                    <a:pt x="971" y="82"/>
                    <a:pt x="971" y="81"/>
                    <a:pt x="970" y="81"/>
                  </a:cubicBezTo>
                  <a:cubicBezTo>
                    <a:pt x="970" y="81"/>
                    <a:pt x="970" y="81"/>
                    <a:pt x="970" y="81"/>
                  </a:cubicBezTo>
                  <a:cubicBezTo>
                    <a:pt x="970" y="81"/>
                    <a:pt x="970" y="81"/>
                    <a:pt x="970" y="81"/>
                  </a:cubicBezTo>
                  <a:cubicBezTo>
                    <a:pt x="970" y="81"/>
                    <a:pt x="970" y="81"/>
                    <a:pt x="970" y="81"/>
                  </a:cubicBezTo>
                  <a:cubicBezTo>
                    <a:pt x="970" y="81"/>
                    <a:pt x="970" y="80"/>
                    <a:pt x="970" y="80"/>
                  </a:cubicBezTo>
                  <a:cubicBezTo>
                    <a:pt x="970" y="80"/>
                    <a:pt x="970" y="80"/>
                    <a:pt x="970" y="80"/>
                  </a:cubicBezTo>
                  <a:cubicBezTo>
                    <a:pt x="970" y="80"/>
                    <a:pt x="970" y="80"/>
                    <a:pt x="969" y="80"/>
                  </a:cubicBezTo>
                  <a:cubicBezTo>
                    <a:pt x="969" y="80"/>
                    <a:pt x="969" y="80"/>
                    <a:pt x="969" y="80"/>
                  </a:cubicBezTo>
                  <a:cubicBezTo>
                    <a:pt x="969" y="79"/>
                    <a:pt x="969" y="79"/>
                    <a:pt x="969" y="79"/>
                  </a:cubicBezTo>
                  <a:cubicBezTo>
                    <a:pt x="969" y="79"/>
                    <a:pt x="969" y="79"/>
                    <a:pt x="969" y="79"/>
                  </a:cubicBezTo>
                  <a:cubicBezTo>
                    <a:pt x="969" y="79"/>
                    <a:pt x="969" y="79"/>
                    <a:pt x="969" y="79"/>
                  </a:cubicBezTo>
                  <a:cubicBezTo>
                    <a:pt x="969" y="79"/>
                    <a:pt x="969" y="79"/>
                    <a:pt x="969" y="79"/>
                  </a:cubicBezTo>
                  <a:cubicBezTo>
                    <a:pt x="969" y="78"/>
                    <a:pt x="968" y="78"/>
                    <a:pt x="968" y="78"/>
                  </a:cubicBezTo>
                  <a:cubicBezTo>
                    <a:pt x="968" y="78"/>
                    <a:pt x="968" y="78"/>
                    <a:pt x="968" y="78"/>
                  </a:cubicBezTo>
                  <a:cubicBezTo>
                    <a:pt x="968" y="78"/>
                    <a:pt x="968" y="78"/>
                    <a:pt x="968" y="78"/>
                  </a:cubicBezTo>
                  <a:cubicBezTo>
                    <a:pt x="968" y="78"/>
                    <a:pt x="968" y="78"/>
                    <a:pt x="968" y="78"/>
                  </a:cubicBezTo>
                  <a:cubicBezTo>
                    <a:pt x="968" y="77"/>
                    <a:pt x="968" y="77"/>
                    <a:pt x="968" y="77"/>
                  </a:cubicBezTo>
                  <a:cubicBezTo>
                    <a:pt x="968" y="77"/>
                    <a:pt x="968" y="77"/>
                    <a:pt x="968" y="77"/>
                  </a:cubicBezTo>
                  <a:cubicBezTo>
                    <a:pt x="968" y="77"/>
                    <a:pt x="967" y="77"/>
                    <a:pt x="967" y="76"/>
                  </a:cubicBezTo>
                  <a:cubicBezTo>
                    <a:pt x="967" y="76"/>
                    <a:pt x="967" y="76"/>
                    <a:pt x="967" y="76"/>
                  </a:cubicBezTo>
                  <a:cubicBezTo>
                    <a:pt x="967" y="76"/>
                    <a:pt x="967" y="76"/>
                    <a:pt x="967" y="76"/>
                  </a:cubicBezTo>
                  <a:cubicBezTo>
                    <a:pt x="967" y="76"/>
                    <a:pt x="967" y="76"/>
                    <a:pt x="967" y="76"/>
                  </a:cubicBezTo>
                  <a:cubicBezTo>
                    <a:pt x="967" y="76"/>
                    <a:pt x="967" y="75"/>
                    <a:pt x="967" y="75"/>
                  </a:cubicBezTo>
                  <a:cubicBezTo>
                    <a:pt x="967" y="75"/>
                    <a:pt x="967" y="75"/>
                    <a:pt x="967" y="75"/>
                  </a:cubicBezTo>
                  <a:cubicBezTo>
                    <a:pt x="966" y="75"/>
                    <a:pt x="966" y="75"/>
                    <a:pt x="966" y="74"/>
                  </a:cubicBezTo>
                  <a:cubicBezTo>
                    <a:pt x="966" y="74"/>
                    <a:pt x="966" y="74"/>
                    <a:pt x="966" y="74"/>
                  </a:cubicBezTo>
                  <a:cubicBezTo>
                    <a:pt x="966" y="74"/>
                    <a:pt x="966" y="74"/>
                    <a:pt x="966" y="74"/>
                  </a:cubicBezTo>
                  <a:cubicBezTo>
                    <a:pt x="966" y="74"/>
                    <a:pt x="966" y="74"/>
                    <a:pt x="966" y="73"/>
                  </a:cubicBezTo>
                  <a:cubicBezTo>
                    <a:pt x="966" y="73"/>
                    <a:pt x="966" y="73"/>
                    <a:pt x="966" y="73"/>
                  </a:cubicBezTo>
                  <a:cubicBezTo>
                    <a:pt x="966" y="73"/>
                    <a:pt x="966" y="73"/>
                    <a:pt x="966" y="73"/>
                  </a:cubicBezTo>
                  <a:cubicBezTo>
                    <a:pt x="966" y="73"/>
                    <a:pt x="966" y="73"/>
                    <a:pt x="966" y="73"/>
                  </a:cubicBezTo>
                  <a:cubicBezTo>
                    <a:pt x="965" y="72"/>
                    <a:pt x="965" y="72"/>
                    <a:pt x="965" y="72"/>
                  </a:cubicBezTo>
                  <a:cubicBezTo>
                    <a:pt x="965" y="72"/>
                    <a:pt x="965" y="72"/>
                    <a:pt x="965" y="72"/>
                  </a:cubicBezTo>
                  <a:cubicBezTo>
                    <a:pt x="965" y="71"/>
                    <a:pt x="965" y="71"/>
                    <a:pt x="965" y="71"/>
                  </a:cubicBezTo>
                  <a:cubicBezTo>
                    <a:pt x="965" y="71"/>
                    <a:pt x="965" y="71"/>
                    <a:pt x="965" y="71"/>
                  </a:cubicBezTo>
                  <a:cubicBezTo>
                    <a:pt x="965" y="71"/>
                    <a:pt x="965" y="71"/>
                    <a:pt x="965" y="71"/>
                  </a:cubicBezTo>
                  <a:cubicBezTo>
                    <a:pt x="965" y="70"/>
                    <a:pt x="965" y="70"/>
                    <a:pt x="965" y="70"/>
                  </a:cubicBezTo>
                  <a:cubicBezTo>
                    <a:pt x="964" y="70"/>
                    <a:pt x="964" y="70"/>
                    <a:pt x="964" y="70"/>
                  </a:cubicBezTo>
                  <a:cubicBezTo>
                    <a:pt x="964" y="70"/>
                    <a:pt x="964" y="70"/>
                    <a:pt x="964" y="70"/>
                  </a:cubicBezTo>
                  <a:cubicBezTo>
                    <a:pt x="964" y="69"/>
                    <a:pt x="964" y="69"/>
                    <a:pt x="964" y="69"/>
                  </a:cubicBezTo>
                  <a:cubicBezTo>
                    <a:pt x="964" y="69"/>
                    <a:pt x="964" y="69"/>
                    <a:pt x="964" y="69"/>
                  </a:cubicBezTo>
                  <a:cubicBezTo>
                    <a:pt x="964" y="68"/>
                    <a:pt x="964" y="68"/>
                    <a:pt x="964" y="67"/>
                  </a:cubicBezTo>
                  <a:cubicBezTo>
                    <a:pt x="964" y="67"/>
                    <a:pt x="964" y="67"/>
                    <a:pt x="964" y="67"/>
                  </a:cubicBezTo>
                  <a:cubicBezTo>
                    <a:pt x="964" y="67"/>
                    <a:pt x="964" y="66"/>
                    <a:pt x="964" y="66"/>
                  </a:cubicBezTo>
                  <a:cubicBezTo>
                    <a:pt x="963" y="66"/>
                    <a:pt x="963" y="66"/>
                    <a:pt x="963" y="66"/>
                  </a:cubicBezTo>
                  <a:cubicBezTo>
                    <a:pt x="963" y="65"/>
                    <a:pt x="964" y="64"/>
                    <a:pt x="963" y="64"/>
                  </a:cubicBezTo>
                  <a:cubicBezTo>
                    <a:pt x="963" y="64"/>
                    <a:pt x="963" y="64"/>
                    <a:pt x="963" y="64"/>
                  </a:cubicBezTo>
                  <a:cubicBezTo>
                    <a:pt x="963" y="64"/>
                    <a:pt x="963" y="64"/>
                    <a:pt x="963" y="64"/>
                  </a:cubicBezTo>
                  <a:cubicBezTo>
                    <a:pt x="963" y="63"/>
                    <a:pt x="963" y="62"/>
                    <a:pt x="963" y="62"/>
                  </a:cubicBezTo>
                  <a:cubicBezTo>
                    <a:pt x="963" y="62"/>
                    <a:pt x="963" y="61"/>
                    <a:pt x="963" y="61"/>
                  </a:cubicBezTo>
                  <a:cubicBezTo>
                    <a:pt x="962" y="60"/>
                    <a:pt x="963" y="58"/>
                    <a:pt x="962" y="57"/>
                  </a:cubicBezTo>
                  <a:cubicBezTo>
                    <a:pt x="962" y="56"/>
                    <a:pt x="962" y="55"/>
                    <a:pt x="962" y="55"/>
                  </a:cubicBezTo>
                  <a:cubicBezTo>
                    <a:pt x="963" y="53"/>
                    <a:pt x="962" y="52"/>
                    <a:pt x="963" y="50"/>
                  </a:cubicBezTo>
                  <a:cubicBezTo>
                    <a:pt x="963" y="50"/>
                    <a:pt x="963" y="50"/>
                    <a:pt x="963" y="49"/>
                  </a:cubicBezTo>
                  <a:cubicBezTo>
                    <a:pt x="963" y="49"/>
                    <a:pt x="963" y="48"/>
                    <a:pt x="963" y="47"/>
                  </a:cubicBezTo>
                  <a:cubicBezTo>
                    <a:pt x="963" y="47"/>
                    <a:pt x="963" y="47"/>
                    <a:pt x="963" y="47"/>
                  </a:cubicBezTo>
                  <a:cubicBezTo>
                    <a:pt x="963" y="46"/>
                    <a:pt x="963" y="46"/>
                    <a:pt x="963" y="45"/>
                  </a:cubicBezTo>
                  <a:cubicBezTo>
                    <a:pt x="963" y="45"/>
                    <a:pt x="963" y="45"/>
                    <a:pt x="963" y="45"/>
                  </a:cubicBezTo>
                  <a:cubicBezTo>
                    <a:pt x="963" y="45"/>
                    <a:pt x="963" y="45"/>
                    <a:pt x="963" y="45"/>
                  </a:cubicBezTo>
                  <a:cubicBezTo>
                    <a:pt x="964" y="45"/>
                    <a:pt x="963" y="44"/>
                    <a:pt x="964" y="44"/>
                  </a:cubicBezTo>
                  <a:cubicBezTo>
                    <a:pt x="964" y="44"/>
                    <a:pt x="964" y="43"/>
                    <a:pt x="964" y="43"/>
                  </a:cubicBezTo>
                  <a:cubicBezTo>
                    <a:pt x="964" y="43"/>
                    <a:pt x="964" y="43"/>
                    <a:pt x="964" y="42"/>
                  </a:cubicBezTo>
                  <a:cubicBezTo>
                    <a:pt x="964" y="42"/>
                    <a:pt x="964" y="42"/>
                    <a:pt x="964" y="42"/>
                  </a:cubicBezTo>
                  <a:cubicBezTo>
                    <a:pt x="964" y="42"/>
                    <a:pt x="964" y="42"/>
                    <a:pt x="964" y="41"/>
                  </a:cubicBezTo>
                  <a:cubicBezTo>
                    <a:pt x="964" y="41"/>
                    <a:pt x="964" y="41"/>
                    <a:pt x="964" y="41"/>
                  </a:cubicBezTo>
                  <a:cubicBezTo>
                    <a:pt x="965" y="41"/>
                    <a:pt x="965" y="41"/>
                    <a:pt x="965" y="41"/>
                  </a:cubicBezTo>
                  <a:cubicBezTo>
                    <a:pt x="965" y="41"/>
                    <a:pt x="965" y="40"/>
                    <a:pt x="965" y="40"/>
                  </a:cubicBezTo>
                  <a:cubicBezTo>
                    <a:pt x="965" y="40"/>
                    <a:pt x="965" y="40"/>
                    <a:pt x="965" y="40"/>
                  </a:cubicBezTo>
                  <a:cubicBezTo>
                    <a:pt x="965" y="40"/>
                    <a:pt x="965" y="40"/>
                    <a:pt x="965" y="40"/>
                  </a:cubicBezTo>
                  <a:cubicBezTo>
                    <a:pt x="965" y="40"/>
                    <a:pt x="965" y="39"/>
                    <a:pt x="965" y="39"/>
                  </a:cubicBezTo>
                  <a:cubicBezTo>
                    <a:pt x="965" y="39"/>
                    <a:pt x="965" y="39"/>
                    <a:pt x="965" y="39"/>
                  </a:cubicBezTo>
                  <a:cubicBezTo>
                    <a:pt x="965" y="39"/>
                    <a:pt x="965" y="39"/>
                    <a:pt x="965" y="39"/>
                  </a:cubicBezTo>
                  <a:cubicBezTo>
                    <a:pt x="965" y="39"/>
                    <a:pt x="965" y="38"/>
                    <a:pt x="966" y="38"/>
                  </a:cubicBezTo>
                  <a:cubicBezTo>
                    <a:pt x="966" y="38"/>
                    <a:pt x="966" y="38"/>
                    <a:pt x="966" y="38"/>
                  </a:cubicBezTo>
                  <a:cubicBezTo>
                    <a:pt x="966" y="38"/>
                    <a:pt x="966" y="38"/>
                    <a:pt x="966" y="37"/>
                  </a:cubicBezTo>
                  <a:cubicBezTo>
                    <a:pt x="966" y="37"/>
                    <a:pt x="966" y="37"/>
                    <a:pt x="966" y="37"/>
                  </a:cubicBezTo>
                  <a:cubicBezTo>
                    <a:pt x="966" y="37"/>
                    <a:pt x="966" y="37"/>
                    <a:pt x="966" y="37"/>
                  </a:cubicBezTo>
                  <a:cubicBezTo>
                    <a:pt x="966" y="37"/>
                    <a:pt x="966" y="37"/>
                    <a:pt x="966" y="36"/>
                  </a:cubicBezTo>
                  <a:cubicBezTo>
                    <a:pt x="966" y="36"/>
                    <a:pt x="966" y="36"/>
                    <a:pt x="966" y="36"/>
                  </a:cubicBezTo>
                  <a:cubicBezTo>
                    <a:pt x="966" y="36"/>
                    <a:pt x="966" y="36"/>
                    <a:pt x="967" y="36"/>
                  </a:cubicBezTo>
                  <a:cubicBezTo>
                    <a:pt x="967" y="36"/>
                    <a:pt x="967" y="36"/>
                    <a:pt x="967" y="36"/>
                  </a:cubicBezTo>
                  <a:cubicBezTo>
                    <a:pt x="967" y="36"/>
                    <a:pt x="967" y="35"/>
                    <a:pt x="967" y="35"/>
                  </a:cubicBezTo>
                  <a:cubicBezTo>
                    <a:pt x="967" y="35"/>
                    <a:pt x="967" y="35"/>
                    <a:pt x="967" y="35"/>
                  </a:cubicBezTo>
                  <a:cubicBezTo>
                    <a:pt x="967" y="35"/>
                    <a:pt x="967" y="35"/>
                    <a:pt x="967" y="34"/>
                  </a:cubicBezTo>
                  <a:cubicBezTo>
                    <a:pt x="967" y="34"/>
                    <a:pt x="967" y="34"/>
                    <a:pt x="967" y="34"/>
                  </a:cubicBezTo>
                  <a:cubicBezTo>
                    <a:pt x="968" y="34"/>
                    <a:pt x="967" y="34"/>
                    <a:pt x="968" y="34"/>
                  </a:cubicBezTo>
                  <a:cubicBezTo>
                    <a:pt x="968" y="34"/>
                    <a:pt x="968" y="34"/>
                    <a:pt x="968" y="34"/>
                  </a:cubicBezTo>
                  <a:cubicBezTo>
                    <a:pt x="968" y="33"/>
                    <a:pt x="968" y="33"/>
                    <a:pt x="968" y="33"/>
                  </a:cubicBezTo>
                  <a:cubicBezTo>
                    <a:pt x="968" y="33"/>
                    <a:pt x="968" y="33"/>
                    <a:pt x="968" y="33"/>
                  </a:cubicBezTo>
                  <a:cubicBezTo>
                    <a:pt x="968" y="33"/>
                    <a:pt x="968" y="32"/>
                    <a:pt x="968" y="32"/>
                  </a:cubicBezTo>
                  <a:cubicBezTo>
                    <a:pt x="968" y="32"/>
                    <a:pt x="968" y="32"/>
                    <a:pt x="968" y="32"/>
                  </a:cubicBezTo>
                  <a:cubicBezTo>
                    <a:pt x="968" y="32"/>
                    <a:pt x="969" y="32"/>
                    <a:pt x="969" y="32"/>
                  </a:cubicBezTo>
                  <a:cubicBezTo>
                    <a:pt x="969" y="32"/>
                    <a:pt x="969" y="32"/>
                    <a:pt x="969" y="32"/>
                  </a:cubicBezTo>
                  <a:cubicBezTo>
                    <a:pt x="969" y="32"/>
                    <a:pt x="969" y="31"/>
                    <a:pt x="969" y="31"/>
                  </a:cubicBezTo>
                  <a:cubicBezTo>
                    <a:pt x="969" y="31"/>
                    <a:pt x="969" y="31"/>
                    <a:pt x="969" y="31"/>
                  </a:cubicBezTo>
                  <a:cubicBezTo>
                    <a:pt x="969" y="31"/>
                    <a:pt x="969" y="31"/>
                    <a:pt x="969" y="31"/>
                  </a:cubicBezTo>
                  <a:cubicBezTo>
                    <a:pt x="969" y="31"/>
                    <a:pt x="969" y="31"/>
                    <a:pt x="969" y="31"/>
                  </a:cubicBezTo>
                  <a:cubicBezTo>
                    <a:pt x="970" y="31"/>
                    <a:pt x="970" y="30"/>
                    <a:pt x="970" y="30"/>
                  </a:cubicBezTo>
                  <a:cubicBezTo>
                    <a:pt x="970" y="30"/>
                    <a:pt x="970" y="30"/>
                    <a:pt x="970" y="30"/>
                  </a:cubicBezTo>
                  <a:cubicBezTo>
                    <a:pt x="970" y="30"/>
                    <a:pt x="970" y="30"/>
                    <a:pt x="970" y="30"/>
                  </a:cubicBezTo>
                  <a:cubicBezTo>
                    <a:pt x="970" y="30"/>
                    <a:pt x="970" y="30"/>
                    <a:pt x="970" y="30"/>
                  </a:cubicBezTo>
                  <a:cubicBezTo>
                    <a:pt x="970" y="30"/>
                    <a:pt x="971" y="29"/>
                    <a:pt x="971" y="29"/>
                  </a:cubicBezTo>
                  <a:cubicBezTo>
                    <a:pt x="971" y="29"/>
                    <a:pt x="971" y="29"/>
                    <a:pt x="971" y="29"/>
                  </a:cubicBezTo>
                  <a:cubicBezTo>
                    <a:pt x="971" y="29"/>
                    <a:pt x="971" y="29"/>
                    <a:pt x="971" y="28"/>
                  </a:cubicBezTo>
                  <a:cubicBezTo>
                    <a:pt x="971" y="28"/>
                    <a:pt x="971" y="28"/>
                    <a:pt x="971" y="28"/>
                  </a:cubicBezTo>
                  <a:cubicBezTo>
                    <a:pt x="971" y="28"/>
                    <a:pt x="971" y="28"/>
                    <a:pt x="971" y="28"/>
                  </a:cubicBezTo>
                  <a:cubicBezTo>
                    <a:pt x="971" y="28"/>
                    <a:pt x="971" y="28"/>
                    <a:pt x="971" y="28"/>
                  </a:cubicBezTo>
                  <a:cubicBezTo>
                    <a:pt x="972" y="28"/>
                    <a:pt x="972" y="27"/>
                    <a:pt x="972" y="27"/>
                  </a:cubicBezTo>
                  <a:cubicBezTo>
                    <a:pt x="972" y="27"/>
                    <a:pt x="972" y="27"/>
                    <a:pt x="972" y="27"/>
                  </a:cubicBezTo>
                  <a:cubicBezTo>
                    <a:pt x="972" y="27"/>
                    <a:pt x="972" y="27"/>
                    <a:pt x="973" y="27"/>
                  </a:cubicBezTo>
                  <a:cubicBezTo>
                    <a:pt x="973" y="27"/>
                    <a:pt x="973" y="27"/>
                    <a:pt x="973" y="27"/>
                  </a:cubicBezTo>
                  <a:cubicBezTo>
                    <a:pt x="973" y="27"/>
                    <a:pt x="973" y="26"/>
                    <a:pt x="973" y="26"/>
                  </a:cubicBezTo>
                  <a:cubicBezTo>
                    <a:pt x="973" y="26"/>
                    <a:pt x="973" y="26"/>
                    <a:pt x="973" y="26"/>
                  </a:cubicBezTo>
                  <a:cubicBezTo>
                    <a:pt x="973" y="26"/>
                    <a:pt x="973" y="26"/>
                    <a:pt x="973" y="26"/>
                  </a:cubicBezTo>
                  <a:cubicBezTo>
                    <a:pt x="973" y="26"/>
                    <a:pt x="973" y="26"/>
                    <a:pt x="973" y="26"/>
                  </a:cubicBezTo>
                  <a:cubicBezTo>
                    <a:pt x="973" y="26"/>
                    <a:pt x="973" y="26"/>
                    <a:pt x="974" y="26"/>
                  </a:cubicBezTo>
                  <a:cubicBezTo>
                    <a:pt x="974" y="26"/>
                    <a:pt x="974" y="26"/>
                    <a:pt x="974" y="26"/>
                  </a:cubicBezTo>
                  <a:cubicBezTo>
                    <a:pt x="974" y="26"/>
                    <a:pt x="974" y="25"/>
                    <a:pt x="974" y="25"/>
                  </a:cubicBezTo>
                  <a:cubicBezTo>
                    <a:pt x="974" y="25"/>
                    <a:pt x="974" y="25"/>
                    <a:pt x="974" y="25"/>
                  </a:cubicBezTo>
                  <a:cubicBezTo>
                    <a:pt x="974" y="25"/>
                    <a:pt x="974" y="25"/>
                    <a:pt x="974" y="25"/>
                  </a:cubicBezTo>
                  <a:cubicBezTo>
                    <a:pt x="974" y="25"/>
                    <a:pt x="974" y="25"/>
                    <a:pt x="974" y="25"/>
                  </a:cubicBezTo>
                  <a:cubicBezTo>
                    <a:pt x="974" y="25"/>
                    <a:pt x="975" y="25"/>
                    <a:pt x="975" y="25"/>
                  </a:cubicBezTo>
                  <a:cubicBezTo>
                    <a:pt x="975" y="25"/>
                    <a:pt x="975" y="25"/>
                    <a:pt x="975" y="25"/>
                  </a:cubicBezTo>
                  <a:cubicBezTo>
                    <a:pt x="975" y="24"/>
                    <a:pt x="975" y="24"/>
                    <a:pt x="975" y="24"/>
                  </a:cubicBezTo>
                  <a:cubicBezTo>
                    <a:pt x="975" y="24"/>
                    <a:pt x="975" y="24"/>
                    <a:pt x="975" y="24"/>
                  </a:cubicBezTo>
                  <a:cubicBezTo>
                    <a:pt x="975" y="24"/>
                    <a:pt x="976" y="24"/>
                    <a:pt x="976" y="23"/>
                  </a:cubicBezTo>
                  <a:cubicBezTo>
                    <a:pt x="976" y="23"/>
                    <a:pt x="976" y="23"/>
                    <a:pt x="976" y="23"/>
                  </a:cubicBezTo>
                  <a:cubicBezTo>
                    <a:pt x="976" y="23"/>
                    <a:pt x="976" y="23"/>
                    <a:pt x="976" y="23"/>
                  </a:cubicBezTo>
                  <a:cubicBezTo>
                    <a:pt x="976" y="23"/>
                    <a:pt x="976" y="23"/>
                    <a:pt x="976" y="23"/>
                  </a:cubicBezTo>
                  <a:cubicBezTo>
                    <a:pt x="976" y="23"/>
                    <a:pt x="977" y="23"/>
                    <a:pt x="977" y="23"/>
                  </a:cubicBezTo>
                  <a:cubicBezTo>
                    <a:pt x="977" y="23"/>
                    <a:pt x="977" y="23"/>
                    <a:pt x="977" y="23"/>
                  </a:cubicBezTo>
                  <a:cubicBezTo>
                    <a:pt x="977" y="23"/>
                    <a:pt x="977" y="23"/>
                    <a:pt x="977" y="22"/>
                  </a:cubicBezTo>
                  <a:cubicBezTo>
                    <a:pt x="977" y="22"/>
                    <a:pt x="977" y="22"/>
                    <a:pt x="977" y="22"/>
                  </a:cubicBezTo>
                  <a:cubicBezTo>
                    <a:pt x="978" y="22"/>
                    <a:pt x="978" y="22"/>
                    <a:pt x="978" y="22"/>
                  </a:cubicBezTo>
                  <a:cubicBezTo>
                    <a:pt x="978" y="22"/>
                    <a:pt x="978" y="22"/>
                    <a:pt x="978" y="22"/>
                  </a:cubicBezTo>
                  <a:cubicBezTo>
                    <a:pt x="978" y="22"/>
                    <a:pt x="978" y="22"/>
                    <a:pt x="979" y="21"/>
                  </a:cubicBezTo>
                  <a:cubicBezTo>
                    <a:pt x="979" y="21"/>
                    <a:pt x="979" y="21"/>
                    <a:pt x="979" y="21"/>
                  </a:cubicBezTo>
                  <a:cubicBezTo>
                    <a:pt x="979" y="21"/>
                    <a:pt x="979" y="21"/>
                    <a:pt x="979" y="21"/>
                  </a:cubicBezTo>
                  <a:cubicBezTo>
                    <a:pt x="979" y="21"/>
                    <a:pt x="979" y="21"/>
                    <a:pt x="979" y="21"/>
                  </a:cubicBezTo>
                  <a:cubicBezTo>
                    <a:pt x="980" y="21"/>
                    <a:pt x="980" y="21"/>
                    <a:pt x="980" y="21"/>
                  </a:cubicBezTo>
                  <a:cubicBezTo>
                    <a:pt x="980" y="21"/>
                    <a:pt x="980" y="21"/>
                    <a:pt x="980" y="21"/>
                  </a:cubicBezTo>
                  <a:cubicBezTo>
                    <a:pt x="980" y="21"/>
                    <a:pt x="980" y="21"/>
                    <a:pt x="981" y="20"/>
                  </a:cubicBezTo>
                  <a:cubicBezTo>
                    <a:pt x="981" y="20"/>
                    <a:pt x="981" y="20"/>
                    <a:pt x="981" y="20"/>
                  </a:cubicBezTo>
                  <a:cubicBezTo>
                    <a:pt x="981" y="20"/>
                    <a:pt x="981" y="20"/>
                    <a:pt x="981" y="20"/>
                  </a:cubicBezTo>
                  <a:cubicBezTo>
                    <a:pt x="981" y="20"/>
                    <a:pt x="981" y="20"/>
                    <a:pt x="981" y="20"/>
                  </a:cubicBezTo>
                  <a:cubicBezTo>
                    <a:pt x="981" y="20"/>
                    <a:pt x="982" y="20"/>
                    <a:pt x="982" y="20"/>
                  </a:cubicBezTo>
                  <a:cubicBezTo>
                    <a:pt x="982" y="20"/>
                    <a:pt x="982" y="20"/>
                    <a:pt x="982" y="20"/>
                  </a:cubicBezTo>
                  <a:cubicBezTo>
                    <a:pt x="982" y="20"/>
                    <a:pt x="982" y="20"/>
                    <a:pt x="983" y="19"/>
                  </a:cubicBezTo>
                  <a:cubicBezTo>
                    <a:pt x="983" y="19"/>
                    <a:pt x="983" y="19"/>
                    <a:pt x="983" y="19"/>
                  </a:cubicBezTo>
                  <a:cubicBezTo>
                    <a:pt x="983" y="19"/>
                    <a:pt x="983" y="19"/>
                    <a:pt x="983" y="19"/>
                  </a:cubicBezTo>
                  <a:cubicBezTo>
                    <a:pt x="983" y="19"/>
                    <a:pt x="983" y="19"/>
                    <a:pt x="983" y="19"/>
                  </a:cubicBezTo>
                  <a:cubicBezTo>
                    <a:pt x="984" y="19"/>
                    <a:pt x="984" y="19"/>
                    <a:pt x="984" y="19"/>
                  </a:cubicBezTo>
                  <a:cubicBezTo>
                    <a:pt x="984" y="19"/>
                    <a:pt x="984" y="19"/>
                    <a:pt x="984" y="19"/>
                  </a:cubicBezTo>
                  <a:cubicBezTo>
                    <a:pt x="984" y="18"/>
                    <a:pt x="985" y="19"/>
                    <a:pt x="985" y="18"/>
                  </a:cubicBezTo>
                  <a:cubicBezTo>
                    <a:pt x="985" y="18"/>
                    <a:pt x="985" y="18"/>
                    <a:pt x="985" y="18"/>
                  </a:cubicBezTo>
                  <a:cubicBezTo>
                    <a:pt x="985" y="18"/>
                    <a:pt x="986" y="18"/>
                    <a:pt x="986" y="18"/>
                  </a:cubicBezTo>
                  <a:cubicBezTo>
                    <a:pt x="986" y="18"/>
                    <a:pt x="986" y="18"/>
                    <a:pt x="986" y="18"/>
                  </a:cubicBezTo>
                  <a:cubicBezTo>
                    <a:pt x="986" y="18"/>
                    <a:pt x="986" y="18"/>
                    <a:pt x="986" y="18"/>
                  </a:cubicBezTo>
                  <a:cubicBezTo>
                    <a:pt x="986" y="18"/>
                    <a:pt x="987" y="18"/>
                    <a:pt x="987" y="18"/>
                  </a:cubicBezTo>
                  <a:cubicBezTo>
                    <a:pt x="987" y="18"/>
                    <a:pt x="987" y="18"/>
                    <a:pt x="987" y="18"/>
                  </a:cubicBezTo>
                  <a:cubicBezTo>
                    <a:pt x="987" y="18"/>
                    <a:pt x="987" y="18"/>
                    <a:pt x="987" y="18"/>
                  </a:cubicBezTo>
                  <a:cubicBezTo>
                    <a:pt x="987" y="17"/>
                    <a:pt x="988" y="18"/>
                    <a:pt x="988" y="17"/>
                  </a:cubicBezTo>
                  <a:cubicBezTo>
                    <a:pt x="988" y="17"/>
                    <a:pt x="988" y="17"/>
                    <a:pt x="988" y="17"/>
                  </a:cubicBezTo>
                  <a:cubicBezTo>
                    <a:pt x="988" y="17"/>
                    <a:pt x="989" y="17"/>
                    <a:pt x="989" y="17"/>
                  </a:cubicBezTo>
                  <a:cubicBezTo>
                    <a:pt x="989" y="17"/>
                    <a:pt x="989" y="17"/>
                    <a:pt x="989" y="17"/>
                  </a:cubicBezTo>
                  <a:cubicBezTo>
                    <a:pt x="990" y="17"/>
                    <a:pt x="990" y="17"/>
                    <a:pt x="990" y="17"/>
                  </a:cubicBezTo>
                  <a:cubicBezTo>
                    <a:pt x="990" y="17"/>
                    <a:pt x="991" y="17"/>
                    <a:pt x="991" y="17"/>
                  </a:cubicBezTo>
                  <a:cubicBezTo>
                    <a:pt x="991" y="17"/>
                    <a:pt x="991" y="17"/>
                    <a:pt x="991" y="17"/>
                  </a:cubicBezTo>
                  <a:cubicBezTo>
                    <a:pt x="991" y="17"/>
                    <a:pt x="991" y="17"/>
                    <a:pt x="991" y="17"/>
                  </a:cubicBezTo>
                  <a:cubicBezTo>
                    <a:pt x="992" y="16"/>
                    <a:pt x="993" y="17"/>
                    <a:pt x="993" y="16"/>
                  </a:cubicBezTo>
                  <a:cubicBezTo>
                    <a:pt x="993" y="16"/>
                    <a:pt x="993" y="16"/>
                    <a:pt x="994" y="16"/>
                  </a:cubicBezTo>
                  <a:cubicBezTo>
                    <a:pt x="995" y="16"/>
                    <a:pt x="996" y="16"/>
                    <a:pt x="997" y="16"/>
                  </a:cubicBezTo>
                  <a:cubicBezTo>
                    <a:pt x="998" y="16"/>
                    <a:pt x="999" y="16"/>
                    <a:pt x="1000" y="16"/>
                  </a:cubicBezTo>
                  <a:cubicBezTo>
                    <a:pt x="1002" y="16"/>
                    <a:pt x="1003" y="16"/>
                    <a:pt x="1004" y="16"/>
                  </a:cubicBezTo>
                  <a:cubicBezTo>
                    <a:pt x="1004" y="16"/>
                    <a:pt x="1004" y="16"/>
                    <a:pt x="1005" y="16"/>
                  </a:cubicBezTo>
                  <a:cubicBezTo>
                    <a:pt x="1005" y="17"/>
                    <a:pt x="1006" y="16"/>
                    <a:pt x="1006" y="17"/>
                  </a:cubicBezTo>
                  <a:cubicBezTo>
                    <a:pt x="1007" y="16"/>
                    <a:pt x="1007" y="16"/>
                    <a:pt x="1007" y="17"/>
                  </a:cubicBezTo>
                  <a:cubicBezTo>
                    <a:pt x="1007" y="17"/>
                    <a:pt x="1008" y="17"/>
                    <a:pt x="1008" y="17"/>
                  </a:cubicBezTo>
                  <a:cubicBezTo>
                    <a:pt x="1009" y="17"/>
                    <a:pt x="1009" y="17"/>
                    <a:pt x="1009" y="17"/>
                  </a:cubicBezTo>
                  <a:cubicBezTo>
                    <a:pt x="1009" y="17"/>
                    <a:pt x="1009" y="17"/>
                    <a:pt x="1009" y="17"/>
                  </a:cubicBezTo>
                  <a:cubicBezTo>
                    <a:pt x="1009" y="17"/>
                    <a:pt x="1010" y="17"/>
                    <a:pt x="1010" y="17"/>
                  </a:cubicBezTo>
                  <a:close/>
                  <a:moveTo>
                    <a:pt x="1066" y="103"/>
                  </a:moveTo>
                  <a:cubicBezTo>
                    <a:pt x="1066" y="103"/>
                    <a:pt x="1066" y="103"/>
                    <a:pt x="1066" y="103"/>
                  </a:cubicBezTo>
                  <a:cubicBezTo>
                    <a:pt x="1067" y="103"/>
                    <a:pt x="1068" y="103"/>
                    <a:pt x="1069" y="103"/>
                  </a:cubicBezTo>
                  <a:cubicBezTo>
                    <a:pt x="1069" y="102"/>
                    <a:pt x="1069" y="102"/>
                    <a:pt x="1069" y="102"/>
                  </a:cubicBezTo>
                  <a:cubicBezTo>
                    <a:pt x="1069" y="103"/>
                    <a:pt x="1069" y="103"/>
                    <a:pt x="1069" y="103"/>
                  </a:cubicBezTo>
                  <a:cubicBezTo>
                    <a:pt x="1069" y="102"/>
                    <a:pt x="1070" y="103"/>
                    <a:pt x="1070" y="102"/>
                  </a:cubicBezTo>
                  <a:cubicBezTo>
                    <a:pt x="1070" y="102"/>
                    <a:pt x="1070" y="102"/>
                    <a:pt x="1070" y="102"/>
                  </a:cubicBezTo>
                  <a:cubicBezTo>
                    <a:pt x="1071" y="102"/>
                    <a:pt x="1071" y="102"/>
                    <a:pt x="1071" y="102"/>
                  </a:cubicBezTo>
                  <a:cubicBezTo>
                    <a:pt x="1071" y="102"/>
                    <a:pt x="1071" y="102"/>
                    <a:pt x="1072" y="102"/>
                  </a:cubicBezTo>
                  <a:cubicBezTo>
                    <a:pt x="1072" y="102"/>
                    <a:pt x="1072" y="102"/>
                    <a:pt x="1072" y="102"/>
                  </a:cubicBezTo>
                  <a:cubicBezTo>
                    <a:pt x="1072" y="102"/>
                    <a:pt x="1072" y="102"/>
                    <a:pt x="1072" y="102"/>
                  </a:cubicBezTo>
                  <a:cubicBezTo>
                    <a:pt x="1072" y="102"/>
                    <a:pt x="1073" y="102"/>
                    <a:pt x="1073" y="102"/>
                  </a:cubicBezTo>
                  <a:cubicBezTo>
                    <a:pt x="1073" y="101"/>
                    <a:pt x="1073" y="101"/>
                    <a:pt x="1073" y="101"/>
                  </a:cubicBezTo>
                  <a:cubicBezTo>
                    <a:pt x="1073" y="101"/>
                    <a:pt x="1073" y="101"/>
                    <a:pt x="1073" y="101"/>
                  </a:cubicBezTo>
                  <a:cubicBezTo>
                    <a:pt x="1074" y="101"/>
                    <a:pt x="1074" y="101"/>
                    <a:pt x="1075" y="101"/>
                  </a:cubicBezTo>
                  <a:cubicBezTo>
                    <a:pt x="1074" y="101"/>
                    <a:pt x="1074" y="101"/>
                    <a:pt x="1074" y="101"/>
                  </a:cubicBezTo>
                  <a:cubicBezTo>
                    <a:pt x="1075" y="101"/>
                    <a:pt x="1075" y="101"/>
                    <a:pt x="1076" y="101"/>
                  </a:cubicBezTo>
                  <a:cubicBezTo>
                    <a:pt x="1076" y="101"/>
                    <a:pt x="1076" y="101"/>
                    <a:pt x="1076" y="101"/>
                  </a:cubicBezTo>
                  <a:cubicBezTo>
                    <a:pt x="1076" y="101"/>
                    <a:pt x="1076" y="101"/>
                    <a:pt x="1076" y="100"/>
                  </a:cubicBezTo>
                  <a:cubicBezTo>
                    <a:pt x="1076" y="100"/>
                    <a:pt x="1076" y="100"/>
                    <a:pt x="1076" y="100"/>
                  </a:cubicBezTo>
                  <a:cubicBezTo>
                    <a:pt x="1076" y="100"/>
                    <a:pt x="1076" y="100"/>
                    <a:pt x="1076" y="100"/>
                  </a:cubicBezTo>
                  <a:cubicBezTo>
                    <a:pt x="1077" y="100"/>
                    <a:pt x="1077" y="100"/>
                    <a:pt x="1077" y="100"/>
                  </a:cubicBezTo>
                  <a:cubicBezTo>
                    <a:pt x="1077" y="100"/>
                    <a:pt x="1077" y="100"/>
                    <a:pt x="1077" y="100"/>
                  </a:cubicBezTo>
                  <a:cubicBezTo>
                    <a:pt x="1077" y="100"/>
                    <a:pt x="1078" y="100"/>
                    <a:pt x="1078" y="100"/>
                  </a:cubicBezTo>
                  <a:cubicBezTo>
                    <a:pt x="1078" y="100"/>
                    <a:pt x="1078" y="100"/>
                    <a:pt x="1078" y="100"/>
                  </a:cubicBezTo>
                  <a:cubicBezTo>
                    <a:pt x="1078" y="100"/>
                    <a:pt x="1079" y="100"/>
                    <a:pt x="1079" y="99"/>
                  </a:cubicBezTo>
                  <a:cubicBezTo>
                    <a:pt x="1079" y="99"/>
                    <a:pt x="1079" y="99"/>
                    <a:pt x="1079" y="99"/>
                  </a:cubicBezTo>
                  <a:cubicBezTo>
                    <a:pt x="1079" y="99"/>
                    <a:pt x="1079" y="99"/>
                    <a:pt x="1079" y="99"/>
                  </a:cubicBezTo>
                  <a:cubicBezTo>
                    <a:pt x="1079" y="99"/>
                    <a:pt x="1079" y="99"/>
                    <a:pt x="1079" y="99"/>
                  </a:cubicBezTo>
                  <a:cubicBezTo>
                    <a:pt x="1080" y="99"/>
                    <a:pt x="1080" y="99"/>
                    <a:pt x="1080" y="99"/>
                  </a:cubicBezTo>
                  <a:cubicBezTo>
                    <a:pt x="1080" y="99"/>
                    <a:pt x="1080" y="99"/>
                    <a:pt x="1080" y="99"/>
                  </a:cubicBezTo>
                  <a:cubicBezTo>
                    <a:pt x="1080" y="99"/>
                    <a:pt x="1081" y="99"/>
                    <a:pt x="1081" y="98"/>
                  </a:cubicBezTo>
                  <a:cubicBezTo>
                    <a:pt x="1081" y="98"/>
                    <a:pt x="1081" y="98"/>
                    <a:pt x="1081" y="98"/>
                  </a:cubicBezTo>
                  <a:cubicBezTo>
                    <a:pt x="1081" y="98"/>
                    <a:pt x="1081" y="98"/>
                    <a:pt x="1081" y="98"/>
                  </a:cubicBezTo>
                  <a:cubicBezTo>
                    <a:pt x="1081" y="98"/>
                    <a:pt x="1081" y="98"/>
                    <a:pt x="1081" y="98"/>
                  </a:cubicBezTo>
                  <a:cubicBezTo>
                    <a:pt x="1081" y="98"/>
                    <a:pt x="1082" y="98"/>
                    <a:pt x="1082" y="98"/>
                  </a:cubicBezTo>
                  <a:cubicBezTo>
                    <a:pt x="1082" y="98"/>
                    <a:pt x="1082" y="98"/>
                    <a:pt x="1082" y="98"/>
                  </a:cubicBezTo>
                  <a:cubicBezTo>
                    <a:pt x="1082" y="97"/>
                    <a:pt x="1082" y="98"/>
                    <a:pt x="1082" y="97"/>
                  </a:cubicBezTo>
                  <a:cubicBezTo>
                    <a:pt x="1082" y="97"/>
                    <a:pt x="1082" y="97"/>
                    <a:pt x="1082" y="97"/>
                  </a:cubicBezTo>
                  <a:cubicBezTo>
                    <a:pt x="1083" y="97"/>
                    <a:pt x="1083" y="97"/>
                    <a:pt x="1083" y="97"/>
                  </a:cubicBezTo>
                  <a:cubicBezTo>
                    <a:pt x="1083" y="97"/>
                    <a:pt x="1083" y="97"/>
                    <a:pt x="1083" y="97"/>
                  </a:cubicBezTo>
                  <a:cubicBezTo>
                    <a:pt x="1083" y="97"/>
                    <a:pt x="1083" y="97"/>
                    <a:pt x="1083" y="97"/>
                  </a:cubicBezTo>
                  <a:cubicBezTo>
                    <a:pt x="1083" y="93"/>
                    <a:pt x="1083" y="90"/>
                    <a:pt x="1083" y="87"/>
                  </a:cubicBezTo>
                  <a:cubicBezTo>
                    <a:pt x="1083" y="86"/>
                    <a:pt x="1083" y="86"/>
                    <a:pt x="1083" y="87"/>
                  </a:cubicBezTo>
                  <a:cubicBezTo>
                    <a:pt x="1083" y="87"/>
                    <a:pt x="1083" y="87"/>
                    <a:pt x="1083" y="87"/>
                  </a:cubicBezTo>
                  <a:cubicBezTo>
                    <a:pt x="1083" y="87"/>
                    <a:pt x="1083" y="87"/>
                    <a:pt x="1083" y="87"/>
                  </a:cubicBezTo>
                  <a:cubicBezTo>
                    <a:pt x="1083" y="87"/>
                    <a:pt x="1083" y="87"/>
                    <a:pt x="1083" y="87"/>
                  </a:cubicBezTo>
                  <a:cubicBezTo>
                    <a:pt x="1082" y="87"/>
                    <a:pt x="1082" y="87"/>
                    <a:pt x="1082" y="87"/>
                  </a:cubicBezTo>
                  <a:cubicBezTo>
                    <a:pt x="1082" y="87"/>
                    <a:pt x="1082" y="87"/>
                    <a:pt x="1082" y="87"/>
                  </a:cubicBezTo>
                  <a:cubicBezTo>
                    <a:pt x="1082" y="87"/>
                    <a:pt x="1082" y="87"/>
                    <a:pt x="1082" y="88"/>
                  </a:cubicBezTo>
                  <a:cubicBezTo>
                    <a:pt x="1082" y="88"/>
                    <a:pt x="1082" y="88"/>
                    <a:pt x="1082" y="88"/>
                  </a:cubicBezTo>
                  <a:cubicBezTo>
                    <a:pt x="1081" y="88"/>
                    <a:pt x="1081" y="88"/>
                    <a:pt x="1081" y="88"/>
                  </a:cubicBezTo>
                  <a:cubicBezTo>
                    <a:pt x="1081" y="88"/>
                    <a:pt x="1081" y="88"/>
                    <a:pt x="1081" y="88"/>
                  </a:cubicBezTo>
                  <a:cubicBezTo>
                    <a:pt x="1081" y="88"/>
                    <a:pt x="1081" y="88"/>
                    <a:pt x="1080" y="88"/>
                  </a:cubicBezTo>
                  <a:cubicBezTo>
                    <a:pt x="1080" y="88"/>
                    <a:pt x="1080" y="88"/>
                    <a:pt x="1080" y="88"/>
                  </a:cubicBezTo>
                  <a:cubicBezTo>
                    <a:pt x="1080" y="88"/>
                    <a:pt x="1080" y="88"/>
                    <a:pt x="1080" y="89"/>
                  </a:cubicBezTo>
                  <a:cubicBezTo>
                    <a:pt x="1080" y="89"/>
                    <a:pt x="1080" y="89"/>
                    <a:pt x="1080" y="89"/>
                  </a:cubicBezTo>
                  <a:cubicBezTo>
                    <a:pt x="1080" y="89"/>
                    <a:pt x="1080" y="89"/>
                    <a:pt x="1079" y="89"/>
                  </a:cubicBezTo>
                  <a:cubicBezTo>
                    <a:pt x="1079" y="89"/>
                    <a:pt x="1079" y="89"/>
                    <a:pt x="1079" y="89"/>
                  </a:cubicBezTo>
                  <a:cubicBezTo>
                    <a:pt x="1079" y="89"/>
                    <a:pt x="1079" y="89"/>
                    <a:pt x="1079" y="89"/>
                  </a:cubicBezTo>
                  <a:cubicBezTo>
                    <a:pt x="1079" y="89"/>
                    <a:pt x="1079" y="89"/>
                    <a:pt x="1079" y="89"/>
                  </a:cubicBezTo>
                  <a:cubicBezTo>
                    <a:pt x="1079" y="90"/>
                    <a:pt x="1078" y="89"/>
                    <a:pt x="1078" y="90"/>
                  </a:cubicBezTo>
                  <a:cubicBezTo>
                    <a:pt x="1078" y="90"/>
                    <a:pt x="1078" y="90"/>
                    <a:pt x="1078" y="90"/>
                  </a:cubicBezTo>
                  <a:cubicBezTo>
                    <a:pt x="1078" y="90"/>
                    <a:pt x="1078" y="90"/>
                    <a:pt x="1078" y="90"/>
                  </a:cubicBezTo>
                  <a:cubicBezTo>
                    <a:pt x="1078" y="90"/>
                    <a:pt x="1078" y="90"/>
                    <a:pt x="1078" y="90"/>
                  </a:cubicBezTo>
                  <a:cubicBezTo>
                    <a:pt x="1077" y="90"/>
                    <a:pt x="1077" y="90"/>
                    <a:pt x="1077" y="90"/>
                  </a:cubicBezTo>
                  <a:cubicBezTo>
                    <a:pt x="1077" y="90"/>
                    <a:pt x="1077" y="90"/>
                    <a:pt x="1077" y="90"/>
                  </a:cubicBezTo>
                  <a:cubicBezTo>
                    <a:pt x="1077" y="90"/>
                    <a:pt x="1077" y="90"/>
                    <a:pt x="1077" y="90"/>
                  </a:cubicBezTo>
                  <a:cubicBezTo>
                    <a:pt x="1077" y="91"/>
                    <a:pt x="1076" y="91"/>
                    <a:pt x="1076" y="91"/>
                  </a:cubicBezTo>
                  <a:cubicBezTo>
                    <a:pt x="1076" y="91"/>
                    <a:pt x="1076" y="91"/>
                    <a:pt x="1076" y="91"/>
                  </a:cubicBezTo>
                  <a:cubicBezTo>
                    <a:pt x="1076" y="91"/>
                    <a:pt x="1076" y="91"/>
                    <a:pt x="1076" y="91"/>
                  </a:cubicBezTo>
                  <a:cubicBezTo>
                    <a:pt x="1076" y="91"/>
                    <a:pt x="1075" y="91"/>
                    <a:pt x="1075" y="91"/>
                  </a:cubicBezTo>
                  <a:cubicBezTo>
                    <a:pt x="1075" y="91"/>
                    <a:pt x="1075" y="91"/>
                    <a:pt x="1075" y="91"/>
                  </a:cubicBezTo>
                  <a:cubicBezTo>
                    <a:pt x="1075" y="91"/>
                    <a:pt x="1075" y="91"/>
                    <a:pt x="1075" y="91"/>
                  </a:cubicBezTo>
                  <a:cubicBezTo>
                    <a:pt x="1075" y="91"/>
                    <a:pt x="1075" y="91"/>
                    <a:pt x="1075" y="91"/>
                  </a:cubicBezTo>
                  <a:cubicBezTo>
                    <a:pt x="1074" y="92"/>
                    <a:pt x="1074" y="92"/>
                    <a:pt x="1074" y="92"/>
                  </a:cubicBezTo>
                  <a:cubicBezTo>
                    <a:pt x="1074" y="92"/>
                    <a:pt x="1074" y="92"/>
                    <a:pt x="1074" y="92"/>
                  </a:cubicBezTo>
                  <a:cubicBezTo>
                    <a:pt x="1073" y="92"/>
                    <a:pt x="1073" y="92"/>
                    <a:pt x="1073" y="92"/>
                  </a:cubicBezTo>
                  <a:cubicBezTo>
                    <a:pt x="1073" y="92"/>
                    <a:pt x="1073" y="92"/>
                    <a:pt x="1073" y="92"/>
                  </a:cubicBezTo>
                  <a:cubicBezTo>
                    <a:pt x="1073" y="92"/>
                    <a:pt x="1073" y="92"/>
                    <a:pt x="1073" y="92"/>
                  </a:cubicBezTo>
                  <a:cubicBezTo>
                    <a:pt x="1072" y="92"/>
                    <a:pt x="1072" y="92"/>
                    <a:pt x="1072" y="92"/>
                  </a:cubicBezTo>
                  <a:cubicBezTo>
                    <a:pt x="1072" y="93"/>
                    <a:pt x="1072" y="93"/>
                    <a:pt x="1071" y="92"/>
                  </a:cubicBezTo>
                  <a:cubicBezTo>
                    <a:pt x="1071" y="93"/>
                    <a:pt x="1071" y="93"/>
                    <a:pt x="1070" y="93"/>
                  </a:cubicBezTo>
                  <a:cubicBezTo>
                    <a:pt x="1070" y="93"/>
                    <a:pt x="1070" y="93"/>
                    <a:pt x="1070" y="93"/>
                  </a:cubicBezTo>
                  <a:cubicBezTo>
                    <a:pt x="1070" y="93"/>
                    <a:pt x="1070" y="93"/>
                    <a:pt x="1070" y="93"/>
                  </a:cubicBezTo>
                  <a:cubicBezTo>
                    <a:pt x="1070" y="93"/>
                    <a:pt x="1069" y="93"/>
                    <a:pt x="1069" y="93"/>
                  </a:cubicBezTo>
                  <a:cubicBezTo>
                    <a:pt x="1069" y="93"/>
                    <a:pt x="1069" y="93"/>
                    <a:pt x="1069" y="93"/>
                  </a:cubicBezTo>
                  <a:cubicBezTo>
                    <a:pt x="1068" y="94"/>
                    <a:pt x="1067" y="93"/>
                    <a:pt x="1067" y="93"/>
                  </a:cubicBezTo>
                  <a:cubicBezTo>
                    <a:pt x="1067" y="94"/>
                    <a:pt x="1067" y="94"/>
                    <a:pt x="1066" y="94"/>
                  </a:cubicBezTo>
                  <a:cubicBezTo>
                    <a:pt x="1064" y="94"/>
                    <a:pt x="1061" y="94"/>
                    <a:pt x="1058" y="94"/>
                  </a:cubicBezTo>
                  <a:cubicBezTo>
                    <a:pt x="1058" y="94"/>
                    <a:pt x="1058" y="93"/>
                    <a:pt x="1058" y="93"/>
                  </a:cubicBezTo>
                  <a:cubicBezTo>
                    <a:pt x="1057" y="93"/>
                    <a:pt x="1057" y="93"/>
                    <a:pt x="1056" y="93"/>
                  </a:cubicBezTo>
                  <a:cubicBezTo>
                    <a:pt x="1056" y="93"/>
                    <a:pt x="1056" y="93"/>
                    <a:pt x="1056" y="93"/>
                  </a:cubicBezTo>
                  <a:cubicBezTo>
                    <a:pt x="1056" y="93"/>
                    <a:pt x="1055" y="93"/>
                    <a:pt x="1055" y="93"/>
                  </a:cubicBezTo>
                  <a:cubicBezTo>
                    <a:pt x="1055" y="93"/>
                    <a:pt x="1055" y="93"/>
                    <a:pt x="1055" y="93"/>
                  </a:cubicBezTo>
                  <a:cubicBezTo>
                    <a:pt x="1054" y="93"/>
                    <a:pt x="1054" y="93"/>
                    <a:pt x="1054" y="93"/>
                  </a:cubicBezTo>
                  <a:cubicBezTo>
                    <a:pt x="1054" y="93"/>
                    <a:pt x="1054" y="93"/>
                    <a:pt x="1054" y="92"/>
                  </a:cubicBezTo>
                  <a:cubicBezTo>
                    <a:pt x="1053" y="92"/>
                    <a:pt x="1053" y="92"/>
                    <a:pt x="1053" y="92"/>
                  </a:cubicBezTo>
                  <a:cubicBezTo>
                    <a:pt x="1053" y="92"/>
                    <a:pt x="1053" y="92"/>
                    <a:pt x="1053" y="92"/>
                  </a:cubicBezTo>
                  <a:cubicBezTo>
                    <a:pt x="1053" y="92"/>
                    <a:pt x="1052" y="92"/>
                    <a:pt x="1052" y="92"/>
                  </a:cubicBezTo>
                  <a:cubicBezTo>
                    <a:pt x="1052" y="92"/>
                    <a:pt x="1052" y="92"/>
                    <a:pt x="1052" y="92"/>
                  </a:cubicBezTo>
                  <a:cubicBezTo>
                    <a:pt x="1052" y="92"/>
                    <a:pt x="1052" y="92"/>
                    <a:pt x="1051" y="91"/>
                  </a:cubicBezTo>
                  <a:cubicBezTo>
                    <a:pt x="1051" y="91"/>
                    <a:pt x="1051" y="91"/>
                    <a:pt x="1051" y="91"/>
                  </a:cubicBezTo>
                  <a:cubicBezTo>
                    <a:pt x="1051" y="91"/>
                    <a:pt x="1051" y="91"/>
                    <a:pt x="1051" y="91"/>
                  </a:cubicBezTo>
                  <a:cubicBezTo>
                    <a:pt x="1051" y="91"/>
                    <a:pt x="1051" y="91"/>
                    <a:pt x="1051" y="91"/>
                  </a:cubicBezTo>
                  <a:cubicBezTo>
                    <a:pt x="1051" y="91"/>
                    <a:pt x="1051" y="91"/>
                    <a:pt x="1051" y="91"/>
                  </a:cubicBezTo>
                  <a:cubicBezTo>
                    <a:pt x="1051" y="91"/>
                    <a:pt x="1050" y="91"/>
                    <a:pt x="1050" y="91"/>
                  </a:cubicBezTo>
                  <a:cubicBezTo>
                    <a:pt x="1050" y="91"/>
                    <a:pt x="1050" y="91"/>
                    <a:pt x="1050" y="91"/>
                  </a:cubicBezTo>
                  <a:cubicBezTo>
                    <a:pt x="1050" y="91"/>
                    <a:pt x="1050" y="91"/>
                    <a:pt x="1050"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90"/>
                    <a:pt x="1049" y="90"/>
                    <a:pt x="1049" y="90"/>
                  </a:cubicBezTo>
                  <a:cubicBezTo>
                    <a:pt x="1049" y="89"/>
                    <a:pt x="1048" y="90"/>
                    <a:pt x="1048" y="89"/>
                  </a:cubicBezTo>
                  <a:cubicBezTo>
                    <a:pt x="1048" y="89"/>
                    <a:pt x="1048" y="89"/>
                    <a:pt x="1048" y="89"/>
                  </a:cubicBezTo>
                  <a:cubicBezTo>
                    <a:pt x="1048" y="89"/>
                    <a:pt x="1048" y="89"/>
                    <a:pt x="1048" y="89"/>
                  </a:cubicBezTo>
                  <a:cubicBezTo>
                    <a:pt x="1048" y="89"/>
                    <a:pt x="1048" y="89"/>
                    <a:pt x="1048" y="89"/>
                  </a:cubicBezTo>
                  <a:cubicBezTo>
                    <a:pt x="1048" y="89"/>
                    <a:pt x="1047" y="89"/>
                    <a:pt x="1047" y="89"/>
                  </a:cubicBezTo>
                  <a:cubicBezTo>
                    <a:pt x="1047" y="89"/>
                    <a:pt x="1047" y="89"/>
                    <a:pt x="1047" y="89"/>
                  </a:cubicBezTo>
                  <a:cubicBezTo>
                    <a:pt x="1047" y="89"/>
                    <a:pt x="1047" y="88"/>
                    <a:pt x="1047" y="88"/>
                  </a:cubicBezTo>
                  <a:cubicBezTo>
                    <a:pt x="1047" y="88"/>
                    <a:pt x="1047" y="88"/>
                    <a:pt x="1047" y="88"/>
                  </a:cubicBezTo>
                  <a:cubicBezTo>
                    <a:pt x="1047" y="88"/>
                    <a:pt x="1047" y="88"/>
                    <a:pt x="1047" y="88"/>
                  </a:cubicBezTo>
                  <a:cubicBezTo>
                    <a:pt x="1047" y="88"/>
                    <a:pt x="1047" y="88"/>
                    <a:pt x="1047" y="88"/>
                  </a:cubicBezTo>
                  <a:cubicBezTo>
                    <a:pt x="1047" y="88"/>
                    <a:pt x="1046" y="88"/>
                    <a:pt x="1046" y="88"/>
                  </a:cubicBezTo>
                  <a:cubicBezTo>
                    <a:pt x="1046" y="88"/>
                    <a:pt x="1046" y="88"/>
                    <a:pt x="1046" y="88"/>
                  </a:cubicBezTo>
                  <a:cubicBezTo>
                    <a:pt x="1046" y="87"/>
                    <a:pt x="1046" y="87"/>
                    <a:pt x="1046" y="87"/>
                  </a:cubicBezTo>
                  <a:cubicBezTo>
                    <a:pt x="1046" y="87"/>
                    <a:pt x="1046" y="87"/>
                    <a:pt x="1046" y="87"/>
                  </a:cubicBezTo>
                  <a:cubicBezTo>
                    <a:pt x="1046" y="87"/>
                    <a:pt x="1046" y="87"/>
                    <a:pt x="1046" y="87"/>
                  </a:cubicBezTo>
                  <a:cubicBezTo>
                    <a:pt x="1046" y="87"/>
                    <a:pt x="1046" y="87"/>
                    <a:pt x="1046" y="87"/>
                  </a:cubicBezTo>
                  <a:cubicBezTo>
                    <a:pt x="1045" y="87"/>
                    <a:pt x="1046" y="86"/>
                    <a:pt x="1045" y="86"/>
                  </a:cubicBezTo>
                  <a:cubicBezTo>
                    <a:pt x="1045" y="86"/>
                    <a:pt x="1045" y="86"/>
                    <a:pt x="1045" y="86"/>
                  </a:cubicBezTo>
                  <a:cubicBezTo>
                    <a:pt x="1045" y="86"/>
                    <a:pt x="1045" y="86"/>
                    <a:pt x="1045" y="86"/>
                  </a:cubicBezTo>
                  <a:cubicBezTo>
                    <a:pt x="1045" y="86"/>
                    <a:pt x="1045" y="86"/>
                    <a:pt x="1045" y="86"/>
                  </a:cubicBezTo>
                  <a:cubicBezTo>
                    <a:pt x="1045" y="86"/>
                    <a:pt x="1045" y="86"/>
                    <a:pt x="1045" y="85"/>
                  </a:cubicBezTo>
                  <a:cubicBezTo>
                    <a:pt x="1045" y="85"/>
                    <a:pt x="1045" y="85"/>
                    <a:pt x="1045" y="85"/>
                  </a:cubicBezTo>
                  <a:cubicBezTo>
                    <a:pt x="1044" y="85"/>
                    <a:pt x="1044" y="85"/>
                    <a:pt x="1044" y="85"/>
                  </a:cubicBezTo>
                  <a:cubicBezTo>
                    <a:pt x="1044" y="85"/>
                    <a:pt x="1044" y="85"/>
                    <a:pt x="1044" y="85"/>
                  </a:cubicBezTo>
                  <a:cubicBezTo>
                    <a:pt x="1044" y="85"/>
                    <a:pt x="1044" y="84"/>
                    <a:pt x="1044" y="84"/>
                  </a:cubicBezTo>
                  <a:cubicBezTo>
                    <a:pt x="1044" y="84"/>
                    <a:pt x="1044" y="84"/>
                    <a:pt x="1044" y="84"/>
                  </a:cubicBezTo>
                  <a:cubicBezTo>
                    <a:pt x="1044" y="84"/>
                    <a:pt x="1044" y="84"/>
                    <a:pt x="1044" y="84"/>
                  </a:cubicBezTo>
                  <a:cubicBezTo>
                    <a:pt x="1044" y="84"/>
                    <a:pt x="1044" y="84"/>
                    <a:pt x="1044" y="84"/>
                  </a:cubicBezTo>
                  <a:cubicBezTo>
                    <a:pt x="1043" y="84"/>
                    <a:pt x="1043" y="83"/>
                    <a:pt x="1043" y="83"/>
                  </a:cubicBezTo>
                  <a:cubicBezTo>
                    <a:pt x="1043" y="83"/>
                    <a:pt x="1043" y="83"/>
                    <a:pt x="1043" y="83"/>
                  </a:cubicBezTo>
                  <a:cubicBezTo>
                    <a:pt x="1043" y="83"/>
                    <a:pt x="1043" y="83"/>
                    <a:pt x="1043" y="82"/>
                  </a:cubicBezTo>
                  <a:cubicBezTo>
                    <a:pt x="1043" y="82"/>
                    <a:pt x="1043" y="82"/>
                    <a:pt x="1043" y="82"/>
                  </a:cubicBezTo>
                  <a:cubicBezTo>
                    <a:pt x="1043" y="82"/>
                    <a:pt x="1043" y="82"/>
                    <a:pt x="1043" y="82"/>
                  </a:cubicBezTo>
                  <a:cubicBezTo>
                    <a:pt x="1043" y="82"/>
                    <a:pt x="1043" y="82"/>
                    <a:pt x="1042" y="81"/>
                  </a:cubicBezTo>
                  <a:cubicBezTo>
                    <a:pt x="1042" y="81"/>
                    <a:pt x="1042" y="81"/>
                    <a:pt x="1042" y="81"/>
                  </a:cubicBezTo>
                  <a:cubicBezTo>
                    <a:pt x="1042" y="81"/>
                    <a:pt x="1042" y="81"/>
                    <a:pt x="1042" y="81"/>
                  </a:cubicBezTo>
                  <a:cubicBezTo>
                    <a:pt x="1042" y="81"/>
                    <a:pt x="1042" y="80"/>
                    <a:pt x="1042" y="80"/>
                  </a:cubicBezTo>
                  <a:cubicBezTo>
                    <a:pt x="1042" y="80"/>
                    <a:pt x="1042" y="80"/>
                    <a:pt x="1042" y="79"/>
                  </a:cubicBezTo>
                  <a:cubicBezTo>
                    <a:pt x="1042" y="79"/>
                    <a:pt x="1042" y="79"/>
                    <a:pt x="1042" y="79"/>
                  </a:cubicBezTo>
                  <a:cubicBezTo>
                    <a:pt x="1042" y="79"/>
                    <a:pt x="1042" y="79"/>
                    <a:pt x="1041" y="78"/>
                  </a:cubicBezTo>
                  <a:cubicBezTo>
                    <a:pt x="1041" y="78"/>
                    <a:pt x="1041" y="78"/>
                    <a:pt x="1041" y="78"/>
                  </a:cubicBezTo>
                  <a:cubicBezTo>
                    <a:pt x="1041" y="77"/>
                    <a:pt x="1041" y="77"/>
                    <a:pt x="1041" y="76"/>
                  </a:cubicBezTo>
                  <a:cubicBezTo>
                    <a:pt x="1041" y="76"/>
                    <a:pt x="1041" y="76"/>
                    <a:pt x="1041" y="76"/>
                  </a:cubicBezTo>
                  <a:cubicBezTo>
                    <a:pt x="1041" y="76"/>
                    <a:pt x="1041" y="75"/>
                    <a:pt x="1041" y="74"/>
                  </a:cubicBezTo>
                  <a:cubicBezTo>
                    <a:pt x="1041" y="74"/>
                    <a:pt x="1041" y="74"/>
                    <a:pt x="1041" y="73"/>
                  </a:cubicBezTo>
                  <a:cubicBezTo>
                    <a:pt x="1040" y="71"/>
                    <a:pt x="1040" y="71"/>
                    <a:pt x="1043" y="71"/>
                  </a:cubicBezTo>
                  <a:cubicBezTo>
                    <a:pt x="1057" y="71"/>
                    <a:pt x="1072" y="71"/>
                    <a:pt x="1086" y="71"/>
                  </a:cubicBezTo>
                  <a:cubicBezTo>
                    <a:pt x="1086" y="71"/>
                    <a:pt x="1087" y="71"/>
                    <a:pt x="1087" y="71"/>
                  </a:cubicBezTo>
                  <a:cubicBezTo>
                    <a:pt x="1088" y="71"/>
                    <a:pt x="1088" y="70"/>
                    <a:pt x="1088" y="70"/>
                  </a:cubicBezTo>
                  <a:cubicBezTo>
                    <a:pt x="1088" y="67"/>
                    <a:pt x="1088" y="64"/>
                    <a:pt x="1088" y="60"/>
                  </a:cubicBezTo>
                  <a:cubicBezTo>
                    <a:pt x="1088" y="60"/>
                    <a:pt x="1088" y="60"/>
                    <a:pt x="1088" y="60"/>
                  </a:cubicBezTo>
                  <a:cubicBezTo>
                    <a:pt x="1087" y="59"/>
                    <a:pt x="1088" y="58"/>
                    <a:pt x="1087" y="57"/>
                  </a:cubicBezTo>
                  <a:cubicBezTo>
                    <a:pt x="1087" y="57"/>
                    <a:pt x="1087" y="57"/>
                    <a:pt x="1087" y="57"/>
                  </a:cubicBezTo>
                  <a:cubicBezTo>
                    <a:pt x="1087" y="56"/>
                    <a:pt x="1087" y="56"/>
                    <a:pt x="1087" y="55"/>
                  </a:cubicBezTo>
                  <a:cubicBezTo>
                    <a:pt x="1087" y="55"/>
                    <a:pt x="1087" y="55"/>
                    <a:pt x="1087" y="55"/>
                  </a:cubicBezTo>
                  <a:cubicBezTo>
                    <a:pt x="1087" y="54"/>
                    <a:pt x="1087" y="54"/>
                    <a:pt x="1087" y="53"/>
                  </a:cubicBezTo>
                  <a:cubicBezTo>
                    <a:pt x="1087" y="53"/>
                    <a:pt x="1087" y="53"/>
                    <a:pt x="1087" y="53"/>
                  </a:cubicBezTo>
                  <a:cubicBezTo>
                    <a:pt x="1087" y="53"/>
                    <a:pt x="1087" y="53"/>
                    <a:pt x="1087" y="53"/>
                  </a:cubicBezTo>
                  <a:cubicBezTo>
                    <a:pt x="1086" y="53"/>
                    <a:pt x="1087" y="52"/>
                    <a:pt x="1086" y="52"/>
                  </a:cubicBezTo>
                  <a:cubicBezTo>
                    <a:pt x="1086" y="52"/>
                    <a:pt x="1086" y="52"/>
                    <a:pt x="1086" y="52"/>
                  </a:cubicBezTo>
                  <a:cubicBezTo>
                    <a:pt x="1086" y="52"/>
                    <a:pt x="1086" y="51"/>
                    <a:pt x="1086" y="51"/>
                  </a:cubicBezTo>
                  <a:cubicBezTo>
                    <a:pt x="1086" y="51"/>
                    <a:pt x="1086" y="51"/>
                    <a:pt x="1086" y="51"/>
                  </a:cubicBezTo>
                  <a:cubicBezTo>
                    <a:pt x="1086" y="51"/>
                    <a:pt x="1086" y="51"/>
                    <a:pt x="1086" y="51"/>
                  </a:cubicBezTo>
                  <a:cubicBezTo>
                    <a:pt x="1086" y="51"/>
                    <a:pt x="1086" y="50"/>
                    <a:pt x="1086" y="50"/>
                  </a:cubicBezTo>
                  <a:cubicBezTo>
                    <a:pt x="1086" y="50"/>
                    <a:pt x="1086" y="50"/>
                    <a:pt x="1086" y="50"/>
                  </a:cubicBezTo>
                  <a:cubicBezTo>
                    <a:pt x="1086" y="50"/>
                    <a:pt x="1086" y="50"/>
                    <a:pt x="1086" y="50"/>
                  </a:cubicBezTo>
                  <a:cubicBezTo>
                    <a:pt x="1086" y="50"/>
                    <a:pt x="1086" y="49"/>
                    <a:pt x="1085" y="49"/>
                  </a:cubicBezTo>
                  <a:cubicBezTo>
                    <a:pt x="1085" y="49"/>
                    <a:pt x="1085" y="49"/>
                    <a:pt x="1085" y="49"/>
                  </a:cubicBezTo>
                  <a:cubicBezTo>
                    <a:pt x="1085" y="49"/>
                    <a:pt x="1085" y="48"/>
                    <a:pt x="1085" y="48"/>
                  </a:cubicBezTo>
                  <a:cubicBezTo>
                    <a:pt x="1085" y="48"/>
                    <a:pt x="1085" y="48"/>
                    <a:pt x="1085" y="48"/>
                  </a:cubicBezTo>
                  <a:cubicBezTo>
                    <a:pt x="1085" y="48"/>
                    <a:pt x="1085" y="48"/>
                    <a:pt x="1085" y="48"/>
                  </a:cubicBezTo>
                  <a:cubicBezTo>
                    <a:pt x="1085" y="48"/>
                    <a:pt x="1085" y="47"/>
                    <a:pt x="1085" y="47"/>
                  </a:cubicBezTo>
                  <a:cubicBezTo>
                    <a:pt x="1085" y="47"/>
                    <a:pt x="1085" y="47"/>
                    <a:pt x="1085" y="47"/>
                  </a:cubicBezTo>
                  <a:cubicBezTo>
                    <a:pt x="1084" y="47"/>
                    <a:pt x="1084" y="47"/>
                    <a:pt x="1084" y="47"/>
                  </a:cubicBezTo>
                  <a:cubicBezTo>
                    <a:pt x="1084" y="47"/>
                    <a:pt x="1084" y="47"/>
                    <a:pt x="1084" y="47"/>
                  </a:cubicBezTo>
                  <a:cubicBezTo>
                    <a:pt x="1084" y="46"/>
                    <a:pt x="1084" y="46"/>
                    <a:pt x="1084" y="46"/>
                  </a:cubicBezTo>
                  <a:cubicBezTo>
                    <a:pt x="1084" y="46"/>
                    <a:pt x="1084" y="46"/>
                    <a:pt x="1084" y="46"/>
                  </a:cubicBezTo>
                  <a:cubicBezTo>
                    <a:pt x="1084" y="46"/>
                    <a:pt x="1084" y="45"/>
                    <a:pt x="1083" y="45"/>
                  </a:cubicBezTo>
                  <a:cubicBezTo>
                    <a:pt x="1084" y="45"/>
                    <a:pt x="1084" y="45"/>
                    <a:pt x="1084" y="45"/>
                  </a:cubicBezTo>
                  <a:cubicBezTo>
                    <a:pt x="1084" y="45"/>
                    <a:pt x="1083" y="45"/>
                    <a:pt x="1083" y="45"/>
                  </a:cubicBezTo>
                  <a:cubicBezTo>
                    <a:pt x="1083" y="45"/>
                    <a:pt x="1083" y="45"/>
                    <a:pt x="1083" y="45"/>
                  </a:cubicBezTo>
                  <a:cubicBezTo>
                    <a:pt x="1083" y="45"/>
                    <a:pt x="1083" y="44"/>
                    <a:pt x="1083" y="44"/>
                  </a:cubicBezTo>
                  <a:cubicBezTo>
                    <a:pt x="1083" y="44"/>
                    <a:pt x="1083" y="44"/>
                    <a:pt x="1083" y="44"/>
                  </a:cubicBezTo>
                  <a:cubicBezTo>
                    <a:pt x="1083" y="44"/>
                    <a:pt x="1082" y="43"/>
                    <a:pt x="1082" y="43"/>
                  </a:cubicBezTo>
                  <a:cubicBezTo>
                    <a:pt x="1082" y="43"/>
                    <a:pt x="1082" y="43"/>
                    <a:pt x="1082" y="43"/>
                  </a:cubicBezTo>
                  <a:cubicBezTo>
                    <a:pt x="1082" y="43"/>
                    <a:pt x="1082" y="43"/>
                    <a:pt x="1082" y="43"/>
                  </a:cubicBezTo>
                  <a:cubicBezTo>
                    <a:pt x="1082" y="43"/>
                    <a:pt x="1082" y="43"/>
                    <a:pt x="1082" y="43"/>
                  </a:cubicBezTo>
                  <a:cubicBezTo>
                    <a:pt x="1082" y="43"/>
                    <a:pt x="1082" y="42"/>
                    <a:pt x="1081" y="42"/>
                  </a:cubicBezTo>
                  <a:cubicBezTo>
                    <a:pt x="1081" y="42"/>
                    <a:pt x="1081" y="42"/>
                    <a:pt x="1081" y="42"/>
                  </a:cubicBezTo>
                  <a:cubicBezTo>
                    <a:pt x="1081" y="42"/>
                    <a:pt x="1081" y="42"/>
                    <a:pt x="1081" y="42"/>
                  </a:cubicBezTo>
                  <a:cubicBezTo>
                    <a:pt x="1081" y="42"/>
                    <a:pt x="1081" y="42"/>
                    <a:pt x="1081" y="42"/>
                  </a:cubicBezTo>
                  <a:cubicBezTo>
                    <a:pt x="1081" y="42"/>
                    <a:pt x="1081" y="41"/>
                    <a:pt x="1081" y="41"/>
                  </a:cubicBezTo>
                  <a:cubicBezTo>
                    <a:pt x="1081" y="41"/>
                    <a:pt x="1081" y="41"/>
                    <a:pt x="1081" y="41"/>
                  </a:cubicBezTo>
                  <a:cubicBezTo>
                    <a:pt x="1081" y="41"/>
                    <a:pt x="1081" y="41"/>
                    <a:pt x="1080" y="41"/>
                  </a:cubicBezTo>
                  <a:cubicBezTo>
                    <a:pt x="1080" y="41"/>
                    <a:pt x="1080" y="41"/>
                    <a:pt x="1080" y="41"/>
                  </a:cubicBezTo>
                  <a:cubicBezTo>
                    <a:pt x="1080" y="40"/>
                    <a:pt x="1079" y="39"/>
                    <a:pt x="1078" y="39"/>
                  </a:cubicBezTo>
                  <a:cubicBezTo>
                    <a:pt x="1078" y="38"/>
                    <a:pt x="1078" y="38"/>
                    <a:pt x="1078" y="38"/>
                  </a:cubicBezTo>
                  <a:cubicBezTo>
                    <a:pt x="1078" y="38"/>
                    <a:pt x="1078" y="38"/>
                    <a:pt x="1078" y="38"/>
                  </a:cubicBezTo>
                  <a:cubicBezTo>
                    <a:pt x="1078" y="38"/>
                    <a:pt x="1078" y="38"/>
                    <a:pt x="1078" y="38"/>
                  </a:cubicBezTo>
                  <a:cubicBezTo>
                    <a:pt x="1078" y="38"/>
                    <a:pt x="1077" y="38"/>
                    <a:pt x="1077" y="38"/>
                  </a:cubicBezTo>
                  <a:cubicBezTo>
                    <a:pt x="1077" y="38"/>
                    <a:pt x="1077" y="38"/>
                    <a:pt x="1077" y="38"/>
                  </a:cubicBezTo>
                  <a:cubicBezTo>
                    <a:pt x="1077" y="38"/>
                    <a:pt x="1077" y="37"/>
                    <a:pt x="1076" y="37"/>
                  </a:cubicBezTo>
                  <a:cubicBezTo>
                    <a:pt x="1076" y="37"/>
                    <a:pt x="1076" y="37"/>
                    <a:pt x="1076" y="37"/>
                  </a:cubicBezTo>
                  <a:cubicBezTo>
                    <a:pt x="1076" y="37"/>
                    <a:pt x="1076" y="37"/>
                    <a:pt x="1076" y="37"/>
                  </a:cubicBezTo>
                  <a:cubicBezTo>
                    <a:pt x="1076" y="37"/>
                    <a:pt x="1076" y="37"/>
                    <a:pt x="1076" y="37"/>
                  </a:cubicBezTo>
                  <a:cubicBezTo>
                    <a:pt x="1076" y="37"/>
                    <a:pt x="1075" y="37"/>
                    <a:pt x="1075" y="36"/>
                  </a:cubicBezTo>
                  <a:cubicBezTo>
                    <a:pt x="1075" y="36"/>
                    <a:pt x="1075" y="36"/>
                    <a:pt x="1075" y="36"/>
                  </a:cubicBezTo>
                  <a:cubicBezTo>
                    <a:pt x="1075" y="36"/>
                    <a:pt x="1075" y="36"/>
                    <a:pt x="1075" y="36"/>
                  </a:cubicBezTo>
                  <a:cubicBezTo>
                    <a:pt x="1075" y="36"/>
                    <a:pt x="1075" y="36"/>
                    <a:pt x="1075" y="36"/>
                  </a:cubicBezTo>
                  <a:cubicBezTo>
                    <a:pt x="1075" y="36"/>
                    <a:pt x="1075" y="36"/>
                    <a:pt x="1075" y="36"/>
                  </a:cubicBezTo>
                  <a:cubicBezTo>
                    <a:pt x="1074" y="36"/>
                    <a:pt x="1074" y="36"/>
                    <a:pt x="1074" y="36"/>
                  </a:cubicBezTo>
                  <a:cubicBezTo>
                    <a:pt x="1074" y="36"/>
                    <a:pt x="1074" y="36"/>
                    <a:pt x="1074" y="36"/>
                  </a:cubicBezTo>
                  <a:cubicBezTo>
                    <a:pt x="1074" y="35"/>
                    <a:pt x="1074" y="36"/>
                    <a:pt x="1073" y="35"/>
                  </a:cubicBezTo>
                  <a:cubicBezTo>
                    <a:pt x="1073" y="35"/>
                    <a:pt x="1073" y="35"/>
                    <a:pt x="1073" y="35"/>
                  </a:cubicBezTo>
                  <a:cubicBezTo>
                    <a:pt x="1073" y="35"/>
                    <a:pt x="1073" y="35"/>
                    <a:pt x="1073" y="35"/>
                  </a:cubicBezTo>
                  <a:cubicBezTo>
                    <a:pt x="1073" y="35"/>
                    <a:pt x="1073" y="35"/>
                    <a:pt x="1073" y="35"/>
                  </a:cubicBezTo>
                  <a:cubicBezTo>
                    <a:pt x="1073" y="35"/>
                    <a:pt x="1072" y="35"/>
                    <a:pt x="1072" y="35"/>
                  </a:cubicBezTo>
                  <a:cubicBezTo>
                    <a:pt x="1072" y="35"/>
                    <a:pt x="1072" y="35"/>
                    <a:pt x="1072" y="35"/>
                  </a:cubicBezTo>
                  <a:cubicBezTo>
                    <a:pt x="1072" y="35"/>
                    <a:pt x="1072" y="35"/>
                    <a:pt x="1072" y="35"/>
                  </a:cubicBezTo>
                  <a:cubicBezTo>
                    <a:pt x="1072" y="34"/>
                    <a:pt x="1071" y="35"/>
                    <a:pt x="1071" y="34"/>
                  </a:cubicBezTo>
                  <a:cubicBezTo>
                    <a:pt x="1071" y="34"/>
                    <a:pt x="1071" y="34"/>
                    <a:pt x="1071" y="34"/>
                  </a:cubicBezTo>
                  <a:cubicBezTo>
                    <a:pt x="1071" y="34"/>
                    <a:pt x="1070" y="34"/>
                    <a:pt x="1070" y="34"/>
                  </a:cubicBezTo>
                  <a:cubicBezTo>
                    <a:pt x="1070" y="34"/>
                    <a:pt x="1070" y="34"/>
                    <a:pt x="1070" y="34"/>
                  </a:cubicBezTo>
                  <a:cubicBezTo>
                    <a:pt x="1070" y="34"/>
                    <a:pt x="1069" y="34"/>
                    <a:pt x="1069" y="34"/>
                  </a:cubicBezTo>
                  <a:cubicBezTo>
                    <a:pt x="1069" y="34"/>
                    <a:pt x="1069" y="34"/>
                    <a:pt x="1069" y="34"/>
                  </a:cubicBezTo>
                  <a:cubicBezTo>
                    <a:pt x="1068" y="33"/>
                    <a:pt x="1068" y="34"/>
                    <a:pt x="1068" y="33"/>
                  </a:cubicBezTo>
                  <a:cubicBezTo>
                    <a:pt x="1067" y="33"/>
                    <a:pt x="1067" y="33"/>
                    <a:pt x="1067" y="33"/>
                  </a:cubicBezTo>
                  <a:cubicBezTo>
                    <a:pt x="1067" y="33"/>
                    <a:pt x="1066" y="33"/>
                    <a:pt x="1066" y="33"/>
                  </a:cubicBezTo>
                  <a:cubicBezTo>
                    <a:pt x="1066" y="33"/>
                    <a:pt x="1066" y="33"/>
                    <a:pt x="1065" y="33"/>
                  </a:cubicBezTo>
                  <a:cubicBezTo>
                    <a:pt x="1065" y="33"/>
                    <a:pt x="1064" y="33"/>
                    <a:pt x="1063" y="33"/>
                  </a:cubicBezTo>
                  <a:cubicBezTo>
                    <a:pt x="1061" y="33"/>
                    <a:pt x="1059" y="33"/>
                    <a:pt x="1058" y="33"/>
                  </a:cubicBezTo>
                  <a:cubicBezTo>
                    <a:pt x="1057" y="33"/>
                    <a:pt x="1056" y="33"/>
                    <a:pt x="1055" y="33"/>
                  </a:cubicBezTo>
                  <a:cubicBezTo>
                    <a:pt x="1055" y="33"/>
                    <a:pt x="1055" y="33"/>
                    <a:pt x="1055" y="33"/>
                  </a:cubicBezTo>
                  <a:cubicBezTo>
                    <a:pt x="1054" y="33"/>
                    <a:pt x="1054" y="33"/>
                    <a:pt x="1053" y="33"/>
                  </a:cubicBezTo>
                  <a:cubicBezTo>
                    <a:pt x="1053" y="33"/>
                    <a:pt x="1053" y="33"/>
                    <a:pt x="1053" y="33"/>
                  </a:cubicBezTo>
                  <a:cubicBezTo>
                    <a:pt x="1053" y="34"/>
                    <a:pt x="1052" y="33"/>
                    <a:pt x="1052" y="34"/>
                  </a:cubicBezTo>
                  <a:cubicBezTo>
                    <a:pt x="1052" y="34"/>
                    <a:pt x="1052" y="34"/>
                    <a:pt x="1052" y="34"/>
                  </a:cubicBezTo>
                  <a:cubicBezTo>
                    <a:pt x="1052" y="34"/>
                    <a:pt x="1051" y="34"/>
                    <a:pt x="1051" y="34"/>
                  </a:cubicBezTo>
                  <a:cubicBezTo>
                    <a:pt x="1051" y="34"/>
                    <a:pt x="1051" y="34"/>
                    <a:pt x="1051" y="34"/>
                  </a:cubicBezTo>
                  <a:cubicBezTo>
                    <a:pt x="1051" y="34"/>
                    <a:pt x="1050" y="34"/>
                    <a:pt x="1050" y="34"/>
                  </a:cubicBezTo>
                  <a:cubicBezTo>
                    <a:pt x="1050" y="34"/>
                    <a:pt x="1050" y="34"/>
                    <a:pt x="1050" y="34"/>
                  </a:cubicBezTo>
                  <a:cubicBezTo>
                    <a:pt x="1050" y="35"/>
                    <a:pt x="1049" y="34"/>
                    <a:pt x="1049" y="35"/>
                  </a:cubicBezTo>
                  <a:cubicBezTo>
                    <a:pt x="1049" y="35"/>
                    <a:pt x="1049" y="35"/>
                    <a:pt x="1049" y="35"/>
                  </a:cubicBezTo>
                  <a:cubicBezTo>
                    <a:pt x="1049" y="35"/>
                    <a:pt x="1048" y="35"/>
                    <a:pt x="1048" y="35"/>
                  </a:cubicBezTo>
                  <a:cubicBezTo>
                    <a:pt x="1048" y="35"/>
                    <a:pt x="1048" y="35"/>
                    <a:pt x="1048" y="35"/>
                  </a:cubicBezTo>
                  <a:cubicBezTo>
                    <a:pt x="1048" y="35"/>
                    <a:pt x="1048" y="35"/>
                    <a:pt x="1047" y="35"/>
                  </a:cubicBezTo>
                  <a:cubicBezTo>
                    <a:pt x="1047" y="35"/>
                    <a:pt x="1047" y="35"/>
                    <a:pt x="1047" y="35"/>
                  </a:cubicBezTo>
                  <a:cubicBezTo>
                    <a:pt x="1047" y="36"/>
                    <a:pt x="1047" y="36"/>
                    <a:pt x="1047" y="36"/>
                  </a:cubicBezTo>
                  <a:cubicBezTo>
                    <a:pt x="1047" y="36"/>
                    <a:pt x="1047" y="36"/>
                    <a:pt x="1047" y="36"/>
                  </a:cubicBezTo>
                  <a:cubicBezTo>
                    <a:pt x="1047" y="36"/>
                    <a:pt x="1046" y="36"/>
                    <a:pt x="1046" y="36"/>
                  </a:cubicBezTo>
                  <a:cubicBezTo>
                    <a:pt x="1046" y="36"/>
                    <a:pt x="1046" y="36"/>
                    <a:pt x="1046" y="36"/>
                  </a:cubicBezTo>
                  <a:cubicBezTo>
                    <a:pt x="1046" y="36"/>
                    <a:pt x="1045" y="36"/>
                    <a:pt x="1045" y="36"/>
                  </a:cubicBezTo>
                  <a:cubicBezTo>
                    <a:pt x="1045" y="36"/>
                    <a:pt x="1045" y="36"/>
                    <a:pt x="1045" y="36"/>
                  </a:cubicBezTo>
                  <a:cubicBezTo>
                    <a:pt x="1045" y="36"/>
                    <a:pt x="1045" y="37"/>
                    <a:pt x="1045" y="37"/>
                  </a:cubicBezTo>
                  <a:cubicBezTo>
                    <a:pt x="1045" y="37"/>
                    <a:pt x="1045" y="37"/>
                    <a:pt x="1045" y="37"/>
                  </a:cubicBezTo>
                  <a:cubicBezTo>
                    <a:pt x="1045" y="37"/>
                    <a:pt x="1044" y="37"/>
                    <a:pt x="1044" y="37"/>
                  </a:cubicBezTo>
                  <a:cubicBezTo>
                    <a:pt x="1044" y="37"/>
                    <a:pt x="1044" y="37"/>
                    <a:pt x="1044" y="37"/>
                  </a:cubicBezTo>
                  <a:cubicBezTo>
                    <a:pt x="1044" y="37"/>
                    <a:pt x="1044" y="37"/>
                    <a:pt x="1044" y="38"/>
                  </a:cubicBezTo>
                  <a:cubicBezTo>
                    <a:pt x="1044" y="38"/>
                    <a:pt x="1044" y="38"/>
                    <a:pt x="1044" y="38"/>
                  </a:cubicBezTo>
                  <a:cubicBezTo>
                    <a:pt x="1043" y="38"/>
                    <a:pt x="1043" y="38"/>
                    <a:pt x="1043" y="38"/>
                  </a:cubicBezTo>
                  <a:cubicBezTo>
                    <a:pt x="1043" y="38"/>
                    <a:pt x="1043" y="38"/>
                    <a:pt x="1043" y="38"/>
                  </a:cubicBezTo>
                  <a:cubicBezTo>
                    <a:pt x="1043" y="38"/>
                    <a:pt x="1043" y="38"/>
                    <a:pt x="1043" y="38"/>
                  </a:cubicBezTo>
                  <a:cubicBezTo>
                    <a:pt x="1043" y="38"/>
                    <a:pt x="1043" y="38"/>
                    <a:pt x="1043" y="38"/>
                  </a:cubicBezTo>
                  <a:cubicBezTo>
                    <a:pt x="1043" y="38"/>
                    <a:pt x="1042" y="38"/>
                    <a:pt x="1042" y="39"/>
                  </a:cubicBezTo>
                  <a:cubicBezTo>
                    <a:pt x="1042" y="39"/>
                    <a:pt x="1042" y="39"/>
                    <a:pt x="1042" y="39"/>
                  </a:cubicBezTo>
                  <a:cubicBezTo>
                    <a:pt x="1042" y="39"/>
                    <a:pt x="1042" y="39"/>
                    <a:pt x="1042" y="39"/>
                  </a:cubicBezTo>
                  <a:cubicBezTo>
                    <a:pt x="1042" y="39"/>
                    <a:pt x="1042" y="39"/>
                    <a:pt x="1042" y="39"/>
                  </a:cubicBezTo>
                  <a:cubicBezTo>
                    <a:pt x="1042" y="39"/>
                    <a:pt x="1042" y="39"/>
                    <a:pt x="1041" y="39"/>
                  </a:cubicBezTo>
                  <a:cubicBezTo>
                    <a:pt x="1041" y="39"/>
                    <a:pt x="1041" y="39"/>
                    <a:pt x="1041" y="39"/>
                  </a:cubicBezTo>
                  <a:cubicBezTo>
                    <a:pt x="1041" y="40"/>
                    <a:pt x="1040" y="40"/>
                    <a:pt x="1040" y="40"/>
                  </a:cubicBezTo>
                  <a:cubicBezTo>
                    <a:pt x="1040" y="40"/>
                    <a:pt x="1040" y="40"/>
                    <a:pt x="1040" y="40"/>
                  </a:cubicBezTo>
                  <a:cubicBezTo>
                    <a:pt x="1040" y="40"/>
                    <a:pt x="1040" y="40"/>
                    <a:pt x="1040" y="41"/>
                  </a:cubicBezTo>
                  <a:cubicBezTo>
                    <a:pt x="1040" y="41"/>
                    <a:pt x="1040" y="41"/>
                    <a:pt x="1040" y="41"/>
                  </a:cubicBezTo>
                  <a:cubicBezTo>
                    <a:pt x="1040" y="41"/>
                    <a:pt x="1039" y="41"/>
                    <a:pt x="1039" y="41"/>
                  </a:cubicBezTo>
                  <a:cubicBezTo>
                    <a:pt x="1039" y="41"/>
                    <a:pt x="1039" y="41"/>
                    <a:pt x="1039" y="41"/>
                  </a:cubicBezTo>
                  <a:cubicBezTo>
                    <a:pt x="1039" y="41"/>
                    <a:pt x="1039" y="41"/>
                    <a:pt x="1039" y="41"/>
                  </a:cubicBezTo>
                  <a:cubicBezTo>
                    <a:pt x="1039" y="41"/>
                    <a:pt x="1039" y="41"/>
                    <a:pt x="1039" y="41"/>
                  </a:cubicBezTo>
                  <a:cubicBezTo>
                    <a:pt x="1039" y="41"/>
                    <a:pt x="1039" y="42"/>
                    <a:pt x="1039" y="42"/>
                  </a:cubicBezTo>
                  <a:cubicBezTo>
                    <a:pt x="1039" y="42"/>
                    <a:pt x="1039" y="42"/>
                    <a:pt x="1039" y="42"/>
                  </a:cubicBezTo>
                  <a:cubicBezTo>
                    <a:pt x="1039" y="42"/>
                    <a:pt x="1038" y="42"/>
                    <a:pt x="1038" y="42"/>
                  </a:cubicBezTo>
                  <a:cubicBezTo>
                    <a:pt x="1038" y="42"/>
                    <a:pt x="1038" y="42"/>
                    <a:pt x="1038" y="42"/>
                  </a:cubicBezTo>
                  <a:cubicBezTo>
                    <a:pt x="1038" y="42"/>
                    <a:pt x="1038" y="43"/>
                    <a:pt x="1038" y="43"/>
                  </a:cubicBezTo>
                  <a:cubicBezTo>
                    <a:pt x="1038" y="43"/>
                    <a:pt x="1038" y="43"/>
                    <a:pt x="1038" y="43"/>
                  </a:cubicBezTo>
                  <a:cubicBezTo>
                    <a:pt x="1038" y="43"/>
                    <a:pt x="1037" y="43"/>
                    <a:pt x="1037" y="43"/>
                  </a:cubicBezTo>
                  <a:cubicBezTo>
                    <a:pt x="1037" y="43"/>
                    <a:pt x="1037" y="43"/>
                    <a:pt x="1037" y="43"/>
                  </a:cubicBezTo>
                  <a:cubicBezTo>
                    <a:pt x="1037" y="44"/>
                    <a:pt x="1037" y="44"/>
                    <a:pt x="1037" y="44"/>
                  </a:cubicBezTo>
                  <a:cubicBezTo>
                    <a:pt x="1037" y="44"/>
                    <a:pt x="1037" y="44"/>
                    <a:pt x="1037" y="44"/>
                  </a:cubicBezTo>
                  <a:cubicBezTo>
                    <a:pt x="1037" y="44"/>
                    <a:pt x="1037" y="44"/>
                    <a:pt x="1036" y="45"/>
                  </a:cubicBezTo>
                  <a:cubicBezTo>
                    <a:pt x="1036" y="45"/>
                    <a:pt x="1036" y="45"/>
                    <a:pt x="1036" y="45"/>
                  </a:cubicBezTo>
                  <a:cubicBezTo>
                    <a:pt x="1036" y="45"/>
                    <a:pt x="1036" y="45"/>
                    <a:pt x="1036" y="45"/>
                  </a:cubicBezTo>
                  <a:cubicBezTo>
                    <a:pt x="1036" y="45"/>
                    <a:pt x="1036" y="45"/>
                    <a:pt x="1036" y="45"/>
                  </a:cubicBezTo>
                  <a:cubicBezTo>
                    <a:pt x="1036" y="45"/>
                    <a:pt x="1036" y="46"/>
                    <a:pt x="1036" y="46"/>
                  </a:cubicBezTo>
                  <a:cubicBezTo>
                    <a:pt x="1036" y="46"/>
                    <a:pt x="1036" y="46"/>
                    <a:pt x="1036" y="46"/>
                  </a:cubicBezTo>
                  <a:cubicBezTo>
                    <a:pt x="1035" y="46"/>
                    <a:pt x="1035" y="46"/>
                    <a:pt x="1035" y="46"/>
                  </a:cubicBezTo>
                  <a:cubicBezTo>
                    <a:pt x="1035" y="46"/>
                    <a:pt x="1035" y="46"/>
                    <a:pt x="1035" y="46"/>
                  </a:cubicBezTo>
                  <a:cubicBezTo>
                    <a:pt x="1035" y="46"/>
                    <a:pt x="1035" y="47"/>
                    <a:pt x="1035" y="47"/>
                  </a:cubicBezTo>
                  <a:cubicBezTo>
                    <a:pt x="1035" y="47"/>
                    <a:pt x="1035" y="47"/>
                    <a:pt x="1035" y="47"/>
                  </a:cubicBezTo>
                  <a:cubicBezTo>
                    <a:pt x="1035" y="47"/>
                    <a:pt x="1035" y="47"/>
                    <a:pt x="1035" y="47"/>
                  </a:cubicBezTo>
                  <a:cubicBezTo>
                    <a:pt x="1035" y="47"/>
                    <a:pt x="1035" y="47"/>
                    <a:pt x="1035" y="47"/>
                  </a:cubicBezTo>
                  <a:cubicBezTo>
                    <a:pt x="1034" y="47"/>
                    <a:pt x="1034" y="48"/>
                    <a:pt x="1034" y="48"/>
                  </a:cubicBezTo>
                  <a:cubicBezTo>
                    <a:pt x="1034" y="48"/>
                    <a:pt x="1034" y="48"/>
                    <a:pt x="1034" y="48"/>
                  </a:cubicBezTo>
                  <a:cubicBezTo>
                    <a:pt x="1034" y="48"/>
                    <a:pt x="1034" y="48"/>
                    <a:pt x="1034" y="49"/>
                  </a:cubicBezTo>
                  <a:cubicBezTo>
                    <a:pt x="1034" y="49"/>
                    <a:pt x="1034" y="49"/>
                    <a:pt x="1034" y="49"/>
                  </a:cubicBezTo>
                  <a:cubicBezTo>
                    <a:pt x="1034" y="49"/>
                    <a:pt x="1034" y="49"/>
                    <a:pt x="1033" y="49"/>
                  </a:cubicBezTo>
                  <a:cubicBezTo>
                    <a:pt x="1033" y="49"/>
                    <a:pt x="1033" y="49"/>
                    <a:pt x="1033" y="49"/>
                  </a:cubicBezTo>
                  <a:cubicBezTo>
                    <a:pt x="1033" y="49"/>
                    <a:pt x="1033" y="50"/>
                    <a:pt x="1033" y="50"/>
                  </a:cubicBezTo>
                  <a:cubicBezTo>
                    <a:pt x="1033" y="50"/>
                    <a:pt x="1033" y="50"/>
                    <a:pt x="1033" y="50"/>
                  </a:cubicBezTo>
                  <a:cubicBezTo>
                    <a:pt x="1033" y="50"/>
                    <a:pt x="1033" y="51"/>
                    <a:pt x="1033" y="51"/>
                  </a:cubicBezTo>
                  <a:cubicBezTo>
                    <a:pt x="1033" y="51"/>
                    <a:pt x="1033" y="51"/>
                    <a:pt x="1033" y="51"/>
                  </a:cubicBezTo>
                  <a:cubicBezTo>
                    <a:pt x="1033" y="51"/>
                    <a:pt x="1033" y="51"/>
                    <a:pt x="1032" y="51"/>
                  </a:cubicBezTo>
                  <a:cubicBezTo>
                    <a:pt x="1032" y="51"/>
                    <a:pt x="1032" y="51"/>
                    <a:pt x="1032" y="51"/>
                  </a:cubicBezTo>
                  <a:cubicBezTo>
                    <a:pt x="1032" y="52"/>
                    <a:pt x="1032" y="52"/>
                    <a:pt x="1032" y="52"/>
                  </a:cubicBezTo>
                  <a:cubicBezTo>
                    <a:pt x="1032" y="52"/>
                    <a:pt x="1032" y="52"/>
                    <a:pt x="1032" y="52"/>
                  </a:cubicBezTo>
                  <a:cubicBezTo>
                    <a:pt x="1032" y="53"/>
                    <a:pt x="1032" y="53"/>
                    <a:pt x="1032" y="53"/>
                  </a:cubicBezTo>
                  <a:cubicBezTo>
                    <a:pt x="1032" y="53"/>
                    <a:pt x="1032" y="53"/>
                    <a:pt x="1032" y="53"/>
                  </a:cubicBezTo>
                  <a:cubicBezTo>
                    <a:pt x="1031" y="53"/>
                    <a:pt x="1032" y="54"/>
                    <a:pt x="1031" y="54"/>
                  </a:cubicBezTo>
                  <a:cubicBezTo>
                    <a:pt x="1031" y="54"/>
                    <a:pt x="1031" y="54"/>
                    <a:pt x="1031" y="54"/>
                  </a:cubicBezTo>
                  <a:cubicBezTo>
                    <a:pt x="1031" y="54"/>
                    <a:pt x="1031" y="55"/>
                    <a:pt x="1031" y="55"/>
                  </a:cubicBezTo>
                  <a:cubicBezTo>
                    <a:pt x="1031" y="55"/>
                    <a:pt x="1031" y="55"/>
                    <a:pt x="1031" y="55"/>
                  </a:cubicBezTo>
                  <a:cubicBezTo>
                    <a:pt x="1031" y="56"/>
                    <a:pt x="1031" y="56"/>
                    <a:pt x="1031" y="56"/>
                  </a:cubicBezTo>
                  <a:cubicBezTo>
                    <a:pt x="1031" y="56"/>
                    <a:pt x="1031" y="57"/>
                    <a:pt x="1031" y="57"/>
                  </a:cubicBezTo>
                  <a:cubicBezTo>
                    <a:pt x="1030" y="57"/>
                    <a:pt x="1031" y="57"/>
                    <a:pt x="1030" y="58"/>
                  </a:cubicBezTo>
                  <a:cubicBezTo>
                    <a:pt x="1030" y="58"/>
                    <a:pt x="1030" y="58"/>
                    <a:pt x="1030" y="58"/>
                  </a:cubicBezTo>
                  <a:cubicBezTo>
                    <a:pt x="1030" y="58"/>
                    <a:pt x="1030" y="59"/>
                    <a:pt x="1030" y="59"/>
                  </a:cubicBezTo>
                  <a:cubicBezTo>
                    <a:pt x="1030" y="59"/>
                    <a:pt x="1030" y="59"/>
                    <a:pt x="1030" y="59"/>
                  </a:cubicBezTo>
                  <a:cubicBezTo>
                    <a:pt x="1030" y="59"/>
                    <a:pt x="1030" y="59"/>
                    <a:pt x="1030" y="59"/>
                  </a:cubicBezTo>
                  <a:cubicBezTo>
                    <a:pt x="1030" y="60"/>
                    <a:pt x="1030" y="61"/>
                    <a:pt x="1030" y="61"/>
                  </a:cubicBezTo>
                  <a:cubicBezTo>
                    <a:pt x="1030" y="61"/>
                    <a:pt x="1030" y="61"/>
                    <a:pt x="1030" y="61"/>
                  </a:cubicBezTo>
                  <a:cubicBezTo>
                    <a:pt x="1029" y="62"/>
                    <a:pt x="1030" y="63"/>
                    <a:pt x="1029" y="64"/>
                  </a:cubicBezTo>
                  <a:cubicBezTo>
                    <a:pt x="1029" y="64"/>
                    <a:pt x="1029" y="65"/>
                    <a:pt x="1029" y="65"/>
                  </a:cubicBezTo>
                  <a:cubicBezTo>
                    <a:pt x="1029" y="67"/>
                    <a:pt x="1029" y="70"/>
                    <a:pt x="1029" y="72"/>
                  </a:cubicBezTo>
                  <a:cubicBezTo>
                    <a:pt x="1029" y="72"/>
                    <a:pt x="1029" y="73"/>
                    <a:pt x="1029" y="73"/>
                  </a:cubicBezTo>
                  <a:cubicBezTo>
                    <a:pt x="1030" y="74"/>
                    <a:pt x="1029" y="75"/>
                    <a:pt x="1030" y="76"/>
                  </a:cubicBezTo>
                  <a:cubicBezTo>
                    <a:pt x="1030" y="76"/>
                    <a:pt x="1030" y="76"/>
                    <a:pt x="1030" y="76"/>
                  </a:cubicBezTo>
                  <a:cubicBezTo>
                    <a:pt x="1030" y="77"/>
                    <a:pt x="1030" y="77"/>
                    <a:pt x="1030" y="78"/>
                  </a:cubicBezTo>
                  <a:cubicBezTo>
                    <a:pt x="1030" y="78"/>
                    <a:pt x="1030" y="78"/>
                    <a:pt x="1030" y="78"/>
                  </a:cubicBezTo>
                  <a:cubicBezTo>
                    <a:pt x="1030" y="79"/>
                    <a:pt x="1030" y="79"/>
                    <a:pt x="1030" y="80"/>
                  </a:cubicBezTo>
                  <a:cubicBezTo>
                    <a:pt x="1030" y="80"/>
                    <a:pt x="1030" y="80"/>
                    <a:pt x="1030" y="80"/>
                  </a:cubicBezTo>
                  <a:cubicBezTo>
                    <a:pt x="1031" y="80"/>
                    <a:pt x="1030" y="81"/>
                    <a:pt x="1031" y="81"/>
                  </a:cubicBezTo>
                  <a:cubicBezTo>
                    <a:pt x="1031" y="81"/>
                    <a:pt x="1031" y="81"/>
                    <a:pt x="1031" y="81"/>
                  </a:cubicBezTo>
                  <a:cubicBezTo>
                    <a:pt x="1031" y="82"/>
                    <a:pt x="1031" y="82"/>
                    <a:pt x="1031" y="82"/>
                  </a:cubicBezTo>
                  <a:cubicBezTo>
                    <a:pt x="1031" y="82"/>
                    <a:pt x="1031" y="82"/>
                    <a:pt x="1031" y="82"/>
                  </a:cubicBezTo>
                  <a:cubicBezTo>
                    <a:pt x="1031" y="83"/>
                    <a:pt x="1031" y="83"/>
                    <a:pt x="1031" y="83"/>
                  </a:cubicBezTo>
                  <a:cubicBezTo>
                    <a:pt x="1031" y="83"/>
                    <a:pt x="1031" y="83"/>
                    <a:pt x="1031" y="83"/>
                  </a:cubicBezTo>
                  <a:cubicBezTo>
                    <a:pt x="1031" y="83"/>
                    <a:pt x="1031" y="83"/>
                    <a:pt x="1031" y="83"/>
                  </a:cubicBezTo>
                  <a:cubicBezTo>
                    <a:pt x="1031" y="84"/>
                    <a:pt x="1031" y="84"/>
                    <a:pt x="1031" y="84"/>
                  </a:cubicBezTo>
                  <a:cubicBezTo>
                    <a:pt x="1032" y="84"/>
                    <a:pt x="1032" y="84"/>
                    <a:pt x="1032" y="84"/>
                  </a:cubicBezTo>
                  <a:cubicBezTo>
                    <a:pt x="1032" y="84"/>
                    <a:pt x="1032" y="84"/>
                    <a:pt x="1032" y="84"/>
                  </a:cubicBezTo>
                  <a:cubicBezTo>
                    <a:pt x="1032" y="85"/>
                    <a:pt x="1032" y="85"/>
                    <a:pt x="1032" y="85"/>
                  </a:cubicBezTo>
                  <a:cubicBezTo>
                    <a:pt x="1032" y="85"/>
                    <a:pt x="1032" y="85"/>
                    <a:pt x="1032" y="85"/>
                  </a:cubicBezTo>
                  <a:cubicBezTo>
                    <a:pt x="1032" y="86"/>
                    <a:pt x="1032" y="86"/>
                    <a:pt x="1032" y="86"/>
                  </a:cubicBezTo>
                  <a:cubicBezTo>
                    <a:pt x="1032" y="86"/>
                    <a:pt x="1032" y="86"/>
                    <a:pt x="1032" y="86"/>
                  </a:cubicBezTo>
                  <a:cubicBezTo>
                    <a:pt x="1033" y="86"/>
                    <a:pt x="1033" y="87"/>
                    <a:pt x="1033" y="87"/>
                  </a:cubicBezTo>
                  <a:cubicBezTo>
                    <a:pt x="1033" y="87"/>
                    <a:pt x="1033" y="87"/>
                    <a:pt x="1033" y="87"/>
                  </a:cubicBezTo>
                  <a:cubicBezTo>
                    <a:pt x="1033" y="87"/>
                    <a:pt x="1033" y="87"/>
                    <a:pt x="1033" y="87"/>
                  </a:cubicBezTo>
                  <a:cubicBezTo>
                    <a:pt x="1033" y="87"/>
                    <a:pt x="1033" y="87"/>
                    <a:pt x="1033" y="88"/>
                  </a:cubicBezTo>
                  <a:cubicBezTo>
                    <a:pt x="1033" y="88"/>
                    <a:pt x="1033" y="88"/>
                    <a:pt x="1033" y="88"/>
                  </a:cubicBezTo>
                  <a:cubicBezTo>
                    <a:pt x="1033" y="88"/>
                    <a:pt x="1033" y="88"/>
                    <a:pt x="1033" y="88"/>
                  </a:cubicBezTo>
                  <a:cubicBezTo>
                    <a:pt x="1033" y="88"/>
                    <a:pt x="1033" y="88"/>
                    <a:pt x="1033" y="88"/>
                  </a:cubicBezTo>
                  <a:cubicBezTo>
                    <a:pt x="1034" y="88"/>
                    <a:pt x="1034" y="88"/>
                    <a:pt x="1034" y="88"/>
                  </a:cubicBezTo>
                  <a:cubicBezTo>
                    <a:pt x="1034" y="88"/>
                    <a:pt x="1034" y="88"/>
                    <a:pt x="1034" y="88"/>
                  </a:cubicBezTo>
                  <a:cubicBezTo>
                    <a:pt x="1034" y="89"/>
                    <a:pt x="1034" y="89"/>
                    <a:pt x="1034" y="89"/>
                  </a:cubicBezTo>
                  <a:cubicBezTo>
                    <a:pt x="1034" y="89"/>
                    <a:pt x="1034" y="89"/>
                    <a:pt x="1034" y="89"/>
                  </a:cubicBezTo>
                  <a:cubicBezTo>
                    <a:pt x="1034" y="89"/>
                    <a:pt x="1034" y="90"/>
                    <a:pt x="1034" y="90"/>
                  </a:cubicBezTo>
                  <a:cubicBezTo>
                    <a:pt x="1034" y="90"/>
                    <a:pt x="1034" y="90"/>
                    <a:pt x="1034" y="90"/>
                  </a:cubicBezTo>
                  <a:cubicBezTo>
                    <a:pt x="1034" y="90"/>
                    <a:pt x="1034" y="90"/>
                    <a:pt x="1035" y="90"/>
                  </a:cubicBezTo>
                  <a:cubicBezTo>
                    <a:pt x="1035" y="90"/>
                    <a:pt x="1035" y="90"/>
                    <a:pt x="1035" y="90"/>
                  </a:cubicBezTo>
                  <a:cubicBezTo>
                    <a:pt x="1035" y="90"/>
                    <a:pt x="1035" y="91"/>
                    <a:pt x="1035" y="91"/>
                  </a:cubicBezTo>
                  <a:cubicBezTo>
                    <a:pt x="1035" y="91"/>
                    <a:pt x="1035" y="91"/>
                    <a:pt x="1035" y="91"/>
                  </a:cubicBezTo>
                  <a:cubicBezTo>
                    <a:pt x="1035" y="91"/>
                    <a:pt x="1035" y="91"/>
                    <a:pt x="1035" y="91"/>
                  </a:cubicBezTo>
                  <a:cubicBezTo>
                    <a:pt x="1035" y="91"/>
                    <a:pt x="1035" y="91"/>
                    <a:pt x="1035" y="91"/>
                  </a:cubicBezTo>
                  <a:cubicBezTo>
                    <a:pt x="1035" y="92"/>
                    <a:pt x="1035" y="92"/>
                    <a:pt x="1036" y="92"/>
                  </a:cubicBezTo>
                  <a:cubicBezTo>
                    <a:pt x="1036" y="92"/>
                    <a:pt x="1036" y="92"/>
                    <a:pt x="1036" y="92"/>
                  </a:cubicBezTo>
                  <a:cubicBezTo>
                    <a:pt x="1036" y="92"/>
                    <a:pt x="1036" y="92"/>
                    <a:pt x="1036" y="92"/>
                  </a:cubicBezTo>
                  <a:cubicBezTo>
                    <a:pt x="1036" y="92"/>
                    <a:pt x="1036" y="92"/>
                    <a:pt x="1036" y="92"/>
                  </a:cubicBezTo>
                  <a:cubicBezTo>
                    <a:pt x="1036" y="93"/>
                    <a:pt x="1036" y="93"/>
                    <a:pt x="1036" y="93"/>
                  </a:cubicBezTo>
                  <a:cubicBezTo>
                    <a:pt x="1036" y="93"/>
                    <a:pt x="1036" y="93"/>
                    <a:pt x="1036" y="93"/>
                  </a:cubicBezTo>
                  <a:cubicBezTo>
                    <a:pt x="1036" y="93"/>
                    <a:pt x="1036" y="93"/>
                    <a:pt x="1037" y="93"/>
                  </a:cubicBezTo>
                  <a:cubicBezTo>
                    <a:pt x="1037" y="93"/>
                    <a:pt x="1037" y="93"/>
                    <a:pt x="1037" y="93"/>
                  </a:cubicBezTo>
                  <a:cubicBezTo>
                    <a:pt x="1037" y="93"/>
                    <a:pt x="1037" y="93"/>
                    <a:pt x="1037" y="94"/>
                  </a:cubicBezTo>
                  <a:cubicBezTo>
                    <a:pt x="1037" y="94"/>
                    <a:pt x="1037" y="94"/>
                    <a:pt x="1037" y="94"/>
                  </a:cubicBezTo>
                  <a:cubicBezTo>
                    <a:pt x="1037" y="94"/>
                    <a:pt x="1037" y="94"/>
                    <a:pt x="1038" y="94"/>
                  </a:cubicBezTo>
                  <a:cubicBezTo>
                    <a:pt x="1038" y="94"/>
                    <a:pt x="1038" y="94"/>
                    <a:pt x="1038" y="94"/>
                  </a:cubicBezTo>
                  <a:cubicBezTo>
                    <a:pt x="1038" y="95"/>
                    <a:pt x="1038" y="95"/>
                    <a:pt x="1038" y="95"/>
                  </a:cubicBezTo>
                  <a:cubicBezTo>
                    <a:pt x="1038" y="95"/>
                    <a:pt x="1038" y="95"/>
                    <a:pt x="1038" y="95"/>
                  </a:cubicBezTo>
                  <a:cubicBezTo>
                    <a:pt x="1038" y="95"/>
                    <a:pt x="1038" y="95"/>
                    <a:pt x="1038" y="95"/>
                  </a:cubicBezTo>
                  <a:cubicBezTo>
                    <a:pt x="1038" y="95"/>
                    <a:pt x="1038" y="95"/>
                    <a:pt x="1038" y="95"/>
                  </a:cubicBezTo>
                  <a:cubicBezTo>
                    <a:pt x="1038" y="95"/>
                    <a:pt x="1039" y="95"/>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39" y="96"/>
                    <a:pt x="1039" y="96"/>
                    <a:pt x="1039" y="96"/>
                  </a:cubicBezTo>
                  <a:cubicBezTo>
                    <a:pt x="1040" y="97"/>
                    <a:pt x="1040" y="97"/>
                    <a:pt x="1040" y="97"/>
                  </a:cubicBezTo>
                  <a:cubicBezTo>
                    <a:pt x="1040" y="97"/>
                    <a:pt x="1040" y="97"/>
                    <a:pt x="1040" y="97"/>
                  </a:cubicBezTo>
                  <a:cubicBezTo>
                    <a:pt x="1041" y="97"/>
                    <a:pt x="1041" y="97"/>
                    <a:pt x="1041" y="97"/>
                  </a:cubicBezTo>
                  <a:cubicBezTo>
                    <a:pt x="1041" y="97"/>
                    <a:pt x="1041" y="97"/>
                    <a:pt x="1041" y="97"/>
                  </a:cubicBezTo>
                  <a:cubicBezTo>
                    <a:pt x="1041" y="97"/>
                    <a:pt x="1041" y="98"/>
                    <a:pt x="1041" y="98"/>
                  </a:cubicBezTo>
                  <a:cubicBezTo>
                    <a:pt x="1041" y="98"/>
                    <a:pt x="1041" y="98"/>
                    <a:pt x="1041" y="98"/>
                  </a:cubicBezTo>
                  <a:cubicBezTo>
                    <a:pt x="1041" y="98"/>
                    <a:pt x="1042" y="98"/>
                    <a:pt x="1042" y="98"/>
                  </a:cubicBezTo>
                  <a:cubicBezTo>
                    <a:pt x="1042" y="98"/>
                    <a:pt x="1042" y="98"/>
                    <a:pt x="1042" y="98"/>
                  </a:cubicBezTo>
                  <a:cubicBezTo>
                    <a:pt x="1042" y="98"/>
                    <a:pt x="1042" y="98"/>
                    <a:pt x="1042" y="98"/>
                  </a:cubicBezTo>
                  <a:cubicBezTo>
                    <a:pt x="1042" y="98"/>
                    <a:pt x="1042" y="98"/>
                    <a:pt x="1042" y="98"/>
                  </a:cubicBezTo>
                  <a:cubicBezTo>
                    <a:pt x="1042" y="99"/>
                    <a:pt x="1043" y="98"/>
                    <a:pt x="1043" y="99"/>
                  </a:cubicBezTo>
                  <a:cubicBezTo>
                    <a:pt x="1043" y="99"/>
                    <a:pt x="1043" y="99"/>
                    <a:pt x="1043" y="99"/>
                  </a:cubicBezTo>
                  <a:cubicBezTo>
                    <a:pt x="1043" y="99"/>
                    <a:pt x="1043" y="99"/>
                    <a:pt x="1043" y="99"/>
                  </a:cubicBezTo>
                  <a:cubicBezTo>
                    <a:pt x="1043" y="99"/>
                    <a:pt x="1043" y="99"/>
                    <a:pt x="1043" y="99"/>
                  </a:cubicBezTo>
                  <a:cubicBezTo>
                    <a:pt x="1043" y="99"/>
                    <a:pt x="1044" y="99"/>
                    <a:pt x="1044" y="99"/>
                  </a:cubicBezTo>
                  <a:cubicBezTo>
                    <a:pt x="1044" y="99"/>
                    <a:pt x="1044" y="99"/>
                    <a:pt x="1044" y="99"/>
                  </a:cubicBezTo>
                  <a:cubicBezTo>
                    <a:pt x="1044" y="100"/>
                    <a:pt x="1044" y="100"/>
                    <a:pt x="1045" y="100"/>
                  </a:cubicBezTo>
                  <a:cubicBezTo>
                    <a:pt x="1045" y="100"/>
                    <a:pt x="1045" y="100"/>
                    <a:pt x="1045" y="100"/>
                  </a:cubicBezTo>
                  <a:cubicBezTo>
                    <a:pt x="1045" y="100"/>
                    <a:pt x="1045" y="100"/>
                    <a:pt x="1045" y="100"/>
                  </a:cubicBezTo>
                  <a:cubicBezTo>
                    <a:pt x="1045" y="100"/>
                    <a:pt x="1045" y="100"/>
                    <a:pt x="1045" y="100"/>
                  </a:cubicBezTo>
                  <a:cubicBezTo>
                    <a:pt x="1045" y="100"/>
                    <a:pt x="1045" y="100"/>
                    <a:pt x="1045" y="100"/>
                  </a:cubicBezTo>
                  <a:cubicBezTo>
                    <a:pt x="1045" y="100"/>
                    <a:pt x="1046" y="100"/>
                    <a:pt x="1046" y="100"/>
                  </a:cubicBezTo>
                  <a:cubicBezTo>
                    <a:pt x="1046" y="100"/>
                    <a:pt x="1046" y="100"/>
                    <a:pt x="1046" y="100"/>
                  </a:cubicBezTo>
                  <a:cubicBezTo>
                    <a:pt x="1046" y="100"/>
                    <a:pt x="1046" y="100"/>
                    <a:pt x="1046" y="100"/>
                  </a:cubicBezTo>
                  <a:cubicBezTo>
                    <a:pt x="1046" y="101"/>
                    <a:pt x="1047" y="101"/>
                    <a:pt x="1047" y="101"/>
                  </a:cubicBezTo>
                  <a:cubicBezTo>
                    <a:pt x="1047" y="101"/>
                    <a:pt x="1047" y="101"/>
                    <a:pt x="1047" y="101"/>
                  </a:cubicBezTo>
                  <a:cubicBezTo>
                    <a:pt x="1047" y="101"/>
                    <a:pt x="1047" y="101"/>
                    <a:pt x="1047" y="101"/>
                  </a:cubicBezTo>
                  <a:cubicBezTo>
                    <a:pt x="1047" y="101"/>
                    <a:pt x="1047" y="101"/>
                    <a:pt x="1047" y="101"/>
                  </a:cubicBezTo>
                  <a:cubicBezTo>
                    <a:pt x="1048" y="102"/>
                    <a:pt x="1048" y="101"/>
                    <a:pt x="1048" y="101"/>
                  </a:cubicBezTo>
                  <a:cubicBezTo>
                    <a:pt x="1048" y="101"/>
                    <a:pt x="1048" y="101"/>
                    <a:pt x="1048" y="101"/>
                  </a:cubicBezTo>
                  <a:cubicBezTo>
                    <a:pt x="1049" y="102"/>
                    <a:pt x="1049" y="102"/>
                    <a:pt x="1050" y="102"/>
                  </a:cubicBezTo>
                  <a:cubicBezTo>
                    <a:pt x="1049" y="102"/>
                    <a:pt x="1049" y="102"/>
                    <a:pt x="1049" y="102"/>
                  </a:cubicBezTo>
                  <a:cubicBezTo>
                    <a:pt x="1050" y="102"/>
                    <a:pt x="1050" y="102"/>
                    <a:pt x="1051" y="102"/>
                  </a:cubicBezTo>
                  <a:cubicBezTo>
                    <a:pt x="1051" y="102"/>
                    <a:pt x="1051" y="102"/>
                    <a:pt x="1051" y="102"/>
                  </a:cubicBezTo>
                  <a:cubicBezTo>
                    <a:pt x="1051" y="102"/>
                    <a:pt x="1051" y="102"/>
                    <a:pt x="1051" y="102"/>
                  </a:cubicBezTo>
                  <a:cubicBezTo>
                    <a:pt x="1051" y="103"/>
                    <a:pt x="1052" y="102"/>
                    <a:pt x="1052" y="103"/>
                  </a:cubicBezTo>
                  <a:cubicBezTo>
                    <a:pt x="1052" y="102"/>
                    <a:pt x="1052" y="102"/>
                    <a:pt x="1052" y="102"/>
                  </a:cubicBezTo>
                  <a:cubicBezTo>
                    <a:pt x="1053" y="103"/>
                    <a:pt x="1053" y="103"/>
                    <a:pt x="1053" y="103"/>
                  </a:cubicBezTo>
                  <a:cubicBezTo>
                    <a:pt x="1053" y="103"/>
                    <a:pt x="1054" y="103"/>
                    <a:pt x="1054" y="103"/>
                  </a:cubicBezTo>
                  <a:cubicBezTo>
                    <a:pt x="1054" y="103"/>
                    <a:pt x="1055" y="103"/>
                    <a:pt x="1055" y="103"/>
                  </a:cubicBezTo>
                  <a:cubicBezTo>
                    <a:pt x="1056" y="103"/>
                    <a:pt x="1057" y="103"/>
                    <a:pt x="1058" y="103"/>
                  </a:cubicBezTo>
                  <a:cubicBezTo>
                    <a:pt x="1059" y="103"/>
                    <a:pt x="1060" y="103"/>
                    <a:pt x="1062" y="103"/>
                  </a:cubicBezTo>
                  <a:cubicBezTo>
                    <a:pt x="1063" y="103"/>
                    <a:pt x="1064" y="103"/>
                    <a:pt x="1066" y="103"/>
                  </a:cubicBezTo>
                  <a:close/>
                  <a:moveTo>
                    <a:pt x="749" y="83"/>
                  </a:moveTo>
                  <a:cubicBezTo>
                    <a:pt x="749" y="83"/>
                    <a:pt x="749" y="83"/>
                    <a:pt x="749" y="83"/>
                  </a:cubicBezTo>
                  <a:cubicBezTo>
                    <a:pt x="749" y="83"/>
                    <a:pt x="749" y="84"/>
                    <a:pt x="749" y="84"/>
                  </a:cubicBezTo>
                  <a:cubicBezTo>
                    <a:pt x="749" y="84"/>
                    <a:pt x="749" y="84"/>
                    <a:pt x="749" y="84"/>
                  </a:cubicBezTo>
                  <a:cubicBezTo>
                    <a:pt x="750" y="84"/>
                    <a:pt x="750" y="85"/>
                    <a:pt x="750" y="85"/>
                  </a:cubicBezTo>
                  <a:cubicBezTo>
                    <a:pt x="750" y="85"/>
                    <a:pt x="750" y="85"/>
                    <a:pt x="750" y="85"/>
                  </a:cubicBezTo>
                  <a:cubicBezTo>
                    <a:pt x="750" y="85"/>
                    <a:pt x="750" y="85"/>
                    <a:pt x="750" y="85"/>
                  </a:cubicBezTo>
                  <a:cubicBezTo>
                    <a:pt x="750" y="85"/>
                    <a:pt x="750" y="86"/>
                    <a:pt x="750" y="86"/>
                  </a:cubicBezTo>
                  <a:cubicBezTo>
                    <a:pt x="750" y="86"/>
                    <a:pt x="750" y="86"/>
                    <a:pt x="750" y="86"/>
                  </a:cubicBezTo>
                  <a:cubicBezTo>
                    <a:pt x="750" y="86"/>
                    <a:pt x="750" y="86"/>
                    <a:pt x="750" y="87"/>
                  </a:cubicBezTo>
                  <a:cubicBezTo>
                    <a:pt x="750" y="87"/>
                    <a:pt x="750" y="87"/>
                    <a:pt x="750" y="87"/>
                  </a:cubicBezTo>
                  <a:cubicBezTo>
                    <a:pt x="751" y="87"/>
                    <a:pt x="751" y="87"/>
                    <a:pt x="751" y="87"/>
                  </a:cubicBezTo>
                  <a:cubicBezTo>
                    <a:pt x="751" y="87"/>
                    <a:pt x="751" y="87"/>
                    <a:pt x="751" y="87"/>
                  </a:cubicBezTo>
                  <a:cubicBezTo>
                    <a:pt x="751" y="87"/>
                    <a:pt x="751" y="87"/>
                    <a:pt x="751" y="87"/>
                  </a:cubicBezTo>
                  <a:cubicBezTo>
                    <a:pt x="751" y="88"/>
                    <a:pt x="751" y="88"/>
                    <a:pt x="751" y="88"/>
                  </a:cubicBezTo>
                  <a:cubicBezTo>
                    <a:pt x="751" y="88"/>
                    <a:pt x="751" y="88"/>
                    <a:pt x="751" y="88"/>
                  </a:cubicBezTo>
                  <a:cubicBezTo>
                    <a:pt x="751" y="88"/>
                    <a:pt x="751" y="88"/>
                    <a:pt x="751" y="88"/>
                  </a:cubicBezTo>
                  <a:cubicBezTo>
                    <a:pt x="751" y="88"/>
                    <a:pt x="751" y="88"/>
                    <a:pt x="751" y="89"/>
                  </a:cubicBezTo>
                  <a:cubicBezTo>
                    <a:pt x="751" y="89"/>
                    <a:pt x="751" y="89"/>
                    <a:pt x="751" y="89"/>
                  </a:cubicBezTo>
                  <a:cubicBezTo>
                    <a:pt x="752" y="89"/>
                    <a:pt x="752" y="89"/>
                    <a:pt x="752" y="89"/>
                  </a:cubicBezTo>
                  <a:cubicBezTo>
                    <a:pt x="752" y="89"/>
                    <a:pt x="752" y="89"/>
                    <a:pt x="752" y="89"/>
                  </a:cubicBezTo>
                  <a:cubicBezTo>
                    <a:pt x="752" y="90"/>
                    <a:pt x="752" y="90"/>
                    <a:pt x="752" y="90"/>
                  </a:cubicBezTo>
                  <a:cubicBezTo>
                    <a:pt x="752" y="90"/>
                    <a:pt x="752" y="90"/>
                    <a:pt x="752" y="90"/>
                  </a:cubicBezTo>
                  <a:cubicBezTo>
                    <a:pt x="752" y="90"/>
                    <a:pt x="753" y="91"/>
                    <a:pt x="753" y="91"/>
                  </a:cubicBezTo>
                  <a:cubicBezTo>
                    <a:pt x="753" y="91"/>
                    <a:pt x="753" y="91"/>
                    <a:pt x="753" y="91"/>
                  </a:cubicBezTo>
                  <a:cubicBezTo>
                    <a:pt x="753" y="91"/>
                    <a:pt x="753" y="92"/>
                    <a:pt x="754" y="92"/>
                  </a:cubicBezTo>
                  <a:cubicBezTo>
                    <a:pt x="754" y="92"/>
                    <a:pt x="754" y="92"/>
                    <a:pt x="754" y="92"/>
                  </a:cubicBezTo>
                  <a:cubicBezTo>
                    <a:pt x="754" y="92"/>
                    <a:pt x="754" y="92"/>
                    <a:pt x="754" y="92"/>
                  </a:cubicBezTo>
                  <a:cubicBezTo>
                    <a:pt x="754" y="92"/>
                    <a:pt x="754" y="92"/>
                    <a:pt x="754" y="92"/>
                  </a:cubicBezTo>
                  <a:cubicBezTo>
                    <a:pt x="754" y="93"/>
                    <a:pt x="754" y="93"/>
                    <a:pt x="755" y="93"/>
                  </a:cubicBezTo>
                  <a:cubicBezTo>
                    <a:pt x="755" y="93"/>
                    <a:pt x="755" y="93"/>
                    <a:pt x="755" y="93"/>
                  </a:cubicBezTo>
                  <a:cubicBezTo>
                    <a:pt x="755" y="94"/>
                    <a:pt x="755" y="94"/>
                    <a:pt x="755" y="94"/>
                  </a:cubicBezTo>
                  <a:cubicBezTo>
                    <a:pt x="755" y="94"/>
                    <a:pt x="755" y="94"/>
                    <a:pt x="755" y="94"/>
                  </a:cubicBezTo>
                  <a:cubicBezTo>
                    <a:pt x="755" y="94"/>
                    <a:pt x="755" y="94"/>
                    <a:pt x="755" y="94"/>
                  </a:cubicBezTo>
                  <a:cubicBezTo>
                    <a:pt x="755" y="94"/>
                    <a:pt x="755" y="94"/>
                    <a:pt x="755" y="94"/>
                  </a:cubicBezTo>
                  <a:cubicBezTo>
                    <a:pt x="755" y="94"/>
                    <a:pt x="756" y="94"/>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6" y="95"/>
                    <a:pt x="756" y="95"/>
                  </a:cubicBezTo>
                  <a:cubicBezTo>
                    <a:pt x="756" y="95"/>
                    <a:pt x="757" y="95"/>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7" y="96"/>
                    <a:pt x="757" y="96"/>
                    <a:pt x="757" y="96"/>
                  </a:cubicBezTo>
                  <a:cubicBezTo>
                    <a:pt x="758" y="96"/>
                    <a:pt x="758" y="97"/>
                    <a:pt x="758" y="97"/>
                  </a:cubicBezTo>
                  <a:cubicBezTo>
                    <a:pt x="758" y="97"/>
                    <a:pt x="758" y="97"/>
                    <a:pt x="758" y="97"/>
                  </a:cubicBezTo>
                  <a:cubicBezTo>
                    <a:pt x="758" y="97"/>
                    <a:pt x="758" y="97"/>
                    <a:pt x="758" y="97"/>
                  </a:cubicBezTo>
                  <a:cubicBezTo>
                    <a:pt x="758" y="97"/>
                    <a:pt x="758" y="97"/>
                    <a:pt x="758" y="97"/>
                  </a:cubicBezTo>
                  <a:cubicBezTo>
                    <a:pt x="758" y="97"/>
                    <a:pt x="759" y="97"/>
                    <a:pt x="759" y="98"/>
                  </a:cubicBezTo>
                  <a:cubicBezTo>
                    <a:pt x="759" y="98"/>
                    <a:pt x="759" y="98"/>
                    <a:pt x="759" y="98"/>
                  </a:cubicBezTo>
                  <a:cubicBezTo>
                    <a:pt x="759" y="98"/>
                    <a:pt x="759" y="98"/>
                    <a:pt x="760" y="98"/>
                  </a:cubicBezTo>
                  <a:cubicBezTo>
                    <a:pt x="760" y="98"/>
                    <a:pt x="760" y="98"/>
                    <a:pt x="760" y="98"/>
                  </a:cubicBezTo>
                  <a:cubicBezTo>
                    <a:pt x="760" y="98"/>
                    <a:pt x="760" y="98"/>
                    <a:pt x="761" y="99"/>
                  </a:cubicBezTo>
                  <a:cubicBezTo>
                    <a:pt x="761" y="99"/>
                    <a:pt x="761" y="99"/>
                    <a:pt x="761" y="99"/>
                  </a:cubicBezTo>
                  <a:cubicBezTo>
                    <a:pt x="761" y="99"/>
                    <a:pt x="761" y="99"/>
                    <a:pt x="761" y="99"/>
                  </a:cubicBezTo>
                  <a:cubicBezTo>
                    <a:pt x="761" y="99"/>
                    <a:pt x="761" y="99"/>
                    <a:pt x="761" y="99"/>
                  </a:cubicBezTo>
                  <a:cubicBezTo>
                    <a:pt x="761" y="99"/>
                    <a:pt x="761" y="99"/>
                    <a:pt x="762" y="99"/>
                  </a:cubicBezTo>
                  <a:cubicBezTo>
                    <a:pt x="762" y="99"/>
                    <a:pt x="762" y="99"/>
                    <a:pt x="762" y="99"/>
                  </a:cubicBezTo>
                  <a:cubicBezTo>
                    <a:pt x="762" y="100"/>
                    <a:pt x="762" y="100"/>
                    <a:pt x="762" y="100"/>
                  </a:cubicBezTo>
                  <a:cubicBezTo>
                    <a:pt x="762" y="100"/>
                    <a:pt x="762" y="100"/>
                    <a:pt x="762" y="100"/>
                  </a:cubicBezTo>
                  <a:cubicBezTo>
                    <a:pt x="762" y="100"/>
                    <a:pt x="763" y="100"/>
                    <a:pt x="763" y="100"/>
                  </a:cubicBezTo>
                  <a:cubicBezTo>
                    <a:pt x="763" y="100"/>
                    <a:pt x="763" y="100"/>
                    <a:pt x="763" y="100"/>
                  </a:cubicBezTo>
                  <a:cubicBezTo>
                    <a:pt x="763" y="100"/>
                    <a:pt x="764" y="100"/>
                    <a:pt x="764" y="100"/>
                  </a:cubicBezTo>
                  <a:cubicBezTo>
                    <a:pt x="764" y="100"/>
                    <a:pt x="764" y="100"/>
                    <a:pt x="764" y="100"/>
                  </a:cubicBezTo>
                  <a:cubicBezTo>
                    <a:pt x="764" y="101"/>
                    <a:pt x="764" y="101"/>
                    <a:pt x="764" y="101"/>
                  </a:cubicBezTo>
                  <a:cubicBezTo>
                    <a:pt x="764" y="101"/>
                    <a:pt x="764" y="101"/>
                    <a:pt x="764" y="101"/>
                  </a:cubicBezTo>
                  <a:cubicBezTo>
                    <a:pt x="765" y="101"/>
                    <a:pt x="765" y="101"/>
                    <a:pt x="765" y="101"/>
                  </a:cubicBezTo>
                  <a:cubicBezTo>
                    <a:pt x="765" y="101"/>
                    <a:pt x="765" y="101"/>
                    <a:pt x="765" y="101"/>
                  </a:cubicBezTo>
                  <a:cubicBezTo>
                    <a:pt x="766" y="101"/>
                    <a:pt x="766" y="101"/>
                    <a:pt x="766" y="101"/>
                  </a:cubicBezTo>
                  <a:cubicBezTo>
                    <a:pt x="766" y="101"/>
                    <a:pt x="766" y="101"/>
                    <a:pt x="766" y="101"/>
                  </a:cubicBezTo>
                  <a:cubicBezTo>
                    <a:pt x="766" y="102"/>
                    <a:pt x="766" y="102"/>
                    <a:pt x="766" y="102"/>
                  </a:cubicBezTo>
                  <a:cubicBezTo>
                    <a:pt x="767" y="102"/>
                    <a:pt x="767" y="102"/>
                    <a:pt x="767" y="102"/>
                  </a:cubicBezTo>
                  <a:cubicBezTo>
                    <a:pt x="767" y="102"/>
                    <a:pt x="767" y="102"/>
                    <a:pt x="767" y="102"/>
                  </a:cubicBezTo>
                  <a:cubicBezTo>
                    <a:pt x="768" y="102"/>
                    <a:pt x="768" y="102"/>
                    <a:pt x="768" y="102"/>
                  </a:cubicBezTo>
                  <a:cubicBezTo>
                    <a:pt x="768" y="102"/>
                    <a:pt x="768" y="102"/>
                    <a:pt x="769" y="102"/>
                  </a:cubicBezTo>
                  <a:cubicBezTo>
                    <a:pt x="769" y="102"/>
                    <a:pt x="769" y="102"/>
                    <a:pt x="769" y="102"/>
                  </a:cubicBezTo>
                  <a:cubicBezTo>
                    <a:pt x="769" y="102"/>
                    <a:pt x="769" y="102"/>
                    <a:pt x="769" y="102"/>
                  </a:cubicBezTo>
                  <a:cubicBezTo>
                    <a:pt x="769" y="102"/>
                    <a:pt x="770" y="102"/>
                    <a:pt x="770" y="103"/>
                  </a:cubicBezTo>
                  <a:cubicBezTo>
                    <a:pt x="770" y="102"/>
                    <a:pt x="770" y="102"/>
                    <a:pt x="770" y="102"/>
                  </a:cubicBezTo>
                  <a:cubicBezTo>
                    <a:pt x="770" y="103"/>
                    <a:pt x="770" y="103"/>
                    <a:pt x="770" y="103"/>
                  </a:cubicBezTo>
                  <a:cubicBezTo>
                    <a:pt x="771" y="103"/>
                    <a:pt x="772" y="103"/>
                    <a:pt x="772" y="103"/>
                  </a:cubicBezTo>
                  <a:cubicBezTo>
                    <a:pt x="772" y="103"/>
                    <a:pt x="773" y="103"/>
                    <a:pt x="773" y="103"/>
                  </a:cubicBezTo>
                  <a:cubicBezTo>
                    <a:pt x="774" y="103"/>
                    <a:pt x="775" y="103"/>
                    <a:pt x="776" y="103"/>
                  </a:cubicBezTo>
                  <a:cubicBezTo>
                    <a:pt x="777" y="103"/>
                    <a:pt x="778" y="103"/>
                    <a:pt x="779" y="103"/>
                  </a:cubicBezTo>
                  <a:cubicBezTo>
                    <a:pt x="781" y="103"/>
                    <a:pt x="782" y="103"/>
                    <a:pt x="784" y="103"/>
                  </a:cubicBezTo>
                  <a:cubicBezTo>
                    <a:pt x="784" y="103"/>
                    <a:pt x="784" y="103"/>
                    <a:pt x="784" y="103"/>
                  </a:cubicBezTo>
                  <a:cubicBezTo>
                    <a:pt x="785" y="103"/>
                    <a:pt x="786" y="103"/>
                    <a:pt x="786" y="103"/>
                  </a:cubicBezTo>
                  <a:cubicBezTo>
                    <a:pt x="786" y="102"/>
                    <a:pt x="786" y="102"/>
                    <a:pt x="786" y="102"/>
                  </a:cubicBezTo>
                  <a:cubicBezTo>
                    <a:pt x="787" y="103"/>
                    <a:pt x="787" y="103"/>
                    <a:pt x="787" y="103"/>
                  </a:cubicBezTo>
                  <a:cubicBezTo>
                    <a:pt x="787" y="102"/>
                    <a:pt x="788" y="103"/>
                    <a:pt x="788" y="102"/>
                  </a:cubicBezTo>
                  <a:cubicBezTo>
                    <a:pt x="788" y="102"/>
                    <a:pt x="788" y="102"/>
                    <a:pt x="788" y="102"/>
                  </a:cubicBezTo>
                  <a:cubicBezTo>
                    <a:pt x="789" y="102"/>
                    <a:pt x="789" y="102"/>
                    <a:pt x="789" y="102"/>
                  </a:cubicBezTo>
                  <a:cubicBezTo>
                    <a:pt x="789" y="102"/>
                    <a:pt x="789" y="102"/>
                    <a:pt x="790" y="102"/>
                  </a:cubicBezTo>
                  <a:cubicBezTo>
                    <a:pt x="790" y="102"/>
                    <a:pt x="790" y="102"/>
                    <a:pt x="790" y="102"/>
                  </a:cubicBezTo>
                  <a:cubicBezTo>
                    <a:pt x="790" y="102"/>
                    <a:pt x="790" y="102"/>
                    <a:pt x="790" y="102"/>
                  </a:cubicBezTo>
                  <a:cubicBezTo>
                    <a:pt x="790" y="102"/>
                    <a:pt x="791" y="102"/>
                    <a:pt x="791" y="101"/>
                  </a:cubicBezTo>
                  <a:cubicBezTo>
                    <a:pt x="791" y="102"/>
                    <a:pt x="791" y="102"/>
                    <a:pt x="791" y="102"/>
                  </a:cubicBezTo>
                  <a:cubicBezTo>
                    <a:pt x="791" y="101"/>
                    <a:pt x="792" y="101"/>
                    <a:pt x="792" y="101"/>
                  </a:cubicBezTo>
                  <a:cubicBezTo>
                    <a:pt x="792" y="101"/>
                    <a:pt x="792" y="101"/>
                    <a:pt x="792" y="101"/>
                  </a:cubicBezTo>
                  <a:cubicBezTo>
                    <a:pt x="792" y="101"/>
                    <a:pt x="792" y="101"/>
                    <a:pt x="792" y="101"/>
                  </a:cubicBezTo>
                  <a:cubicBezTo>
                    <a:pt x="793" y="101"/>
                    <a:pt x="793" y="101"/>
                    <a:pt x="793" y="101"/>
                  </a:cubicBezTo>
                  <a:cubicBezTo>
                    <a:pt x="793" y="101"/>
                    <a:pt x="793" y="101"/>
                    <a:pt x="793" y="101"/>
                  </a:cubicBezTo>
                  <a:cubicBezTo>
                    <a:pt x="794" y="100"/>
                    <a:pt x="794" y="101"/>
                    <a:pt x="794" y="100"/>
                  </a:cubicBezTo>
                  <a:cubicBezTo>
                    <a:pt x="794" y="100"/>
                    <a:pt x="794" y="100"/>
                    <a:pt x="794" y="100"/>
                  </a:cubicBezTo>
                  <a:cubicBezTo>
                    <a:pt x="794" y="100"/>
                    <a:pt x="795" y="100"/>
                    <a:pt x="795" y="100"/>
                  </a:cubicBezTo>
                  <a:cubicBezTo>
                    <a:pt x="795" y="100"/>
                    <a:pt x="795" y="100"/>
                    <a:pt x="795" y="100"/>
                  </a:cubicBezTo>
                  <a:cubicBezTo>
                    <a:pt x="795" y="100"/>
                    <a:pt x="795" y="100"/>
                    <a:pt x="795" y="100"/>
                  </a:cubicBezTo>
                  <a:cubicBezTo>
                    <a:pt x="795" y="100"/>
                    <a:pt x="796" y="100"/>
                    <a:pt x="796" y="100"/>
                  </a:cubicBezTo>
                  <a:cubicBezTo>
                    <a:pt x="796" y="100"/>
                    <a:pt x="796" y="100"/>
                    <a:pt x="796" y="100"/>
                  </a:cubicBezTo>
                  <a:cubicBezTo>
                    <a:pt x="796" y="100"/>
                    <a:pt x="797" y="100"/>
                    <a:pt x="797" y="99"/>
                  </a:cubicBezTo>
                  <a:cubicBezTo>
                    <a:pt x="797" y="99"/>
                    <a:pt x="797" y="99"/>
                    <a:pt x="797" y="99"/>
                  </a:cubicBezTo>
                  <a:cubicBezTo>
                    <a:pt x="797" y="99"/>
                    <a:pt x="797" y="99"/>
                    <a:pt x="797" y="99"/>
                  </a:cubicBezTo>
                  <a:cubicBezTo>
                    <a:pt x="797" y="99"/>
                    <a:pt x="797" y="99"/>
                    <a:pt x="797" y="99"/>
                  </a:cubicBezTo>
                  <a:cubicBezTo>
                    <a:pt x="798" y="99"/>
                    <a:pt x="798" y="99"/>
                    <a:pt x="798" y="99"/>
                  </a:cubicBezTo>
                  <a:cubicBezTo>
                    <a:pt x="798" y="99"/>
                    <a:pt x="798" y="99"/>
                    <a:pt x="798" y="99"/>
                  </a:cubicBezTo>
                  <a:cubicBezTo>
                    <a:pt x="798" y="99"/>
                    <a:pt x="798" y="98"/>
                    <a:pt x="798" y="98"/>
                  </a:cubicBezTo>
                  <a:cubicBezTo>
                    <a:pt x="799" y="98"/>
                    <a:pt x="799" y="98"/>
                    <a:pt x="799" y="98"/>
                  </a:cubicBezTo>
                  <a:cubicBezTo>
                    <a:pt x="799" y="98"/>
                    <a:pt x="799" y="98"/>
                    <a:pt x="799" y="98"/>
                  </a:cubicBezTo>
                  <a:cubicBezTo>
                    <a:pt x="799" y="98"/>
                    <a:pt x="799" y="98"/>
                    <a:pt x="799" y="98"/>
                  </a:cubicBezTo>
                  <a:cubicBezTo>
                    <a:pt x="799" y="98"/>
                    <a:pt x="800" y="98"/>
                    <a:pt x="800" y="98"/>
                  </a:cubicBezTo>
                  <a:cubicBezTo>
                    <a:pt x="800" y="98"/>
                    <a:pt x="800" y="98"/>
                    <a:pt x="800" y="98"/>
                  </a:cubicBezTo>
                  <a:cubicBezTo>
                    <a:pt x="800" y="98"/>
                    <a:pt x="800" y="97"/>
                    <a:pt x="800" y="97"/>
                  </a:cubicBezTo>
                  <a:cubicBezTo>
                    <a:pt x="800" y="97"/>
                    <a:pt x="800" y="97"/>
                    <a:pt x="800" y="97"/>
                  </a:cubicBezTo>
                  <a:cubicBezTo>
                    <a:pt x="801" y="97"/>
                    <a:pt x="801" y="96"/>
                    <a:pt x="801" y="96"/>
                  </a:cubicBezTo>
                  <a:cubicBezTo>
                    <a:pt x="801" y="93"/>
                    <a:pt x="801" y="90"/>
                    <a:pt x="801" y="87"/>
                  </a:cubicBezTo>
                  <a:cubicBezTo>
                    <a:pt x="801" y="87"/>
                    <a:pt x="801" y="87"/>
                    <a:pt x="801" y="87"/>
                  </a:cubicBezTo>
                  <a:cubicBezTo>
                    <a:pt x="801" y="87"/>
                    <a:pt x="801" y="87"/>
                    <a:pt x="801" y="87"/>
                  </a:cubicBezTo>
                  <a:cubicBezTo>
                    <a:pt x="800" y="87"/>
                    <a:pt x="800" y="87"/>
                    <a:pt x="800" y="87"/>
                  </a:cubicBezTo>
                  <a:cubicBezTo>
                    <a:pt x="800" y="87"/>
                    <a:pt x="800" y="87"/>
                    <a:pt x="800" y="87"/>
                  </a:cubicBezTo>
                  <a:cubicBezTo>
                    <a:pt x="800" y="87"/>
                    <a:pt x="800" y="87"/>
                    <a:pt x="800" y="87"/>
                  </a:cubicBezTo>
                  <a:cubicBezTo>
                    <a:pt x="800" y="87"/>
                    <a:pt x="800" y="87"/>
                    <a:pt x="800" y="87"/>
                  </a:cubicBezTo>
                  <a:cubicBezTo>
                    <a:pt x="800" y="87"/>
                    <a:pt x="799" y="87"/>
                    <a:pt x="799" y="88"/>
                  </a:cubicBezTo>
                  <a:cubicBezTo>
                    <a:pt x="799" y="88"/>
                    <a:pt x="799" y="88"/>
                    <a:pt x="799" y="88"/>
                  </a:cubicBezTo>
                  <a:cubicBezTo>
                    <a:pt x="799" y="88"/>
                    <a:pt x="799" y="88"/>
                    <a:pt x="799" y="88"/>
                  </a:cubicBezTo>
                  <a:cubicBezTo>
                    <a:pt x="799" y="88"/>
                    <a:pt x="799" y="88"/>
                    <a:pt x="799" y="88"/>
                  </a:cubicBezTo>
                  <a:cubicBezTo>
                    <a:pt x="799" y="88"/>
                    <a:pt x="798" y="88"/>
                    <a:pt x="798" y="88"/>
                  </a:cubicBezTo>
                  <a:cubicBezTo>
                    <a:pt x="798" y="88"/>
                    <a:pt x="798" y="88"/>
                    <a:pt x="798" y="88"/>
                  </a:cubicBezTo>
                  <a:cubicBezTo>
                    <a:pt x="798" y="88"/>
                    <a:pt x="798" y="89"/>
                    <a:pt x="798" y="89"/>
                  </a:cubicBezTo>
                  <a:cubicBezTo>
                    <a:pt x="798" y="89"/>
                    <a:pt x="798" y="89"/>
                    <a:pt x="798" y="89"/>
                  </a:cubicBezTo>
                  <a:cubicBezTo>
                    <a:pt x="798" y="89"/>
                    <a:pt x="797" y="89"/>
                    <a:pt x="797" y="89"/>
                  </a:cubicBezTo>
                  <a:cubicBezTo>
                    <a:pt x="797" y="89"/>
                    <a:pt x="797" y="89"/>
                    <a:pt x="797" y="89"/>
                  </a:cubicBezTo>
                  <a:cubicBezTo>
                    <a:pt x="797" y="89"/>
                    <a:pt x="797" y="89"/>
                    <a:pt x="797" y="89"/>
                  </a:cubicBezTo>
                  <a:cubicBezTo>
                    <a:pt x="797" y="89"/>
                    <a:pt x="797" y="89"/>
                    <a:pt x="797" y="89"/>
                  </a:cubicBezTo>
                  <a:cubicBezTo>
                    <a:pt x="797" y="90"/>
                    <a:pt x="796" y="89"/>
                    <a:pt x="796" y="90"/>
                  </a:cubicBezTo>
                  <a:cubicBezTo>
                    <a:pt x="796" y="90"/>
                    <a:pt x="796" y="90"/>
                    <a:pt x="796" y="90"/>
                  </a:cubicBezTo>
                  <a:cubicBezTo>
                    <a:pt x="796" y="90"/>
                    <a:pt x="796" y="90"/>
                    <a:pt x="795" y="90"/>
                  </a:cubicBezTo>
                  <a:cubicBezTo>
                    <a:pt x="795" y="90"/>
                    <a:pt x="795" y="90"/>
                    <a:pt x="795" y="90"/>
                  </a:cubicBezTo>
                  <a:cubicBezTo>
                    <a:pt x="795" y="90"/>
                    <a:pt x="795" y="90"/>
                    <a:pt x="795" y="90"/>
                  </a:cubicBezTo>
                  <a:cubicBezTo>
                    <a:pt x="795" y="90"/>
                    <a:pt x="795" y="90"/>
                    <a:pt x="795" y="90"/>
                  </a:cubicBezTo>
                  <a:cubicBezTo>
                    <a:pt x="794" y="91"/>
                    <a:pt x="794" y="91"/>
                    <a:pt x="794" y="91"/>
                  </a:cubicBezTo>
                  <a:cubicBezTo>
                    <a:pt x="794" y="91"/>
                    <a:pt x="794" y="91"/>
                    <a:pt x="794" y="91"/>
                  </a:cubicBezTo>
                  <a:cubicBezTo>
                    <a:pt x="794" y="91"/>
                    <a:pt x="793" y="91"/>
                    <a:pt x="793" y="91"/>
                  </a:cubicBezTo>
                  <a:cubicBezTo>
                    <a:pt x="793" y="91"/>
                    <a:pt x="793" y="91"/>
                    <a:pt x="793" y="91"/>
                  </a:cubicBezTo>
                  <a:cubicBezTo>
                    <a:pt x="793" y="91"/>
                    <a:pt x="793" y="91"/>
                    <a:pt x="793" y="91"/>
                  </a:cubicBezTo>
                  <a:cubicBezTo>
                    <a:pt x="793" y="91"/>
                    <a:pt x="792" y="92"/>
                    <a:pt x="792" y="91"/>
                  </a:cubicBezTo>
                  <a:cubicBezTo>
                    <a:pt x="792" y="92"/>
                    <a:pt x="792" y="92"/>
                    <a:pt x="792" y="92"/>
                  </a:cubicBezTo>
                  <a:cubicBezTo>
                    <a:pt x="792" y="92"/>
                    <a:pt x="792" y="92"/>
                    <a:pt x="792" y="92"/>
                  </a:cubicBezTo>
                  <a:cubicBezTo>
                    <a:pt x="791" y="92"/>
                    <a:pt x="791" y="92"/>
                    <a:pt x="791" y="92"/>
                  </a:cubicBezTo>
                  <a:cubicBezTo>
                    <a:pt x="791" y="92"/>
                    <a:pt x="791" y="92"/>
                    <a:pt x="791" y="92"/>
                  </a:cubicBezTo>
                  <a:cubicBezTo>
                    <a:pt x="790" y="92"/>
                    <a:pt x="790" y="92"/>
                    <a:pt x="789" y="92"/>
                  </a:cubicBezTo>
                  <a:cubicBezTo>
                    <a:pt x="789" y="92"/>
                    <a:pt x="789" y="92"/>
                    <a:pt x="789" y="92"/>
                  </a:cubicBezTo>
                  <a:cubicBezTo>
                    <a:pt x="789" y="93"/>
                    <a:pt x="789" y="93"/>
                    <a:pt x="788" y="93"/>
                  </a:cubicBezTo>
                  <a:cubicBezTo>
                    <a:pt x="788" y="93"/>
                    <a:pt x="788" y="93"/>
                    <a:pt x="788" y="93"/>
                  </a:cubicBezTo>
                  <a:cubicBezTo>
                    <a:pt x="788" y="93"/>
                    <a:pt x="787" y="93"/>
                    <a:pt x="787" y="93"/>
                  </a:cubicBezTo>
                  <a:cubicBezTo>
                    <a:pt x="787" y="93"/>
                    <a:pt x="787" y="93"/>
                    <a:pt x="787" y="93"/>
                  </a:cubicBezTo>
                  <a:cubicBezTo>
                    <a:pt x="786" y="93"/>
                    <a:pt x="786" y="93"/>
                    <a:pt x="786" y="93"/>
                  </a:cubicBezTo>
                  <a:cubicBezTo>
                    <a:pt x="786" y="93"/>
                    <a:pt x="785" y="93"/>
                    <a:pt x="785" y="93"/>
                  </a:cubicBezTo>
                  <a:cubicBezTo>
                    <a:pt x="785" y="94"/>
                    <a:pt x="784" y="94"/>
                    <a:pt x="784" y="94"/>
                  </a:cubicBezTo>
                  <a:cubicBezTo>
                    <a:pt x="782" y="94"/>
                    <a:pt x="779" y="94"/>
                    <a:pt x="776" y="94"/>
                  </a:cubicBezTo>
                  <a:cubicBezTo>
                    <a:pt x="776" y="94"/>
                    <a:pt x="776" y="94"/>
                    <a:pt x="776" y="93"/>
                  </a:cubicBezTo>
                  <a:cubicBezTo>
                    <a:pt x="775" y="93"/>
                    <a:pt x="775" y="93"/>
                    <a:pt x="774" y="93"/>
                  </a:cubicBezTo>
                  <a:cubicBezTo>
                    <a:pt x="774" y="93"/>
                    <a:pt x="774" y="93"/>
                    <a:pt x="774" y="93"/>
                  </a:cubicBezTo>
                  <a:cubicBezTo>
                    <a:pt x="774" y="93"/>
                    <a:pt x="774" y="93"/>
                    <a:pt x="774" y="93"/>
                  </a:cubicBezTo>
                  <a:cubicBezTo>
                    <a:pt x="774" y="93"/>
                    <a:pt x="773" y="93"/>
                    <a:pt x="773" y="93"/>
                  </a:cubicBezTo>
                  <a:cubicBezTo>
                    <a:pt x="773" y="93"/>
                    <a:pt x="773" y="93"/>
                    <a:pt x="773" y="93"/>
                  </a:cubicBezTo>
                  <a:cubicBezTo>
                    <a:pt x="773" y="93"/>
                    <a:pt x="773" y="93"/>
                    <a:pt x="773" y="93"/>
                  </a:cubicBezTo>
                  <a:cubicBezTo>
                    <a:pt x="772" y="93"/>
                    <a:pt x="772" y="93"/>
                    <a:pt x="772" y="92"/>
                  </a:cubicBezTo>
                  <a:cubicBezTo>
                    <a:pt x="772" y="92"/>
                    <a:pt x="772" y="92"/>
                    <a:pt x="772" y="92"/>
                  </a:cubicBezTo>
                  <a:cubicBezTo>
                    <a:pt x="771" y="92"/>
                    <a:pt x="771" y="92"/>
                    <a:pt x="771" y="92"/>
                  </a:cubicBezTo>
                  <a:cubicBezTo>
                    <a:pt x="771" y="92"/>
                    <a:pt x="771" y="92"/>
                    <a:pt x="771" y="92"/>
                  </a:cubicBezTo>
                  <a:cubicBezTo>
                    <a:pt x="771" y="92"/>
                    <a:pt x="771" y="92"/>
                    <a:pt x="771" y="92"/>
                  </a:cubicBezTo>
                  <a:cubicBezTo>
                    <a:pt x="770" y="92"/>
                    <a:pt x="770" y="92"/>
                    <a:pt x="770" y="92"/>
                  </a:cubicBezTo>
                  <a:cubicBezTo>
                    <a:pt x="770" y="92"/>
                    <a:pt x="770" y="92"/>
                    <a:pt x="770" y="92"/>
                  </a:cubicBezTo>
                  <a:cubicBezTo>
                    <a:pt x="770" y="92"/>
                    <a:pt x="769" y="92"/>
                    <a:pt x="769" y="91"/>
                  </a:cubicBezTo>
                  <a:cubicBezTo>
                    <a:pt x="769" y="91"/>
                    <a:pt x="769" y="91"/>
                    <a:pt x="769" y="91"/>
                  </a:cubicBezTo>
                  <a:cubicBezTo>
                    <a:pt x="769" y="91"/>
                    <a:pt x="769" y="91"/>
                    <a:pt x="769" y="91"/>
                  </a:cubicBezTo>
                  <a:cubicBezTo>
                    <a:pt x="769" y="91"/>
                    <a:pt x="769" y="91"/>
                    <a:pt x="769" y="91"/>
                  </a:cubicBezTo>
                  <a:cubicBezTo>
                    <a:pt x="768" y="91"/>
                    <a:pt x="768" y="91"/>
                    <a:pt x="768" y="91"/>
                  </a:cubicBezTo>
                  <a:cubicBezTo>
                    <a:pt x="768" y="91"/>
                    <a:pt x="768" y="91"/>
                    <a:pt x="768" y="91"/>
                  </a:cubicBezTo>
                  <a:cubicBezTo>
                    <a:pt x="768" y="90"/>
                    <a:pt x="768" y="91"/>
                    <a:pt x="767" y="90"/>
                  </a:cubicBezTo>
                  <a:cubicBezTo>
                    <a:pt x="767" y="90"/>
                    <a:pt x="767" y="90"/>
                    <a:pt x="767" y="90"/>
                  </a:cubicBezTo>
                  <a:cubicBezTo>
                    <a:pt x="767" y="90"/>
                    <a:pt x="767" y="90"/>
                    <a:pt x="766" y="90"/>
                  </a:cubicBezTo>
                  <a:cubicBezTo>
                    <a:pt x="766" y="90"/>
                    <a:pt x="766" y="90"/>
                    <a:pt x="766" y="90"/>
                  </a:cubicBezTo>
                  <a:cubicBezTo>
                    <a:pt x="766" y="90"/>
                    <a:pt x="766" y="89"/>
                    <a:pt x="766" y="89"/>
                  </a:cubicBezTo>
                  <a:cubicBezTo>
                    <a:pt x="766" y="89"/>
                    <a:pt x="766" y="89"/>
                    <a:pt x="766" y="89"/>
                  </a:cubicBezTo>
                  <a:cubicBezTo>
                    <a:pt x="766" y="89"/>
                    <a:pt x="766" y="89"/>
                    <a:pt x="766" y="89"/>
                  </a:cubicBezTo>
                  <a:cubicBezTo>
                    <a:pt x="766" y="89"/>
                    <a:pt x="766" y="89"/>
                    <a:pt x="766" y="89"/>
                  </a:cubicBezTo>
                  <a:cubicBezTo>
                    <a:pt x="765" y="88"/>
                    <a:pt x="765" y="88"/>
                    <a:pt x="764" y="87"/>
                  </a:cubicBezTo>
                  <a:cubicBezTo>
                    <a:pt x="764" y="87"/>
                    <a:pt x="764" y="87"/>
                    <a:pt x="764" y="87"/>
                  </a:cubicBezTo>
                  <a:cubicBezTo>
                    <a:pt x="764" y="87"/>
                    <a:pt x="764" y="87"/>
                    <a:pt x="764" y="87"/>
                  </a:cubicBezTo>
                  <a:cubicBezTo>
                    <a:pt x="764" y="87"/>
                    <a:pt x="764" y="87"/>
                    <a:pt x="764" y="87"/>
                  </a:cubicBezTo>
                  <a:cubicBezTo>
                    <a:pt x="764" y="87"/>
                    <a:pt x="763" y="87"/>
                    <a:pt x="763" y="87"/>
                  </a:cubicBezTo>
                  <a:cubicBezTo>
                    <a:pt x="763" y="87"/>
                    <a:pt x="763" y="87"/>
                    <a:pt x="763" y="87"/>
                  </a:cubicBezTo>
                  <a:cubicBezTo>
                    <a:pt x="763" y="86"/>
                    <a:pt x="763" y="86"/>
                    <a:pt x="763" y="86"/>
                  </a:cubicBezTo>
                  <a:cubicBezTo>
                    <a:pt x="763" y="86"/>
                    <a:pt x="763" y="86"/>
                    <a:pt x="763" y="86"/>
                  </a:cubicBezTo>
                  <a:cubicBezTo>
                    <a:pt x="763" y="86"/>
                    <a:pt x="763" y="86"/>
                    <a:pt x="763" y="86"/>
                  </a:cubicBezTo>
                  <a:cubicBezTo>
                    <a:pt x="763" y="86"/>
                    <a:pt x="763" y="86"/>
                    <a:pt x="763" y="86"/>
                  </a:cubicBezTo>
                  <a:cubicBezTo>
                    <a:pt x="763" y="85"/>
                    <a:pt x="762" y="85"/>
                    <a:pt x="762" y="85"/>
                  </a:cubicBezTo>
                  <a:cubicBezTo>
                    <a:pt x="762" y="85"/>
                    <a:pt x="762" y="85"/>
                    <a:pt x="762" y="85"/>
                  </a:cubicBezTo>
                  <a:cubicBezTo>
                    <a:pt x="762" y="85"/>
                    <a:pt x="762" y="85"/>
                    <a:pt x="762" y="84"/>
                  </a:cubicBezTo>
                  <a:cubicBezTo>
                    <a:pt x="762" y="85"/>
                    <a:pt x="762" y="85"/>
                    <a:pt x="762" y="85"/>
                  </a:cubicBezTo>
                  <a:cubicBezTo>
                    <a:pt x="762" y="84"/>
                    <a:pt x="762" y="84"/>
                    <a:pt x="762" y="84"/>
                  </a:cubicBezTo>
                  <a:cubicBezTo>
                    <a:pt x="762" y="84"/>
                    <a:pt x="762" y="84"/>
                    <a:pt x="762" y="84"/>
                  </a:cubicBezTo>
                  <a:cubicBezTo>
                    <a:pt x="762" y="84"/>
                    <a:pt x="762" y="84"/>
                    <a:pt x="762" y="84"/>
                  </a:cubicBezTo>
                  <a:cubicBezTo>
                    <a:pt x="762" y="84"/>
                    <a:pt x="761" y="84"/>
                    <a:pt x="761" y="83"/>
                  </a:cubicBezTo>
                  <a:cubicBezTo>
                    <a:pt x="761" y="83"/>
                    <a:pt x="761" y="83"/>
                    <a:pt x="761" y="83"/>
                  </a:cubicBezTo>
                  <a:cubicBezTo>
                    <a:pt x="761" y="83"/>
                    <a:pt x="761" y="83"/>
                    <a:pt x="761" y="83"/>
                  </a:cubicBezTo>
                  <a:cubicBezTo>
                    <a:pt x="761" y="83"/>
                    <a:pt x="761" y="83"/>
                    <a:pt x="761" y="83"/>
                  </a:cubicBezTo>
                  <a:cubicBezTo>
                    <a:pt x="761" y="83"/>
                    <a:pt x="761" y="83"/>
                    <a:pt x="761" y="83"/>
                  </a:cubicBezTo>
                  <a:cubicBezTo>
                    <a:pt x="761" y="82"/>
                    <a:pt x="761" y="82"/>
                    <a:pt x="760" y="82"/>
                  </a:cubicBezTo>
                  <a:cubicBezTo>
                    <a:pt x="761" y="82"/>
                    <a:pt x="761" y="82"/>
                    <a:pt x="761" y="82"/>
                  </a:cubicBezTo>
                  <a:cubicBezTo>
                    <a:pt x="760" y="81"/>
                    <a:pt x="760" y="81"/>
                    <a:pt x="760" y="81"/>
                  </a:cubicBezTo>
                  <a:cubicBezTo>
                    <a:pt x="760" y="81"/>
                    <a:pt x="760" y="81"/>
                    <a:pt x="760" y="81"/>
                  </a:cubicBezTo>
                  <a:cubicBezTo>
                    <a:pt x="760" y="81"/>
                    <a:pt x="760" y="80"/>
                    <a:pt x="760" y="80"/>
                  </a:cubicBezTo>
                  <a:cubicBezTo>
                    <a:pt x="760" y="80"/>
                    <a:pt x="760" y="80"/>
                    <a:pt x="760" y="80"/>
                  </a:cubicBezTo>
                  <a:cubicBezTo>
                    <a:pt x="760" y="80"/>
                    <a:pt x="760" y="79"/>
                    <a:pt x="760" y="79"/>
                  </a:cubicBezTo>
                  <a:cubicBezTo>
                    <a:pt x="759" y="79"/>
                    <a:pt x="759" y="79"/>
                    <a:pt x="759" y="79"/>
                  </a:cubicBezTo>
                  <a:cubicBezTo>
                    <a:pt x="759" y="78"/>
                    <a:pt x="759" y="78"/>
                    <a:pt x="759" y="77"/>
                  </a:cubicBezTo>
                  <a:cubicBezTo>
                    <a:pt x="759" y="77"/>
                    <a:pt x="759" y="77"/>
                    <a:pt x="759" y="77"/>
                  </a:cubicBezTo>
                  <a:cubicBezTo>
                    <a:pt x="759" y="77"/>
                    <a:pt x="759" y="76"/>
                    <a:pt x="759" y="75"/>
                  </a:cubicBezTo>
                  <a:cubicBezTo>
                    <a:pt x="759" y="75"/>
                    <a:pt x="759" y="75"/>
                    <a:pt x="759" y="75"/>
                  </a:cubicBezTo>
                  <a:cubicBezTo>
                    <a:pt x="758" y="74"/>
                    <a:pt x="759" y="73"/>
                    <a:pt x="758" y="72"/>
                  </a:cubicBezTo>
                  <a:cubicBezTo>
                    <a:pt x="758" y="72"/>
                    <a:pt x="758" y="71"/>
                    <a:pt x="759" y="71"/>
                  </a:cubicBezTo>
                  <a:cubicBezTo>
                    <a:pt x="759" y="71"/>
                    <a:pt x="760" y="71"/>
                    <a:pt x="760" y="71"/>
                  </a:cubicBezTo>
                  <a:cubicBezTo>
                    <a:pt x="775" y="71"/>
                    <a:pt x="789" y="71"/>
                    <a:pt x="804" y="71"/>
                  </a:cubicBezTo>
                  <a:cubicBezTo>
                    <a:pt x="805" y="71"/>
                    <a:pt x="805" y="71"/>
                    <a:pt x="806" y="70"/>
                  </a:cubicBezTo>
                  <a:cubicBezTo>
                    <a:pt x="806" y="68"/>
                    <a:pt x="806" y="65"/>
                    <a:pt x="806" y="62"/>
                  </a:cubicBezTo>
                  <a:cubicBezTo>
                    <a:pt x="805" y="61"/>
                    <a:pt x="806" y="60"/>
                    <a:pt x="805" y="59"/>
                  </a:cubicBezTo>
                  <a:cubicBezTo>
                    <a:pt x="805" y="58"/>
                    <a:pt x="805" y="58"/>
                    <a:pt x="805" y="58"/>
                  </a:cubicBezTo>
                  <a:cubicBezTo>
                    <a:pt x="805" y="58"/>
                    <a:pt x="805" y="57"/>
                    <a:pt x="805" y="56"/>
                  </a:cubicBezTo>
                  <a:cubicBezTo>
                    <a:pt x="805" y="56"/>
                    <a:pt x="805" y="56"/>
                    <a:pt x="805" y="56"/>
                  </a:cubicBezTo>
                  <a:cubicBezTo>
                    <a:pt x="805" y="55"/>
                    <a:pt x="805" y="55"/>
                    <a:pt x="805" y="54"/>
                  </a:cubicBezTo>
                  <a:cubicBezTo>
                    <a:pt x="805" y="54"/>
                    <a:pt x="805" y="54"/>
                    <a:pt x="805" y="54"/>
                  </a:cubicBezTo>
                  <a:cubicBezTo>
                    <a:pt x="805" y="54"/>
                    <a:pt x="805" y="54"/>
                    <a:pt x="805" y="54"/>
                  </a:cubicBezTo>
                  <a:cubicBezTo>
                    <a:pt x="805" y="54"/>
                    <a:pt x="805" y="53"/>
                    <a:pt x="804" y="53"/>
                  </a:cubicBezTo>
                  <a:cubicBezTo>
                    <a:pt x="804" y="53"/>
                    <a:pt x="804" y="53"/>
                    <a:pt x="804" y="53"/>
                  </a:cubicBezTo>
                  <a:cubicBezTo>
                    <a:pt x="804" y="53"/>
                    <a:pt x="804" y="53"/>
                    <a:pt x="804" y="53"/>
                  </a:cubicBezTo>
                  <a:cubicBezTo>
                    <a:pt x="804" y="52"/>
                    <a:pt x="804" y="52"/>
                    <a:pt x="804" y="51"/>
                  </a:cubicBezTo>
                  <a:cubicBezTo>
                    <a:pt x="804" y="51"/>
                    <a:pt x="804" y="51"/>
                    <a:pt x="804" y="51"/>
                  </a:cubicBezTo>
                  <a:cubicBezTo>
                    <a:pt x="804" y="51"/>
                    <a:pt x="804" y="51"/>
                    <a:pt x="804" y="50"/>
                  </a:cubicBezTo>
                  <a:cubicBezTo>
                    <a:pt x="804" y="50"/>
                    <a:pt x="804" y="50"/>
                    <a:pt x="804" y="50"/>
                  </a:cubicBezTo>
                  <a:cubicBezTo>
                    <a:pt x="803" y="50"/>
                    <a:pt x="804" y="50"/>
                    <a:pt x="803" y="49"/>
                  </a:cubicBezTo>
                  <a:cubicBezTo>
                    <a:pt x="803" y="49"/>
                    <a:pt x="803" y="49"/>
                    <a:pt x="803" y="49"/>
                  </a:cubicBezTo>
                  <a:cubicBezTo>
                    <a:pt x="803" y="49"/>
                    <a:pt x="803" y="49"/>
                    <a:pt x="803" y="49"/>
                  </a:cubicBezTo>
                  <a:cubicBezTo>
                    <a:pt x="803" y="49"/>
                    <a:pt x="803" y="49"/>
                    <a:pt x="803" y="49"/>
                  </a:cubicBezTo>
                  <a:cubicBezTo>
                    <a:pt x="803" y="48"/>
                    <a:pt x="803" y="48"/>
                    <a:pt x="803" y="48"/>
                  </a:cubicBezTo>
                  <a:cubicBezTo>
                    <a:pt x="803" y="48"/>
                    <a:pt x="803" y="48"/>
                    <a:pt x="803" y="48"/>
                  </a:cubicBezTo>
                  <a:cubicBezTo>
                    <a:pt x="802" y="47"/>
                    <a:pt x="803" y="47"/>
                    <a:pt x="802" y="47"/>
                  </a:cubicBezTo>
                  <a:cubicBezTo>
                    <a:pt x="802" y="47"/>
                    <a:pt x="802" y="47"/>
                    <a:pt x="802" y="47"/>
                  </a:cubicBezTo>
                  <a:cubicBezTo>
                    <a:pt x="802" y="47"/>
                    <a:pt x="802" y="46"/>
                    <a:pt x="802" y="46"/>
                  </a:cubicBezTo>
                  <a:cubicBezTo>
                    <a:pt x="802" y="46"/>
                    <a:pt x="802" y="46"/>
                    <a:pt x="802" y="46"/>
                  </a:cubicBezTo>
                  <a:cubicBezTo>
                    <a:pt x="802" y="46"/>
                    <a:pt x="802" y="46"/>
                    <a:pt x="802" y="46"/>
                  </a:cubicBezTo>
                  <a:cubicBezTo>
                    <a:pt x="802" y="46"/>
                    <a:pt x="802" y="46"/>
                    <a:pt x="802" y="46"/>
                  </a:cubicBezTo>
                  <a:cubicBezTo>
                    <a:pt x="802" y="45"/>
                    <a:pt x="801" y="45"/>
                    <a:pt x="801" y="45"/>
                  </a:cubicBezTo>
                  <a:cubicBezTo>
                    <a:pt x="801" y="45"/>
                    <a:pt x="801" y="45"/>
                    <a:pt x="801" y="45"/>
                  </a:cubicBezTo>
                  <a:cubicBezTo>
                    <a:pt x="801" y="45"/>
                    <a:pt x="801" y="45"/>
                    <a:pt x="801" y="45"/>
                  </a:cubicBezTo>
                  <a:cubicBezTo>
                    <a:pt x="801" y="45"/>
                    <a:pt x="801" y="45"/>
                    <a:pt x="801" y="44"/>
                  </a:cubicBezTo>
                  <a:cubicBezTo>
                    <a:pt x="801" y="44"/>
                    <a:pt x="801" y="44"/>
                    <a:pt x="801" y="44"/>
                  </a:cubicBezTo>
                  <a:cubicBezTo>
                    <a:pt x="801" y="44"/>
                    <a:pt x="801" y="44"/>
                    <a:pt x="801" y="44"/>
                  </a:cubicBezTo>
                  <a:cubicBezTo>
                    <a:pt x="801" y="44"/>
                    <a:pt x="801" y="44"/>
                    <a:pt x="801" y="44"/>
                  </a:cubicBezTo>
                  <a:cubicBezTo>
                    <a:pt x="800" y="44"/>
                    <a:pt x="800" y="44"/>
                    <a:pt x="800" y="43"/>
                  </a:cubicBezTo>
                  <a:cubicBezTo>
                    <a:pt x="800" y="43"/>
                    <a:pt x="800" y="43"/>
                    <a:pt x="800" y="43"/>
                  </a:cubicBezTo>
                  <a:cubicBezTo>
                    <a:pt x="800" y="43"/>
                    <a:pt x="800" y="43"/>
                    <a:pt x="800" y="43"/>
                  </a:cubicBezTo>
                  <a:cubicBezTo>
                    <a:pt x="800" y="43"/>
                    <a:pt x="800" y="43"/>
                    <a:pt x="800" y="43"/>
                  </a:cubicBezTo>
                  <a:cubicBezTo>
                    <a:pt x="800" y="43"/>
                    <a:pt x="800" y="42"/>
                    <a:pt x="800" y="42"/>
                  </a:cubicBezTo>
                  <a:cubicBezTo>
                    <a:pt x="800" y="42"/>
                    <a:pt x="800" y="42"/>
                    <a:pt x="800" y="42"/>
                  </a:cubicBezTo>
                  <a:cubicBezTo>
                    <a:pt x="799" y="42"/>
                    <a:pt x="799" y="42"/>
                    <a:pt x="799" y="42"/>
                  </a:cubicBezTo>
                  <a:cubicBezTo>
                    <a:pt x="799" y="42"/>
                    <a:pt x="799" y="42"/>
                    <a:pt x="799" y="42"/>
                  </a:cubicBezTo>
                  <a:cubicBezTo>
                    <a:pt x="799" y="42"/>
                    <a:pt x="799" y="41"/>
                    <a:pt x="799" y="41"/>
                  </a:cubicBezTo>
                  <a:cubicBezTo>
                    <a:pt x="799" y="41"/>
                    <a:pt x="799" y="41"/>
                    <a:pt x="799" y="41"/>
                  </a:cubicBezTo>
                  <a:cubicBezTo>
                    <a:pt x="799" y="41"/>
                    <a:pt x="799" y="41"/>
                    <a:pt x="798" y="41"/>
                  </a:cubicBezTo>
                  <a:cubicBezTo>
                    <a:pt x="798" y="41"/>
                    <a:pt x="798" y="41"/>
                    <a:pt x="798" y="41"/>
                  </a:cubicBezTo>
                  <a:cubicBezTo>
                    <a:pt x="798" y="41"/>
                    <a:pt x="798" y="41"/>
                    <a:pt x="798" y="41"/>
                  </a:cubicBezTo>
                  <a:cubicBezTo>
                    <a:pt x="798" y="41"/>
                    <a:pt x="798" y="41"/>
                    <a:pt x="798" y="41"/>
                  </a:cubicBezTo>
                  <a:cubicBezTo>
                    <a:pt x="798" y="40"/>
                    <a:pt x="798" y="40"/>
                    <a:pt x="798" y="40"/>
                  </a:cubicBezTo>
                  <a:cubicBezTo>
                    <a:pt x="798" y="40"/>
                    <a:pt x="798" y="40"/>
                    <a:pt x="798" y="40"/>
                  </a:cubicBezTo>
                  <a:cubicBezTo>
                    <a:pt x="798" y="40"/>
                    <a:pt x="798" y="40"/>
                    <a:pt x="797" y="40"/>
                  </a:cubicBezTo>
                  <a:cubicBezTo>
                    <a:pt x="797" y="40"/>
                    <a:pt x="797" y="40"/>
                    <a:pt x="797" y="40"/>
                  </a:cubicBezTo>
                  <a:cubicBezTo>
                    <a:pt x="797" y="40"/>
                    <a:pt x="797" y="40"/>
                    <a:pt x="797" y="40"/>
                  </a:cubicBezTo>
                  <a:cubicBezTo>
                    <a:pt x="797" y="40"/>
                    <a:pt x="797" y="40"/>
                    <a:pt x="797" y="40"/>
                  </a:cubicBezTo>
                  <a:cubicBezTo>
                    <a:pt x="797" y="39"/>
                    <a:pt x="797" y="39"/>
                    <a:pt x="797" y="39"/>
                  </a:cubicBezTo>
                  <a:cubicBezTo>
                    <a:pt x="797" y="39"/>
                    <a:pt x="797" y="39"/>
                    <a:pt x="797" y="39"/>
                  </a:cubicBezTo>
                  <a:cubicBezTo>
                    <a:pt x="797" y="39"/>
                    <a:pt x="797" y="39"/>
                    <a:pt x="796" y="39"/>
                  </a:cubicBezTo>
                  <a:cubicBezTo>
                    <a:pt x="796" y="39"/>
                    <a:pt x="796" y="39"/>
                    <a:pt x="796" y="39"/>
                  </a:cubicBezTo>
                  <a:cubicBezTo>
                    <a:pt x="796" y="39"/>
                    <a:pt x="796" y="39"/>
                    <a:pt x="796" y="39"/>
                  </a:cubicBezTo>
                  <a:cubicBezTo>
                    <a:pt x="796" y="39"/>
                    <a:pt x="796" y="39"/>
                    <a:pt x="796" y="39"/>
                  </a:cubicBezTo>
                  <a:cubicBezTo>
                    <a:pt x="796" y="38"/>
                    <a:pt x="796" y="38"/>
                    <a:pt x="796" y="38"/>
                  </a:cubicBezTo>
                  <a:cubicBezTo>
                    <a:pt x="796" y="38"/>
                    <a:pt x="796" y="38"/>
                    <a:pt x="796" y="38"/>
                  </a:cubicBezTo>
                  <a:cubicBezTo>
                    <a:pt x="796" y="38"/>
                    <a:pt x="795" y="38"/>
                    <a:pt x="795" y="38"/>
                  </a:cubicBezTo>
                  <a:cubicBezTo>
                    <a:pt x="795" y="38"/>
                    <a:pt x="795" y="38"/>
                    <a:pt x="795" y="38"/>
                  </a:cubicBezTo>
                  <a:cubicBezTo>
                    <a:pt x="795" y="38"/>
                    <a:pt x="795" y="38"/>
                    <a:pt x="795" y="37"/>
                  </a:cubicBezTo>
                  <a:cubicBezTo>
                    <a:pt x="795" y="37"/>
                    <a:pt x="795" y="37"/>
                    <a:pt x="795" y="37"/>
                  </a:cubicBezTo>
                  <a:cubicBezTo>
                    <a:pt x="795" y="37"/>
                    <a:pt x="794" y="37"/>
                    <a:pt x="794" y="37"/>
                  </a:cubicBezTo>
                  <a:cubicBezTo>
                    <a:pt x="794" y="37"/>
                    <a:pt x="794" y="37"/>
                    <a:pt x="794" y="37"/>
                  </a:cubicBezTo>
                  <a:cubicBezTo>
                    <a:pt x="794" y="37"/>
                    <a:pt x="794" y="37"/>
                    <a:pt x="794" y="37"/>
                  </a:cubicBezTo>
                  <a:cubicBezTo>
                    <a:pt x="794" y="37"/>
                    <a:pt x="794" y="37"/>
                    <a:pt x="794" y="37"/>
                  </a:cubicBezTo>
                  <a:cubicBezTo>
                    <a:pt x="793" y="37"/>
                    <a:pt x="793" y="36"/>
                    <a:pt x="793" y="36"/>
                  </a:cubicBezTo>
                  <a:cubicBezTo>
                    <a:pt x="793" y="37"/>
                    <a:pt x="793" y="37"/>
                    <a:pt x="793" y="37"/>
                  </a:cubicBezTo>
                  <a:cubicBezTo>
                    <a:pt x="793" y="36"/>
                    <a:pt x="793" y="36"/>
                    <a:pt x="793" y="36"/>
                  </a:cubicBezTo>
                  <a:cubicBezTo>
                    <a:pt x="793" y="36"/>
                    <a:pt x="793" y="36"/>
                    <a:pt x="793" y="36"/>
                  </a:cubicBezTo>
                  <a:cubicBezTo>
                    <a:pt x="792" y="36"/>
                    <a:pt x="792" y="36"/>
                    <a:pt x="792" y="36"/>
                  </a:cubicBezTo>
                  <a:cubicBezTo>
                    <a:pt x="792" y="36"/>
                    <a:pt x="792" y="36"/>
                    <a:pt x="792" y="36"/>
                  </a:cubicBezTo>
                  <a:cubicBezTo>
                    <a:pt x="792" y="36"/>
                    <a:pt x="791" y="36"/>
                    <a:pt x="791" y="35"/>
                  </a:cubicBezTo>
                  <a:cubicBezTo>
                    <a:pt x="791" y="35"/>
                    <a:pt x="791" y="35"/>
                    <a:pt x="791" y="35"/>
                  </a:cubicBezTo>
                  <a:cubicBezTo>
                    <a:pt x="791" y="35"/>
                    <a:pt x="791" y="35"/>
                    <a:pt x="790" y="35"/>
                  </a:cubicBezTo>
                  <a:cubicBezTo>
                    <a:pt x="790" y="35"/>
                    <a:pt x="790" y="35"/>
                    <a:pt x="790" y="35"/>
                  </a:cubicBezTo>
                  <a:cubicBezTo>
                    <a:pt x="790" y="35"/>
                    <a:pt x="790" y="35"/>
                    <a:pt x="790" y="35"/>
                  </a:cubicBezTo>
                  <a:cubicBezTo>
                    <a:pt x="790" y="35"/>
                    <a:pt x="790" y="35"/>
                    <a:pt x="790" y="35"/>
                  </a:cubicBezTo>
                  <a:cubicBezTo>
                    <a:pt x="790" y="34"/>
                    <a:pt x="789" y="34"/>
                    <a:pt x="789" y="34"/>
                  </a:cubicBezTo>
                  <a:cubicBezTo>
                    <a:pt x="789" y="34"/>
                    <a:pt x="789" y="34"/>
                    <a:pt x="789" y="34"/>
                  </a:cubicBezTo>
                  <a:cubicBezTo>
                    <a:pt x="789" y="34"/>
                    <a:pt x="789" y="34"/>
                    <a:pt x="789" y="34"/>
                  </a:cubicBezTo>
                  <a:cubicBezTo>
                    <a:pt x="789" y="34"/>
                    <a:pt x="788" y="34"/>
                    <a:pt x="788" y="34"/>
                  </a:cubicBezTo>
                  <a:cubicBezTo>
                    <a:pt x="788" y="34"/>
                    <a:pt x="788" y="34"/>
                    <a:pt x="788" y="34"/>
                  </a:cubicBezTo>
                  <a:cubicBezTo>
                    <a:pt x="787" y="34"/>
                    <a:pt x="787" y="34"/>
                    <a:pt x="787" y="34"/>
                  </a:cubicBezTo>
                  <a:cubicBezTo>
                    <a:pt x="787" y="34"/>
                    <a:pt x="787" y="34"/>
                    <a:pt x="787" y="34"/>
                  </a:cubicBezTo>
                  <a:cubicBezTo>
                    <a:pt x="787" y="34"/>
                    <a:pt x="787" y="34"/>
                    <a:pt x="787" y="34"/>
                  </a:cubicBezTo>
                  <a:cubicBezTo>
                    <a:pt x="786" y="33"/>
                    <a:pt x="786" y="34"/>
                    <a:pt x="785" y="33"/>
                  </a:cubicBezTo>
                  <a:cubicBezTo>
                    <a:pt x="785" y="33"/>
                    <a:pt x="785" y="33"/>
                    <a:pt x="785" y="33"/>
                  </a:cubicBezTo>
                  <a:cubicBezTo>
                    <a:pt x="785" y="33"/>
                    <a:pt x="785" y="33"/>
                    <a:pt x="785" y="33"/>
                  </a:cubicBezTo>
                  <a:cubicBezTo>
                    <a:pt x="785" y="33"/>
                    <a:pt x="784" y="33"/>
                    <a:pt x="784" y="33"/>
                  </a:cubicBezTo>
                  <a:cubicBezTo>
                    <a:pt x="784" y="33"/>
                    <a:pt x="783" y="33"/>
                    <a:pt x="783" y="33"/>
                  </a:cubicBezTo>
                  <a:cubicBezTo>
                    <a:pt x="782" y="33"/>
                    <a:pt x="781" y="33"/>
                    <a:pt x="781" y="33"/>
                  </a:cubicBezTo>
                  <a:cubicBezTo>
                    <a:pt x="779" y="33"/>
                    <a:pt x="777" y="33"/>
                    <a:pt x="776" y="33"/>
                  </a:cubicBezTo>
                  <a:cubicBezTo>
                    <a:pt x="775" y="33"/>
                    <a:pt x="774" y="33"/>
                    <a:pt x="773" y="33"/>
                  </a:cubicBezTo>
                  <a:cubicBezTo>
                    <a:pt x="773" y="33"/>
                    <a:pt x="773" y="33"/>
                    <a:pt x="773" y="33"/>
                  </a:cubicBezTo>
                  <a:cubicBezTo>
                    <a:pt x="772" y="33"/>
                    <a:pt x="772" y="33"/>
                    <a:pt x="771" y="33"/>
                  </a:cubicBezTo>
                  <a:cubicBezTo>
                    <a:pt x="771" y="33"/>
                    <a:pt x="771" y="33"/>
                    <a:pt x="771" y="33"/>
                  </a:cubicBezTo>
                  <a:cubicBezTo>
                    <a:pt x="771" y="34"/>
                    <a:pt x="770" y="33"/>
                    <a:pt x="770" y="34"/>
                  </a:cubicBezTo>
                  <a:cubicBezTo>
                    <a:pt x="770" y="34"/>
                    <a:pt x="770" y="34"/>
                    <a:pt x="770" y="34"/>
                  </a:cubicBezTo>
                  <a:cubicBezTo>
                    <a:pt x="770" y="34"/>
                    <a:pt x="770" y="34"/>
                    <a:pt x="770" y="34"/>
                  </a:cubicBezTo>
                  <a:cubicBezTo>
                    <a:pt x="769" y="34"/>
                    <a:pt x="769" y="34"/>
                    <a:pt x="769" y="34"/>
                  </a:cubicBezTo>
                  <a:cubicBezTo>
                    <a:pt x="769" y="34"/>
                    <a:pt x="769" y="34"/>
                    <a:pt x="769" y="34"/>
                  </a:cubicBezTo>
                  <a:cubicBezTo>
                    <a:pt x="768" y="34"/>
                    <a:pt x="768" y="34"/>
                    <a:pt x="768" y="34"/>
                  </a:cubicBezTo>
                  <a:cubicBezTo>
                    <a:pt x="768" y="34"/>
                    <a:pt x="768" y="34"/>
                    <a:pt x="768" y="34"/>
                  </a:cubicBezTo>
                  <a:cubicBezTo>
                    <a:pt x="767" y="34"/>
                    <a:pt x="767" y="34"/>
                    <a:pt x="767" y="35"/>
                  </a:cubicBezTo>
                  <a:cubicBezTo>
                    <a:pt x="767" y="35"/>
                    <a:pt x="767" y="35"/>
                    <a:pt x="767" y="35"/>
                  </a:cubicBezTo>
                  <a:cubicBezTo>
                    <a:pt x="767" y="35"/>
                    <a:pt x="766" y="35"/>
                    <a:pt x="766" y="35"/>
                  </a:cubicBezTo>
                  <a:cubicBezTo>
                    <a:pt x="766" y="35"/>
                    <a:pt x="766" y="35"/>
                    <a:pt x="766" y="35"/>
                  </a:cubicBezTo>
                  <a:cubicBezTo>
                    <a:pt x="766" y="35"/>
                    <a:pt x="766" y="35"/>
                    <a:pt x="766" y="35"/>
                  </a:cubicBezTo>
                  <a:cubicBezTo>
                    <a:pt x="766" y="35"/>
                    <a:pt x="765" y="35"/>
                    <a:pt x="765" y="35"/>
                  </a:cubicBezTo>
                  <a:cubicBezTo>
                    <a:pt x="765" y="35"/>
                    <a:pt x="765" y="35"/>
                    <a:pt x="765" y="35"/>
                  </a:cubicBezTo>
                  <a:cubicBezTo>
                    <a:pt x="765" y="36"/>
                    <a:pt x="765" y="35"/>
                    <a:pt x="764" y="36"/>
                  </a:cubicBezTo>
                  <a:cubicBezTo>
                    <a:pt x="764" y="36"/>
                    <a:pt x="764" y="36"/>
                    <a:pt x="764" y="36"/>
                  </a:cubicBezTo>
                  <a:cubicBezTo>
                    <a:pt x="764" y="36"/>
                    <a:pt x="764" y="36"/>
                    <a:pt x="764" y="36"/>
                  </a:cubicBezTo>
                  <a:cubicBezTo>
                    <a:pt x="764" y="36"/>
                    <a:pt x="764" y="36"/>
                    <a:pt x="764" y="36"/>
                  </a:cubicBezTo>
                  <a:cubicBezTo>
                    <a:pt x="764" y="36"/>
                    <a:pt x="764" y="36"/>
                    <a:pt x="764" y="36"/>
                  </a:cubicBezTo>
                  <a:cubicBezTo>
                    <a:pt x="764" y="36"/>
                    <a:pt x="763" y="36"/>
                    <a:pt x="763" y="36"/>
                  </a:cubicBezTo>
                  <a:cubicBezTo>
                    <a:pt x="763" y="36"/>
                    <a:pt x="763" y="36"/>
                    <a:pt x="763" y="36"/>
                  </a:cubicBezTo>
                  <a:cubicBezTo>
                    <a:pt x="763" y="37"/>
                    <a:pt x="763" y="37"/>
                    <a:pt x="763" y="37"/>
                  </a:cubicBezTo>
                  <a:cubicBezTo>
                    <a:pt x="763" y="37"/>
                    <a:pt x="763" y="37"/>
                    <a:pt x="763" y="37"/>
                  </a:cubicBezTo>
                  <a:cubicBezTo>
                    <a:pt x="762" y="37"/>
                    <a:pt x="762" y="37"/>
                    <a:pt x="762" y="37"/>
                  </a:cubicBezTo>
                  <a:cubicBezTo>
                    <a:pt x="762" y="37"/>
                    <a:pt x="762" y="37"/>
                    <a:pt x="762" y="37"/>
                  </a:cubicBezTo>
                  <a:cubicBezTo>
                    <a:pt x="762" y="37"/>
                    <a:pt x="762" y="37"/>
                    <a:pt x="762" y="37"/>
                  </a:cubicBezTo>
                  <a:cubicBezTo>
                    <a:pt x="762" y="37"/>
                    <a:pt x="762" y="37"/>
                    <a:pt x="762" y="37"/>
                  </a:cubicBezTo>
                  <a:cubicBezTo>
                    <a:pt x="761" y="38"/>
                    <a:pt x="761" y="38"/>
                    <a:pt x="761" y="38"/>
                  </a:cubicBezTo>
                  <a:cubicBezTo>
                    <a:pt x="761" y="38"/>
                    <a:pt x="761" y="38"/>
                    <a:pt x="761" y="38"/>
                  </a:cubicBezTo>
                  <a:cubicBezTo>
                    <a:pt x="760" y="38"/>
                    <a:pt x="760" y="38"/>
                    <a:pt x="760" y="39"/>
                  </a:cubicBezTo>
                  <a:cubicBezTo>
                    <a:pt x="760" y="39"/>
                    <a:pt x="760" y="39"/>
                    <a:pt x="760" y="39"/>
                  </a:cubicBezTo>
                  <a:cubicBezTo>
                    <a:pt x="760" y="39"/>
                    <a:pt x="759" y="39"/>
                    <a:pt x="759" y="39"/>
                  </a:cubicBezTo>
                  <a:cubicBezTo>
                    <a:pt x="759" y="39"/>
                    <a:pt x="759" y="39"/>
                    <a:pt x="759" y="39"/>
                  </a:cubicBezTo>
                  <a:cubicBezTo>
                    <a:pt x="759" y="39"/>
                    <a:pt x="759" y="39"/>
                    <a:pt x="759" y="40"/>
                  </a:cubicBezTo>
                  <a:cubicBezTo>
                    <a:pt x="759" y="40"/>
                    <a:pt x="759" y="40"/>
                    <a:pt x="759" y="40"/>
                  </a:cubicBezTo>
                  <a:cubicBezTo>
                    <a:pt x="759" y="40"/>
                    <a:pt x="759" y="40"/>
                    <a:pt x="758" y="40"/>
                  </a:cubicBezTo>
                  <a:cubicBezTo>
                    <a:pt x="758" y="40"/>
                    <a:pt x="758" y="40"/>
                    <a:pt x="758" y="40"/>
                  </a:cubicBezTo>
                  <a:cubicBezTo>
                    <a:pt x="758" y="40"/>
                    <a:pt x="758" y="40"/>
                    <a:pt x="758" y="40"/>
                  </a:cubicBezTo>
                  <a:cubicBezTo>
                    <a:pt x="758" y="40"/>
                    <a:pt x="758" y="40"/>
                    <a:pt x="758" y="40"/>
                  </a:cubicBezTo>
                  <a:cubicBezTo>
                    <a:pt x="758" y="40"/>
                    <a:pt x="758" y="40"/>
                    <a:pt x="758" y="41"/>
                  </a:cubicBezTo>
                  <a:cubicBezTo>
                    <a:pt x="758" y="41"/>
                    <a:pt x="758" y="41"/>
                    <a:pt x="758" y="41"/>
                  </a:cubicBezTo>
                  <a:cubicBezTo>
                    <a:pt x="758" y="41"/>
                    <a:pt x="758" y="41"/>
                    <a:pt x="757" y="41"/>
                  </a:cubicBezTo>
                  <a:cubicBezTo>
                    <a:pt x="757" y="41"/>
                    <a:pt x="757" y="41"/>
                    <a:pt x="757" y="41"/>
                  </a:cubicBezTo>
                  <a:cubicBezTo>
                    <a:pt x="757" y="41"/>
                    <a:pt x="757" y="41"/>
                    <a:pt x="757" y="41"/>
                  </a:cubicBezTo>
                  <a:cubicBezTo>
                    <a:pt x="757" y="41"/>
                    <a:pt x="757" y="41"/>
                    <a:pt x="757" y="41"/>
                  </a:cubicBezTo>
                  <a:cubicBezTo>
                    <a:pt x="757" y="41"/>
                    <a:pt x="757" y="42"/>
                    <a:pt x="757" y="42"/>
                  </a:cubicBezTo>
                  <a:cubicBezTo>
                    <a:pt x="757" y="42"/>
                    <a:pt x="757" y="42"/>
                    <a:pt x="757" y="42"/>
                  </a:cubicBezTo>
                  <a:cubicBezTo>
                    <a:pt x="757" y="42"/>
                    <a:pt x="756" y="42"/>
                    <a:pt x="756" y="42"/>
                  </a:cubicBezTo>
                  <a:cubicBezTo>
                    <a:pt x="756" y="42"/>
                    <a:pt x="756" y="42"/>
                    <a:pt x="756" y="42"/>
                  </a:cubicBezTo>
                  <a:cubicBezTo>
                    <a:pt x="756" y="42"/>
                    <a:pt x="756" y="42"/>
                    <a:pt x="756" y="42"/>
                  </a:cubicBezTo>
                  <a:cubicBezTo>
                    <a:pt x="756" y="42"/>
                    <a:pt x="756" y="42"/>
                    <a:pt x="756" y="42"/>
                  </a:cubicBezTo>
                  <a:cubicBezTo>
                    <a:pt x="756" y="42"/>
                    <a:pt x="756" y="43"/>
                    <a:pt x="756" y="43"/>
                  </a:cubicBezTo>
                  <a:cubicBezTo>
                    <a:pt x="756" y="43"/>
                    <a:pt x="756" y="43"/>
                    <a:pt x="756" y="43"/>
                  </a:cubicBezTo>
                  <a:cubicBezTo>
                    <a:pt x="756" y="43"/>
                    <a:pt x="755" y="43"/>
                    <a:pt x="755" y="43"/>
                  </a:cubicBezTo>
                  <a:cubicBezTo>
                    <a:pt x="755" y="43"/>
                    <a:pt x="755" y="43"/>
                    <a:pt x="755" y="43"/>
                  </a:cubicBezTo>
                  <a:cubicBezTo>
                    <a:pt x="755" y="43"/>
                    <a:pt x="755" y="44"/>
                    <a:pt x="755" y="44"/>
                  </a:cubicBezTo>
                  <a:cubicBezTo>
                    <a:pt x="755" y="44"/>
                    <a:pt x="755" y="44"/>
                    <a:pt x="755" y="44"/>
                  </a:cubicBezTo>
                  <a:cubicBezTo>
                    <a:pt x="755" y="44"/>
                    <a:pt x="754" y="44"/>
                    <a:pt x="754" y="44"/>
                  </a:cubicBezTo>
                  <a:cubicBezTo>
                    <a:pt x="754" y="44"/>
                    <a:pt x="754" y="44"/>
                    <a:pt x="754" y="44"/>
                  </a:cubicBezTo>
                  <a:cubicBezTo>
                    <a:pt x="754" y="45"/>
                    <a:pt x="754" y="45"/>
                    <a:pt x="754" y="45"/>
                  </a:cubicBezTo>
                  <a:cubicBezTo>
                    <a:pt x="754" y="45"/>
                    <a:pt x="754" y="45"/>
                    <a:pt x="754" y="45"/>
                  </a:cubicBezTo>
                  <a:cubicBezTo>
                    <a:pt x="753" y="46"/>
                    <a:pt x="753" y="46"/>
                    <a:pt x="753" y="46"/>
                  </a:cubicBezTo>
                  <a:cubicBezTo>
                    <a:pt x="753" y="46"/>
                    <a:pt x="753" y="46"/>
                    <a:pt x="753" y="46"/>
                  </a:cubicBezTo>
                  <a:cubicBezTo>
                    <a:pt x="753" y="46"/>
                    <a:pt x="753" y="46"/>
                    <a:pt x="753" y="47"/>
                  </a:cubicBezTo>
                  <a:cubicBezTo>
                    <a:pt x="753" y="47"/>
                    <a:pt x="753" y="47"/>
                    <a:pt x="753" y="47"/>
                  </a:cubicBezTo>
                  <a:cubicBezTo>
                    <a:pt x="753" y="47"/>
                    <a:pt x="753" y="47"/>
                    <a:pt x="753" y="47"/>
                  </a:cubicBezTo>
                  <a:cubicBezTo>
                    <a:pt x="753" y="47"/>
                    <a:pt x="753" y="47"/>
                    <a:pt x="753" y="47"/>
                  </a:cubicBezTo>
                  <a:cubicBezTo>
                    <a:pt x="752" y="47"/>
                    <a:pt x="752" y="47"/>
                    <a:pt x="752" y="48"/>
                  </a:cubicBezTo>
                  <a:cubicBezTo>
                    <a:pt x="752" y="48"/>
                    <a:pt x="752" y="48"/>
                    <a:pt x="752" y="48"/>
                  </a:cubicBezTo>
                  <a:cubicBezTo>
                    <a:pt x="752" y="48"/>
                    <a:pt x="752" y="48"/>
                    <a:pt x="752" y="48"/>
                  </a:cubicBezTo>
                  <a:cubicBezTo>
                    <a:pt x="752" y="48"/>
                    <a:pt x="752" y="48"/>
                    <a:pt x="752" y="48"/>
                  </a:cubicBezTo>
                  <a:cubicBezTo>
                    <a:pt x="752" y="48"/>
                    <a:pt x="752" y="49"/>
                    <a:pt x="752" y="49"/>
                  </a:cubicBezTo>
                  <a:cubicBezTo>
                    <a:pt x="752" y="49"/>
                    <a:pt x="752" y="49"/>
                    <a:pt x="752" y="49"/>
                  </a:cubicBezTo>
                  <a:cubicBezTo>
                    <a:pt x="751" y="49"/>
                    <a:pt x="751" y="49"/>
                    <a:pt x="751" y="50"/>
                  </a:cubicBezTo>
                  <a:cubicBezTo>
                    <a:pt x="751" y="50"/>
                    <a:pt x="751" y="50"/>
                    <a:pt x="751" y="50"/>
                  </a:cubicBezTo>
                  <a:cubicBezTo>
                    <a:pt x="751" y="50"/>
                    <a:pt x="751" y="50"/>
                    <a:pt x="751" y="50"/>
                  </a:cubicBezTo>
                  <a:cubicBezTo>
                    <a:pt x="751" y="50"/>
                    <a:pt x="751" y="50"/>
                    <a:pt x="751" y="50"/>
                  </a:cubicBezTo>
                  <a:cubicBezTo>
                    <a:pt x="751" y="51"/>
                    <a:pt x="751" y="51"/>
                    <a:pt x="750" y="51"/>
                  </a:cubicBezTo>
                  <a:cubicBezTo>
                    <a:pt x="751" y="51"/>
                    <a:pt x="751" y="51"/>
                    <a:pt x="751" y="51"/>
                  </a:cubicBezTo>
                  <a:cubicBezTo>
                    <a:pt x="750" y="51"/>
                    <a:pt x="750" y="52"/>
                    <a:pt x="750" y="52"/>
                  </a:cubicBezTo>
                  <a:cubicBezTo>
                    <a:pt x="750" y="52"/>
                    <a:pt x="750" y="52"/>
                    <a:pt x="750" y="52"/>
                  </a:cubicBezTo>
                  <a:cubicBezTo>
                    <a:pt x="750" y="52"/>
                    <a:pt x="750" y="52"/>
                    <a:pt x="750" y="52"/>
                  </a:cubicBezTo>
                  <a:cubicBezTo>
                    <a:pt x="750" y="52"/>
                    <a:pt x="750" y="53"/>
                    <a:pt x="750" y="53"/>
                  </a:cubicBezTo>
                  <a:cubicBezTo>
                    <a:pt x="750" y="53"/>
                    <a:pt x="750" y="53"/>
                    <a:pt x="750" y="53"/>
                  </a:cubicBezTo>
                  <a:cubicBezTo>
                    <a:pt x="750" y="53"/>
                    <a:pt x="750" y="53"/>
                    <a:pt x="749" y="54"/>
                  </a:cubicBezTo>
                  <a:cubicBezTo>
                    <a:pt x="749" y="54"/>
                    <a:pt x="749" y="54"/>
                    <a:pt x="749" y="54"/>
                  </a:cubicBezTo>
                  <a:cubicBezTo>
                    <a:pt x="749" y="54"/>
                    <a:pt x="749" y="54"/>
                    <a:pt x="749" y="54"/>
                  </a:cubicBezTo>
                  <a:cubicBezTo>
                    <a:pt x="749" y="54"/>
                    <a:pt x="749" y="54"/>
                    <a:pt x="749" y="55"/>
                  </a:cubicBezTo>
                  <a:cubicBezTo>
                    <a:pt x="749" y="55"/>
                    <a:pt x="749" y="55"/>
                    <a:pt x="749" y="55"/>
                  </a:cubicBezTo>
                  <a:cubicBezTo>
                    <a:pt x="749" y="55"/>
                    <a:pt x="749" y="55"/>
                    <a:pt x="749" y="56"/>
                  </a:cubicBezTo>
                  <a:cubicBezTo>
                    <a:pt x="749" y="56"/>
                    <a:pt x="749" y="56"/>
                    <a:pt x="749" y="56"/>
                  </a:cubicBezTo>
                  <a:cubicBezTo>
                    <a:pt x="749" y="56"/>
                    <a:pt x="749" y="56"/>
                    <a:pt x="749" y="56"/>
                  </a:cubicBezTo>
                  <a:cubicBezTo>
                    <a:pt x="748" y="56"/>
                    <a:pt x="749" y="57"/>
                    <a:pt x="748" y="57"/>
                  </a:cubicBezTo>
                  <a:cubicBezTo>
                    <a:pt x="748" y="57"/>
                    <a:pt x="748" y="57"/>
                    <a:pt x="748" y="57"/>
                  </a:cubicBezTo>
                  <a:cubicBezTo>
                    <a:pt x="748" y="58"/>
                    <a:pt x="748" y="58"/>
                    <a:pt x="748" y="58"/>
                  </a:cubicBezTo>
                  <a:cubicBezTo>
                    <a:pt x="748" y="59"/>
                    <a:pt x="748" y="59"/>
                    <a:pt x="748" y="59"/>
                  </a:cubicBezTo>
                  <a:cubicBezTo>
                    <a:pt x="748" y="59"/>
                    <a:pt x="748" y="60"/>
                    <a:pt x="748" y="60"/>
                  </a:cubicBezTo>
                  <a:cubicBezTo>
                    <a:pt x="748" y="60"/>
                    <a:pt x="748" y="60"/>
                    <a:pt x="748" y="60"/>
                  </a:cubicBezTo>
                  <a:cubicBezTo>
                    <a:pt x="747" y="61"/>
                    <a:pt x="748" y="62"/>
                    <a:pt x="747" y="62"/>
                  </a:cubicBezTo>
                  <a:cubicBezTo>
                    <a:pt x="747" y="63"/>
                    <a:pt x="747" y="63"/>
                    <a:pt x="747" y="63"/>
                  </a:cubicBezTo>
                  <a:cubicBezTo>
                    <a:pt x="747" y="64"/>
                    <a:pt x="747" y="66"/>
                    <a:pt x="747" y="67"/>
                  </a:cubicBezTo>
                  <a:cubicBezTo>
                    <a:pt x="747" y="68"/>
                    <a:pt x="747" y="69"/>
                    <a:pt x="747" y="69"/>
                  </a:cubicBezTo>
                  <a:cubicBezTo>
                    <a:pt x="747" y="71"/>
                    <a:pt x="747" y="72"/>
                    <a:pt x="747" y="74"/>
                  </a:cubicBezTo>
                  <a:cubicBezTo>
                    <a:pt x="747" y="74"/>
                    <a:pt x="747" y="75"/>
                    <a:pt x="747" y="75"/>
                  </a:cubicBezTo>
                  <a:cubicBezTo>
                    <a:pt x="748" y="75"/>
                    <a:pt x="747" y="76"/>
                    <a:pt x="748" y="77"/>
                  </a:cubicBezTo>
                  <a:cubicBezTo>
                    <a:pt x="748" y="77"/>
                    <a:pt x="748" y="77"/>
                    <a:pt x="748" y="77"/>
                  </a:cubicBezTo>
                  <a:cubicBezTo>
                    <a:pt x="748" y="78"/>
                    <a:pt x="748" y="78"/>
                    <a:pt x="748" y="79"/>
                  </a:cubicBezTo>
                  <a:cubicBezTo>
                    <a:pt x="748" y="79"/>
                    <a:pt x="748" y="79"/>
                    <a:pt x="748" y="79"/>
                  </a:cubicBezTo>
                  <a:cubicBezTo>
                    <a:pt x="748" y="79"/>
                    <a:pt x="748" y="79"/>
                    <a:pt x="748" y="79"/>
                  </a:cubicBezTo>
                  <a:cubicBezTo>
                    <a:pt x="748" y="79"/>
                    <a:pt x="748" y="80"/>
                    <a:pt x="748" y="80"/>
                  </a:cubicBezTo>
                  <a:cubicBezTo>
                    <a:pt x="748" y="80"/>
                    <a:pt x="748" y="80"/>
                    <a:pt x="748" y="81"/>
                  </a:cubicBezTo>
                  <a:cubicBezTo>
                    <a:pt x="749" y="81"/>
                    <a:pt x="748" y="81"/>
                    <a:pt x="749" y="82"/>
                  </a:cubicBezTo>
                  <a:cubicBezTo>
                    <a:pt x="749" y="82"/>
                    <a:pt x="749" y="82"/>
                    <a:pt x="749" y="82"/>
                  </a:cubicBezTo>
                  <a:cubicBezTo>
                    <a:pt x="749" y="82"/>
                    <a:pt x="749" y="83"/>
                    <a:pt x="749" y="83"/>
                  </a:cubicBezTo>
                  <a:close/>
                  <a:moveTo>
                    <a:pt x="1231" y="92"/>
                  </a:moveTo>
                  <a:cubicBezTo>
                    <a:pt x="1231" y="92"/>
                    <a:pt x="1231" y="92"/>
                    <a:pt x="1231" y="92"/>
                  </a:cubicBezTo>
                  <a:cubicBezTo>
                    <a:pt x="1231" y="92"/>
                    <a:pt x="1230" y="92"/>
                    <a:pt x="1230" y="92"/>
                  </a:cubicBezTo>
                  <a:cubicBezTo>
                    <a:pt x="1230" y="92"/>
                    <a:pt x="1230" y="92"/>
                    <a:pt x="1230" y="92"/>
                  </a:cubicBezTo>
                  <a:cubicBezTo>
                    <a:pt x="1230" y="92"/>
                    <a:pt x="1230" y="92"/>
                    <a:pt x="1230" y="92"/>
                  </a:cubicBezTo>
                  <a:cubicBezTo>
                    <a:pt x="1230" y="92"/>
                    <a:pt x="1229" y="92"/>
                    <a:pt x="1229" y="91"/>
                  </a:cubicBezTo>
                  <a:cubicBezTo>
                    <a:pt x="1229" y="91"/>
                    <a:pt x="1229" y="91"/>
                    <a:pt x="1229" y="91"/>
                  </a:cubicBezTo>
                  <a:cubicBezTo>
                    <a:pt x="1229" y="91"/>
                    <a:pt x="1229" y="91"/>
                    <a:pt x="1229" y="91"/>
                  </a:cubicBezTo>
                  <a:cubicBezTo>
                    <a:pt x="1229" y="91"/>
                    <a:pt x="1229" y="91"/>
                    <a:pt x="1229" y="91"/>
                  </a:cubicBezTo>
                  <a:cubicBezTo>
                    <a:pt x="1229" y="91"/>
                    <a:pt x="1228" y="91"/>
                    <a:pt x="1228" y="91"/>
                  </a:cubicBezTo>
                  <a:cubicBezTo>
                    <a:pt x="1228" y="91"/>
                    <a:pt x="1228" y="91"/>
                    <a:pt x="1228" y="91"/>
                  </a:cubicBezTo>
                  <a:cubicBezTo>
                    <a:pt x="1228" y="91"/>
                    <a:pt x="1228" y="91"/>
                    <a:pt x="1227" y="90"/>
                  </a:cubicBezTo>
                  <a:cubicBezTo>
                    <a:pt x="1227" y="90"/>
                    <a:pt x="1227" y="90"/>
                    <a:pt x="1227" y="90"/>
                  </a:cubicBezTo>
                  <a:cubicBezTo>
                    <a:pt x="1227" y="90"/>
                    <a:pt x="1227" y="90"/>
                    <a:pt x="1227" y="90"/>
                  </a:cubicBezTo>
                  <a:cubicBezTo>
                    <a:pt x="1227" y="90"/>
                    <a:pt x="1227" y="90"/>
                    <a:pt x="1227" y="90"/>
                  </a:cubicBezTo>
                  <a:cubicBezTo>
                    <a:pt x="1227" y="90"/>
                    <a:pt x="1226" y="90"/>
                    <a:pt x="1226" y="89"/>
                  </a:cubicBezTo>
                  <a:cubicBezTo>
                    <a:pt x="1226" y="89"/>
                    <a:pt x="1226" y="89"/>
                    <a:pt x="1226" y="89"/>
                  </a:cubicBezTo>
                  <a:cubicBezTo>
                    <a:pt x="1226" y="89"/>
                    <a:pt x="1226" y="89"/>
                    <a:pt x="1226" y="89"/>
                  </a:cubicBezTo>
                  <a:cubicBezTo>
                    <a:pt x="1226" y="89"/>
                    <a:pt x="1226" y="89"/>
                    <a:pt x="1226" y="89"/>
                  </a:cubicBezTo>
                  <a:cubicBezTo>
                    <a:pt x="1225" y="89"/>
                    <a:pt x="1225" y="89"/>
                    <a:pt x="1225" y="89"/>
                  </a:cubicBezTo>
                  <a:cubicBezTo>
                    <a:pt x="1225" y="89"/>
                    <a:pt x="1225" y="89"/>
                    <a:pt x="1225" y="89"/>
                  </a:cubicBezTo>
                  <a:cubicBezTo>
                    <a:pt x="1225" y="89"/>
                    <a:pt x="1225" y="88"/>
                    <a:pt x="1225" y="88"/>
                  </a:cubicBezTo>
                  <a:cubicBezTo>
                    <a:pt x="1225" y="88"/>
                    <a:pt x="1225" y="88"/>
                    <a:pt x="1225" y="88"/>
                  </a:cubicBezTo>
                  <a:cubicBezTo>
                    <a:pt x="1225" y="88"/>
                    <a:pt x="1225" y="88"/>
                    <a:pt x="1224" y="88"/>
                  </a:cubicBezTo>
                  <a:cubicBezTo>
                    <a:pt x="1225" y="88"/>
                    <a:pt x="1225" y="88"/>
                    <a:pt x="1225" y="88"/>
                  </a:cubicBezTo>
                  <a:cubicBezTo>
                    <a:pt x="1224" y="88"/>
                    <a:pt x="1224" y="88"/>
                    <a:pt x="1224" y="88"/>
                  </a:cubicBezTo>
                  <a:cubicBezTo>
                    <a:pt x="1224" y="88"/>
                    <a:pt x="1224" y="88"/>
                    <a:pt x="1224" y="88"/>
                  </a:cubicBezTo>
                  <a:cubicBezTo>
                    <a:pt x="1224" y="87"/>
                    <a:pt x="1224" y="87"/>
                    <a:pt x="1224" y="87"/>
                  </a:cubicBezTo>
                  <a:cubicBezTo>
                    <a:pt x="1224" y="87"/>
                    <a:pt x="1224" y="87"/>
                    <a:pt x="1224" y="87"/>
                  </a:cubicBezTo>
                  <a:cubicBezTo>
                    <a:pt x="1224" y="87"/>
                    <a:pt x="1224" y="87"/>
                    <a:pt x="1224" y="87"/>
                  </a:cubicBezTo>
                  <a:cubicBezTo>
                    <a:pt x="1224" y="87"/>
                    <a:pt x="1224" y="87"/>
                    <a:pt x="1224" y="87"/>
                  </a:cubicBezTo>
                  <a:cubicBezTo>
                    <a:pt x="1223" y="87"/>
                    <a:pt x="1223" y="86"/>
                    <a:pt x="1223" y="86"/>
                  </a:cubicBezTo>
                  <a:cubicBezTo>
                    <a:pt x="1223" y="86"/>
                    <a:pt x="1223" y="86"/>
                    <a:pt x="1223" y="86"/>
                  </a:cubicBezTo>
                  <a:cubicBezTo>
                    <a:pt x="1223" y="86"/>
                    <a:pt x="1223" y="86"/>
                    <a:pt x="1222" y="86"/>
                  </a:cubicBezTo>
                  <a:cubicBezTo>
                    <a:pt x="1222" y="86"/>
                    <a:pt x="1222" y="86"/>
                    <a:pt x="1222" y="86"/>
                  </a:cubicBezTo>
                  <a:cubicBezTo>
                    <a:pt x="1222" y="85"/>
                    <a:pt x="1222" y="85"/>
                    <a:pt x="1222" y="85"/>
                  </a:cubicBezTo>
                  <a:cubicBezTo>
                    <a:pt x="1222" y="85"/>
                    <a:pt x="1222" y="85"/>
                    <a:pt x="1222" y="85"/>
                  </a:cubicBezTo>
                  <a:cubicBezTo>
                    <a:pt x="1222" y="85"/>
                    <a:pt x="1222" y="85"/>
                    <a:pt x="1222" y="84"/>
                  </a:cubicBezTo>
                  <a:cubicBezTo>
                    <a:pt x="1222" y="84"/>
                    <a:pt x="1222" y="84"/>
                    <a:pt x="1222" y="84"/>
                  </a:cubicBezTo>
                  <a:cubicBezTo>
                    <a:pt x="1222" y="84"/>
                    <a:pt x="1222" y="84"/>
                    <a:pt x="1221" y="84"/>
                  </a:cubicBezTo>
                  <a:cubicBezTo>
                    <a:pt x="1221" y="84"/>
                    <a:pt x="1221" y="84"/>
                    <a:pt x="1221" y="84"/>
                  </a:cubicBezTo>
                  <a:cubicBezTo>
                    <a:pt x="1221" y="84"/>
                    <a:pt x="1221" y="83"/>
                    <a:pt x="1221" y="83"/>
                  </a:cubicBezTo>
                  <a:cubicBezTo>
                    <a:pt x="1221" y="83"/>
                    <a:pt x="1221" y="83"/>
                    <a:pt x="1221" y="83"/>
                  </a:cubicBezTo>
                  <a:cubicBezTo>
                    <a:pt x="1221" y="83"/>
                    <a:pt x="1221" y="83"/>
                    <a:pt x="1221" y="82"/>
                  </a:cubicBezTo>
                  <a:cubicBezTo>
                    <a:pt x="1221" y="82"/>
                    <a:pt x="1221" y="82"/>
                    <a:pt x="1221" y="82"/>
                  </a:cubicBezTo>
                  <a:cubicBezTo>
                    <a:pt x="1221" y="82"/>
                    <a:pt x="1221" y="82"/>
                    <a:pt x="1220" y="82"/>
                  </a:cubicBezTo>
                  <a:cubicBezTo>
                    <a:pt x="1220" y="82"/>
                    <a:pt x="1220" y="82"/>
                    <a:pt x="1220" y="81"/>
                  </a:cubicBezTo>
                  <a:cubicBezTo>
                    <a:pt x="1220" y="81"/>
                    <a:pt x="1220" y="81"/>
                    <a:pt x="1220" y="81"/>
                  </a:cubicBezTo>
                  <a:cubicBezTo>
                    <a:pt x="1220" y="81"/>
                    <a:pt x="1220" y="81"/>
                    <a:pt x="1220" y="81"/>
                  </a:cubicBezTo>
                  <a:cubicBezTo>
                    <a:pt x="1220" y="80"/>
                    <a:pt x="1220" y="80"/>
                    <a:pt x="1220" y="80"/>
                  </a:cubicBezTo>
                  <a:cubicBezTo>
                    <a:pt x="1220" y="80"/>
                    <a:pt x="1220" y="80"/>
                    <a:pt x="1220" y="80"/>
                  </a:cubicBezTo>
                  <a:cubicBezTo>
                    <a:pt x="1220" y="80"/>
                    <a:pt x="1220" y="80"/>
                    <a:pt x="1220" y="80"/>
                  </a:cubicBezTo>
                  <a:cubicBezTo>
                    <a:pt x="1220" y="79"/>
                    <a:pt x="1220" y="79"/>
                    <a:pt x="1220" y="79"/>
                  </a:cubicBezTo>
                  <a:cubicBezTo>
                    <a:pt x="1219" y="79"/>
                    <a:pt x="1220" y="79"/>
                    <a:pt x="1219" y="78"/>
                  </a:cubicBezTo>
                  <a:cubicBezTo>
                    <a:pt x="1219" y="78"/>
                    <a:pt x="1219" y="78"/>
                    <a:pt x="1219" y="78"/>
                  </a:cubicBezTo>
                  <a:cubicBezTo>
                    <a:pt x="1219" y="78"/>
                    <a:pt x="1219" y="77"/>
                    <a:pt x="1219" y="77"/>
                  </a:cubicBezTo>
                  <a:cubicBezTo>
                    <a:pt x="1219" y="77"/>
                    <a:pt x="1219" y="77"/>
                    <a:pt x="1219" y="77"/>
                  </a:cubicBezTo>
                  <a:cubicBezTo>
                    <a:pt x="1219" y="76"/>
                    <a:pt x="1219" y="75"/>
                    <a:pt x="1219" y="75"/>
                  </a:cubicBezTo>
                  <a:cubicBezTo>
                    <a:pt x="1219" y="74"/>
                    <a:pt x="1218" y="74"/>
                    <a:pt x="1219" y="74"/>
                  </a:cubicBezTo>
                  <a:cubicBezTo>
                    <a:pt x="1218" y="71"/>
                    <a:pt x="1218" y="71"/>
                    <a:pt x="1221" y="71"/>
                  </a:cubicBezTo>
                  <a:cubicBezTo>
                    <a:pt x="1235" y="71"/>
                    <a:pt x="1250" y="71"/>
                    <a:pt x="1264" y="71"/>
                  </a:cubicBezTo>
                  <a:cubicBezTo>
                    <a:pt x="1264" y="71"/>
                    <a:pt x="1264" y="71"/>
                    <a:pt x="1265" y="71"/>
                  </a:cubicBezTo>
                  <a:cubicBezTo>
                    <a:pt x="1266" y="71"/>
                    <a:pt x="1266" y="70"/>
                    <a:pt x="1266" y="70"/>
                  </a:cubicBezTo>
                  <a:cubicBezTo>
                    <a:pt x="1266" y="67"/>
                    <a:pt x="1266" y="64"/>
                    <a:pt x="1266" y="61"/>
                  </a:cubicBezTo>
                  <a:cubicBezTo>
                    <a:pt x="1266" y="61"/>
                    <a:pt x="1265" y="60"/>
                    <a:pt x="1266" y="60"/>
                  </a:cubicBezTo>
                  <a:cubicBezTo>
                    <a:pt x="1265" y="59"/>
                    <a:pt x="1266" y="58"/>
                    <a:pt x="1265" y="58"/>
                  </a:cubicBezTo>
                  <a:cubicBezTo>
                    <a:pt x="1265" y="57"/>
                    <a:pt x="1265" y="57"/>
                    <a:pt x="1265" y="57"/>
                  </a:cubicBezTo>
                  <a:cubicBezTo>
                    <a:pt x="1265" y="57"/>
                    <a:pt x="1265" y="56"/>
                    <a:pt x="1265" y="56"/>
                  </a:cubicBezTo>
                  <a:cubicBezTo>
                    <a:pt x="1265" y="55"/>
                    <a:pt x="1265" y="55"/>
                    <a:pt x="1265" y="55"/>
                  </a:cubicBezTo>
                  <a:cubicBezTo>
                    <a:pt x="1265" y="55"/>
                    <a:pt x="1265" y="54"/>
                    <a:pt x="1265" y="54"/>
                  </a:cubicBezTo>
                  <a:cubicBezTo>
                    <a:pt x="1265" y="54"/>
                    <a:pt x="1264" y="54"/>
                    <a:pt x="1265" y="54"/>
                  </a:cubicBezTo>
                  <a:cubicBezTo>
                    <a:pt x="1264" y="53"/>
                    <a:pt x="1265" y="53"/>
                    <a:pt x="1264" y="52"/>
                  </a:cubicBezTo>
                  <a:cubicBezTo>
                    <a:pt x="1264" y="52"/>
                    <a:pt x="1264" y="52"/>
                    <a:pt x="1264" y="52"/>
                  </a:cubicBezTo>
                  <a:cubicBezTo>
                    <a:pt x="1264" y="52"/>
                    <a:pt x="1264" y="51"/>
                    <a:pt x="1264" y="51"/>
                  </a:cubicBezTo>
                  <a:cubicBezTo>
                    <a:pt x="1264" y="51"/>
                    <a:pt x="1264" y="51"/>
                    <a:pt x="1264" y="51"/>
                  </a:cubicBezTo>
                  <a:cubicBezTo>
                    <a:pt x="1264" y="51"/>
                    <a:pt x="1264" y="50"/>
                    <a:pt x="1264" y="50"/>
                  </a:cubicBezTo>
                  <a:cubicBezTo>
                    <a:pt x="1264" y="50"/>
                    <a:pt x="1264" y="50"/>
                    <a:pt x="1264" y="50"/>
                  </a:cubicBezTo>
                  <a:cubicBezTo>
                    <a:pt x="1263" y="50"/>
                    <a:pt x="1264" y="49"/>
                    <a:pt x="1263" y="49"/>
                  </a:cubicBezTo>
                  <a:cubicBezTo>
                    <a:pt x="1263" y="49"/>
                    <a:pt x="1263" y="49"/>
                    <a:pt x="1263" y="49"/>
                  </a:cubicBezTo>
                  <a:cubicBezTo>
                    <a:pt x="1263" y="49"/>
                    <a:pt x="1263" y="48"/>
                    <a:pt x="1263" y="48"/>
                  </a:cubicBezTo>
                  <a:cubicBezTo>
                    <a:pt x="1263" y="48"/>
                    <a:pt x="1263" y="48"/>
                    <a:pt x="1263" y="48"/>
                  </a:cubicBezTo>
                  <a:cubicBezTo>
                    <a:pt x="1263" y="48"/>
                    <a:pt x="1263" y="48"/>
                    <a:pt x="1263" y="48"/>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7"/>
                    <a:pt x="1262" y="47"/>
                    <a:pt x="1262" y="47"/>
                  </a:cubicBezTo>
                  <a:cubicBezTo>
                    <a:pt x="1262" y="46"/>
                    <a:pt x="1262" y="46"/>
                    <a:pt x="1262" y="46"/>
                  </a:cubicBezTo>
                  <a:cubicBezTo>
                    <a:pt x="1262" y="46"/>
                    <a:pt x="1262" y="46"/>
                    <a:pt x="1262" y="46"/>
                  </a:cubicBezTo>
                  <a:cubicBezTo>
                    <a:pt x="1262" y="46"/>
                    <a:pt x="1262" y="46"/>
                    <a:pt x="1262" y="46"/>
                  </a:cubicBezTo>
                  <a:cubicBezTo>
                    <a:pt x="1262" y="46"/>
                    <a:pt x="1262" y="46"/>
                    <a:pt x="1261" y="45"/>
                  </a:cubicBezTo>
                  <a:cubicBezTo>
                    <a:pt x="1261" y="45"/>
                    <a:pt x="1261" y="45"/>
                    <a:pt x="1261" y="45"/>
                  </a:cubicBezTo>
                  <a:cubicBezTo>
                    <a:pt x="1261" y="45"/>
                    <a:pt x="1261" y="45"/>
                    <a:pt x="1261" y="45"/>
                  </a:cubicBezTo>
                  <a:cubicBezTo>
                    <a:pt x="1261" y="45"/>
                    <a:pt x="1261" y="45"/>
                    <a:pt x="1261" y="45"/>
                  </a:cubicBezTo>
                  <a:cubicBezTo>
                    <a:pt x="1261" y="45"/>
                    <a:pt x="1261" y="44"/>
                    <a:pt x="1261" y="44"/>
                  </a:cubicBezTo>
                  <a:cubicBezTo>
                    <a:pt x="1261" y="44"/>
                    <a:pt x="1261" y="44"/>
                    <a:pt x="1261" y="44"/>
                  </a:cubicBezTo>
                  <a:cubicBezTo>
                    <a:pt x="1261" y="44"/>
                    <a:pt x="1261" y="44"/>
                    <a:pt x="1260" y="44"/>
                  </a:cubicBezTo>
                  <a:cubicBezTo>
                    <a:pt x="1260" y="44"/>
                    <a:pt x="1260" y="44"/>
                    <a:pt x="1260" y="44"/>
                  </a:cubicBezTo>
                  <a:cubicBezTo>
                    <a:pt x="1260" y="44"/>
                    <a:pt x="1260" y="43"/>
                    <a:pt x="1260" y="43"/>
                  </a:cubicBezTo>
                  <a:cubicBezTo>
                    <a:pt x="1260" y="43"/>
                    <a:pt x="1260" y="43"/>
                    <a:pt x="1260" y="43"/>
                  </a:cubicBezTo>
                  <a:cubicBezTo>
                    <a:pt x="1260" y="43"/>
                    <a:pt x="1260" y="43"/>
                    <a:pt x="1260" y="43"/>
                  </a:cubicBezTo>
                  <a:cubicBezTo>
                    <a:pt x="1260" y="43"/>
                    <a:pt x="1260" y="43"/>
                    <a:pt x="1260" y="43"/>
                  </a:cubicBezTo>
                  <a:cubicBezTo>
                    <a:pt x="1259" y="42"/>
                    <a:pt x="1259" y="42"/>
                    <a:pt x="1259" y="42"/>
                  </a:cubicBezTo>
                  <a:cubicBezTo>
                    <a:pt x="1259" y="42"/>
                    <a:pt x="1259" y="42"/>
                    <a:pt x="1259" y="42"/>
                  </a:cubicBezTo>
                  <a:cubicBezTo>
                    <a:pt x="1259" y="42"/>
                    <a:pt x="1259" y="41"/>
                    <a:pt x="1259" y="41"/>
                  </a:cubicBezTo>
                  <a:cubicBezTo>
                    <a:pt x="1259" y="41"/>
                    <a:pt x="1259" y="41"/>
                    <a:pt x="1259" y="41"/>
                  </a:cubicBezTo>
                  <a:cubicBezTo>
                    <a:pt x="1259" y="41"/>
                    <a:pt x="1258" y="41"/>
                    <a:pt x="1258" y="41"/>
                  </a:cubicBezTo>
                  <a:cubicBezTo>
                    <a:pt x="1258" y="41"/>
                    <a:pt x="1258" y="41"/>
                    <a:pt x="1258" y="41"/>
                  </a:cubicBezTo>
                  <a:cubicBezTo>
                    <a:pt x="1258" y="41"/>
                    <a:pt x="1258" y="41"/>
                    <a:pt x="1258" y="41"/>
                  </a:cubicBezTo>
                  <a:cubicBezTo>
                    <a:pt x="1258" y="41"/>
                    <a:pt x="1258" y="41"/>
                    <a:pt x="1258" y="41"/>
                  </a:cubicBezTo>
                  <a:cubicBezTo>
                    <a:pt x="1257" y="40"/>
                    <a:pt x="1257" y="39"/>
                    <a:pt x="1256" y="39"/>
                  </a:cubicBezTo>
                  <a:cubicBezTo>
                    <a:pt x="1256" y="39"/>
                    <a:pt x="1256" y="39"/>
                    <a:pt x="1256" y="39"/>
                  </a:cubicBezTo>
                  <a:cubicBezTo>
                    <a:pt x="1256" y="39"/>
                    <a:pt x="1256" y="39"/>
                    <a:pt x="1256" y="39"/>
                  </a:cubicBezTo>
                  <a:cubicBezTo>
                    <a:pt x="1256" y="39"/>
                    <a:pt x="1256" y="39"/>
                    <a:pt x="1256" y="39"/>
                  </a:cubicBezTo>
                  <a:cubicBezTo>
                    <a:pt x="1256" y="38"/>
                    <a:pt x="1256" y="38"/>
                    <a:pt x="1255" y="38"/>
                  </a:cubicBezTo>
                  <a:cubicBezTo>
                    <a:pt x="1256" y="38"/>
                    <a:pt x="1256" y="38"/>
                    <a:pt x="1256" y="38"/>
                  </a:cubicBezTo>
                  <a:cubicBezTo>
                    <a:pt x="1255" y="38"/>
                    <a:pt x="1255" y="38"/>
                    <a:pt x="1255" y="38"/>
                  </a:cubicBezTo>
                  <a:cubicBezTo>
                    <a:pt x="1255" y="38"/>
                    <a:pt x="1255" y="38"/>
                    <a:pt x="1255" y="38"/>
                  </a:cubicBezTo>
                  <a:cubicBezTo>
                    <a:pt x="1255" y="38"/>
                    <a:pt x="1255" y="38"/>
                    <a:pt x="1255" y="37"/>
                  </a:cubicBezTo>
                  <a:cubicBezTo>
                    <a:pt x="1255" y="37"/>
                    <a:pt x="1255" y="37"/>
                    <a:pt x="1255" y="37"/>
                  </a:cubicBezTo>
                  <a:cubicBezTo>
                    <a:pt x="1254" y="37"/>
                    <a:pt x="1254" y="37"/>
                    <a:pt x="1254" y="37"/>
                  </a:cubicBezTo>
                  <a:cubicBezTo>
                    <a:pt x="1254" y="37"/>
                    <a:pt x="1254" y="37"/>
                    <a:pt x="1254" y="37"/>
                  </a:cubicBezTo>
                  <a:cubicBezTo>
                    <a:pt x="1254" y="37"/>
                    <a:pt x="1254" y="37"/>
                    <a:pt x="1254" y="37"/>
                  </a:cubicBezTo>
                  <a:cubicBezTo>
                    <a:pt x="1254" y="37"/>
                    <a:pt x="1254" y="37"/>
                    <a:pt x="1254" y="37"/>
                  </a:cubicBezTo>
                  <a:cubicBezTo>
                    <a:pt x="1254" y="37"/>
                    <a:pt x="1253" y="37"/>
                    <a:pt x="1253" y="36"/>
                  </a:cubicBezTo>
                  <a:cubicBezTo>
                    <a:pt x="1253" y="36"/>
                    <a:pt x="1253" y="36"/>
                    <a:pt x="1253" y="36"/>
                  </a:cubicBezTo>
                  <a:cubicBezTo>
                    <a:pt x="1253" y="36"/>
                    <a:pt x="1253" y="36"/>
                    <a:pt x="1252" y="36"/>
                  </a:cubicBezTo>
                  <a:cubicBezTo>
                    <a:pt x="1252" y="36"/>
                    <a:pt x="1252" y="36"/>
                    <a:pt x="1252" y="36"/>
                  </a:cubicBezTo>
                  <a:cubicBezTo>
                    <a:pt x="1252" y="36"/>
                    <a:pt x="1252" y="36"/>
                    <a:pt x="1252" y="36"/>
                  </a:cubicBezTo>
                  <a:cubicBezTo>
                    <a:pt x="1252" y="36"/>
                    <a:pt x="1252" y="36"/>
                    <a:pt x="1252" y="36"/>
                  </a:cubicBezTo>
                  <a:cubicBezTo>
                    <a:pt x="1252" y="35"/>
                    <a:pt x="1252" y="36"/>
                    <a:pt x="1251" y="35"/>
                  </a:cubicBezTo>
                  <a:cubicBezTo>
                    <a:pt x="1251" y="35"/>
                    <a:pt x="1251" y="35"/>
                    <a:pt x="1251" y="35"/>
                  </a:cubicBezTo>
                  <a:cubicBezTo>
                    <a:pt x="1251" y="35"/>
                    <a:pt x="1251" y="35"/>
                    <a:pt x="1251" y="35"/>
                  </a:cubicBezTo>
                  <a:cubicBezTo>
                    <a:pt x="1250" y="35"/>
                    <a:pt x="1250" y="35"/>
                    <a:pt x="1250" y="35"/>
                  </a:cubicBezTo>
                  <a:cubicBezTo>
                    <a:pt x="1250" y="35"/>
                    <a:pt x="1250" y="35"/>
                    <a:pt x="1250" y="35"/>
                  </a:cubicBezTo>
                  <a:cubicBezTo>
                    <a:pt x="1250" y="35"/>
                    <a:pt x="1250" y="35"/>
                    <a:pt x="1250" y="35"/>
                  </a:cubicBezTo>
                  <a:cubicBezTo>
                    <a:pt x="1249" y="34"/>
                    <a:pt x="1249" y="35"/>
                    <a:pt x="1249" y="34"/>
                  </a:cubicBezTo>
                  <a:cubicBezTo>
                    <a:pt x="1249" y="34"/>
                    <a:pt x="1249" y="34"/>
                    <a:pt x="1249" y="34"/>
                  </a:cubicBezTo>
                  <a:cubicBezTo>
                    <a:pt x="1249" y="34"/>
                    <a:pt x="1248" y="34"/>
                    <a:pt x="1248" y="34"/>
                  </a:cubicBezTo>
                  <a:cubicBezTo>
                    <a:pt x="1248" y="34"/>
                    <a:pt x="1248" y="34"/>
                    <a:pt x="1248" y="34"/>
                  </a:cubicBezTo>
                  <a:cubicBezTo>
                    <a:pt x="1248" y="34"/>
                    <a:pt x="1247" y="34"/>
                    <a:pt x="1247" y="34"/>
                  </a:cubicBezTo>
                  <a:cubicBezTo>
                    <a:pt x="1247" y="34"/>
                    <a:pt x="1247" y="34"/>
                    <a:pt x="1246" y="34"/>
                  </a:cubicBezTo>
                  <a:cubicBezTo>
                    <a:pt x="1246" y="33"/>
                    <a:pt x="1246" y="34"/>
                    <a:pt x="1245" y="33"/>
                  </a:cubicBezTo>
                  <a:cubicBezTo>
                    <a:pt x="1245" y="33"/>
                    <a:pt x="1245" y="33"/>
                    <a:pt x="1245" y="33"/>
                  </a:cubicBezTo>
                  <a:cubicBezTo>
                    <a:pt x="1245" y="33"/>
                    <a:pt x="1244" y="33"/>
                    <a:pt x="1244" y="33"/>
                  </a:cubicBezTo>
                  <a:cubicBezTo>
                    <a:pt x="1243" y="33"/>
                    <a:pt x="1243" y="33"/>
                    <a:pt x="1243" y="33"/>
                  </a:cubicBezTo>
                  <a:cubicBezTo>
                    <a:pt x="1242" y="33"/>
                    <a:pt x="1241" y="33"/>
                    <a:pt x="1241" y="33"/>
                  </a:cubicBezTo>
                  <a:cubicBezTo>
                    <a:pt x="1239" y="33"/>
                    <a:pt x="1237" y="33"/>
                    <a:pt x="1236" y="33"/>
                  </a:cubicBezTo>
                  <a:cubicBezTo>
                    <a:pt x="1235" y="33"/>
                    <a:pt x="1234" y="33"/>
                    <a:pt x="1233" y="33"/>
                  </a:cubicBezTo>
                  <a:cubicBezTo>
                    <a:pt x="1233" y="33"/>
                    <a:pt x="1233" y="33"/>
                    <a:pt x="1233" y="33"/>
                  </a:cubicBezTo>
                  <a:cubicBezTo>
                    <a:pt x="1232" y="33"/>
                    <a:pt x="1232" y="33"/>
                    <a:pt x="1231" y="33"/>
                  </a:cubicBezTo>
                  <a:cubicBezTo>
                    <a:pt x="1231" y="33"/>
                    <a:pt x="1231" y="33"/>
                    <a:pt x="1231" y="33"/>
                  </a:cubicBezTo>
                  <a:cubicBezTo>
                    <a:pt x="1231" y="33"/>
                    <a:pt x="1231" y="33"/>
                    <a:pt x="1231" y="33"/>
                  </a:cubicBezTo>
                  <a:cubicBezTo>
                    <a:pt x="1231" y="34"/>
                    <a:pt x="1230" y="33"/>
                    <a:pt x="1230" y="34"/>
                  </a:cubicBezTo>
                  <a:cubicBezTo>
                    <a:pt x="1230" y="34"/>
                    <a:pt x="1230" y="34"/>
                    <a:pt x="1230" y="34"/>
                  </a:cubicBezTo>
                  <a:cubicBezTo>
                    <a:pt x="1230" y="34"/>
                    <a:pt x="1229" y="34"/>
                    <a:pt x="1229" y="34"/>
                  </a:cubicBezTo>
                  <a:cubicBezTo>
                    <a:pt x="1229" y="34"/>
                    <a:pt x="1229" y="34"/>
                    <a:pt x="1229" y="34"/>
                  </a:cubicBezTo>
                  <a:cubicBezTo>
                    <a:pt x="1229" y="34"/>
                    <a:pt x="1229" y="34"/>
                    <a:pt x="1229" y="34"/>
                  </a:cubicBezTo>
                  <a:cubicBezTo>
                    <a:pt x="1228" y="34"/>
                    <a:pt x="1228" y="34"/>
                    <a:pt x="1228" y="34"/>
                  </a:cubicBezTo>
                  <a:cubicBezTo>
                    <a:pt x="1228" y="34"/>
                    <a:pt x="1228" y="34"/>
                    <a:pt x="1228" y="34"/>
                  </a:cubicBezTo>
                  <a:cubicBezTo>
                    <a:pt x="1227" y="35"/>
                    <a:pt x="1227" y="34"/>
                    <a:pt x="1227" y="35"/>
                  </a:cubicBezTo>
                  <a:cubicBezTo>
                    <a:pt x="1227" y="35"/>
                    <a:pt x="1227" y="35"/>
                    <a:pt x="1227" y="35"/>
                  </a:cubicBezTo>
                  <a:cubicBezTo>
                    <a:pt x="1226" y="35"/>
                    <a:pt x="1226" y="35"/>
                    <a:pt x="1226" y="35"/>
                  </a:cubicBezTo>
                  <a:cubicBezTo>
                    <a:pt x="1226" y="35"/>
                    <a:pt x="1226" y="35"/>
                    <a:pt x="1226" y="35"/>
                  </a:cubicBezTo>
                  <a:cubicBezTo>
                    <a:pt x="1226" y="35"/>
                    <a:pt x="1225" y="35"/>
                    <a:pt x="1225" y="35"/>
                  </a:cubicBezTo>
                  <a:cubicBezTo>
                    <a:pt x="1225" y="35"/>
                    <a:pt x="1225" y="35"/>
                    <a:pt x="1225" y="35"/>
                  </a:cubicBezTo>
                  <a:cubicBezTo>
                    <a:pt x="1225" y="36"/>
                    <a:pt x="1225" y="36"/>
                    <a:pt x="1225" y="36"/>
                  </a:cubicBezTo>
                  <a:cubicBezTo>
                    <a:pt x="1225" y="36"/>
                    <a:pt x="1225" y="36"/>
                    <a:pt x="1225" y="36"/>
                  </a:cubicBezTo>
                  <a:cubicBezTo>
                    <a:pt x="1224" y="36"/>
                    <a:pt x="1224" y="36"/>
                    <a:pt x="1224" y="36"/>
                  </a:cubicBezTo>
                  <a:cubicBezTo>
                    <a:pt x="1224" y="36"/>
                    <a:pt x="1224" y="36"/>
                    <a:pt x="1224" y="36"/>
                  </a:cubicBezTo>
                  <a:cubicBezTo>
                    <a:pt x="1224" y="36"/>
                    <a:pt x="1223" y="36"/>
                    <a:pt x="1223" y="36"/>
                  </a:cubicBezTo>
                  <a:cubicBezTo>
                    <a:pt x="1223" y="36"/>
                    <a:pt x="1223" y="36"/>
                    <a:pt x="1223" y="36"/>
                  </a:cubicBezTo>
                  <a:cubicBezTo>
                    <a:pt x="1223" y="37"/>
                    <a:pt x="1223" y="37"/>
                    <a:pt x="1223" y="37"/>
                  </a:cubicBezTo>
                  <a:cubicBezTo>
                    <a:pt x="1223" y="37"/>
                    <a:pt x="1223" y="37"/>
                    <a:pt x="1223" y="37"/>
                  </a:cubicBezTo>
                  <a:cubicBezTo>
                    <a:pt x="1222" y="37"/>
                    <a:pt x="1222" y="37"/>
                    <a:pt x="1222" y="37"/>
                  </a:cubicBezTo>
                  <a:cubicBezTo>
                    <a:pt x="1222" y="37"/>
                    <a:pt x="1222" y="37"/>
                    <a:pt x="1222" y="37"/>
                  </a:cubicBezTo>
                  <a:cubicBezTo>
                    <a:pt x="1222" y="37"/>
                    <a:pt x="1222" y="37"/>
                    <a:pt x="1221" y="38"/>
                  </a:cubicBezTo>
                  <a:cubicBezTo>
                    <a:pt x="1222" y="38"/>
                    <a:pt x="1222" y="38"/>
                    <a:pt x="1222" y="38"/>
                  </a:cubicBezTo>
                  <a:cubicBezTo>
                    <a:pt x="1221" y="38"/>
                    <a:pt x="1221" y="38"/>
                    <a:pt x="1221" y="38"/>
                  </a:cubicBezTo>
                  <a:cubicBezTo>
                    <a:pt x="1221" y="38"/>
                    <a:pt x="1221" y="38"/>
                    <a:pt x="1221" y="38"/>
                  </a:cubicBezTo>
                  <a:cubicBezTo>
                    <a:pt x="1221" y="38"/>
                    <a:pt x="1220" y="38"/>
                    <a:pt x="1220" y="39"/>
                  </a:cubicBezTo>
                  <a:cubicBezTo>
                    <a:pt x="1220" y="39"/>
                    <a:pt x="1220" y="39"/>
                    <a:pt x="1220" y="39"/>
                  </a:cubicBezTo>
                  <a:cubicBezTo>
                    <a:pt x="1220" y="39"/>
                    <a:pt x="1220" y="39"/>
                    <a:pt x="1220" y="39"/>
                  </a:cubicBezTo>
                  <a:cubicBezTo>
                    <a:pt x="1220" y="39"/>
                    <a:pt x="1220" y="39"/>
                    <a:pt x="1220" y="39"/>
                  </a:cubicBezTo>
                  <a:cubicBezTo>
                    <a:pt x="1220" y="39"/>
                    <a:pt x="1219" y="39"/>
                    <a:pt x="1219" y="39"/>
                  </a:cubicBezTo>
                  <a:cubicBezTo>
                    <a:pt x="1219" y="39"/>
                    <a:pt x="1219" y="39"/>
                    <a:pt x="1219" y="39"/>
                  </a:cubicBezTo>
                  <a:cubicBezTo>
                    <a:pt x="1219" y="40"/>
                    <a:pt x="1219" y="40"/>
                    <a:pt x="1218" y="40"/>
                  </a:cubicBezTo>
                  <a:cubicBezTo>
                    <a:pt x="1218" y="40"/>
                    <a:pt x="1218" y="40"/>
                    <a:pt x="1218" y="40"/>
                  </a:cubicBezTo>
                  <a:cubicBezTo>
                    <a:pt x="1218" y="40"/>
                    <a:pt x="1218" y="40"/>
                    <a:pt x="1218" y="40"/>
                  </a:cubicBezTo>
                  <a:cubicBezTo>
                    <a:pt x="1218" y="40"/>
                    <a:pt x="1218" y="40"/>
                    <a:pt x="1218" y="40"/>
                  </a:cubicBezTo>
                  <a:cubicBezTo>
                    <a:pt x="1218" y="40"/>
                    <a:pt x="1218" y="40"/>
                    <a:pt x="1218" y="41"/>
                  </a:cubicBezTo>
                  <a:cubicBezTo>
                    <a:pt x="1218" y="41"/>
                    <a:pt x="1218" y="41"/>
                    <a:pt x="1218" y="41"/>
                  </a:cubicBezTo>
                  <a:cubicBezTo>
                    <a:pt x="1217" y="41"/>
                    <a:pt x="1217" y="41"/>
                    <a:pt x="1217" y="41"/>
                  </a:cubicBezTo>
                  <a:cubicBezTo>
                    <a:pt x="1217" y="41"/>
                    <a:pt x="1217" y="41"/>
                    <a:pt x="1217" y="41"/>
                  </a:cubicBezTo>
                  <a:cubicBezTo>
                    <a:pt x="1217" y="41"/>
                    <a:pt x="1217" y="41"/>
                    <a:pt x="1217" y="41"/>
                  </a:cubicBezTo>
                  <a:cubicBezTo>
                    <a:pt x="1217" y="41"/>
                    <a:pt x="1217" y="41"/>
                    <a:pt x="1217" y="41"/>
                  </a:cubicBezTo>
                  <a:cubicBezTo>
                    <a:pt x="1217" y="41"/>
                    <a:pt x="1217" y="42"/>
                    <a:pt x="1217" y="42"/>
                  </a:cubicBezTo>
                  <a:cubicBezTo>
                    <a:pt x="1217" y="42"/>
                    <a:pt x="1217" y="42"/>
                    <a:pt x="1217" y="42"/>
                  </a:cubicBezTo>
                  <a:cubicBezTo>
                    <a:pt x="1216" y="42"/>
                    <a:pt x="1216" y="42"/>
                    <a:pt x="1216" y="42"/>
                  </a:cubicBezTo>
                  <a:cubicBezTo>
                    <a:pt x="1216" y="42"/>
                    <a:pt x="1216" y="42"/>
                    <a:pt x="1216" y="42"/>
                  </a:cubicBezTo>
                  <a:cubicBezTo>
                    <a:pt x="1216" y="42"/>
                    <a:pt x="1216" y="42"/>
                    <a:pt x="1216" y="42"/>
                  </a:cubicBezTo>
                  <a:cubicBezTo>
                    <a:pt x="1216" y="42"/>
                    <a:pt x="1216" y="42"/>
                    <a:pt x="1216" y="42"/>
                  </a:cubicBezTo>
                  <a:cubicBezTo>
                    <a:pt x="1216" y="43"/>
                    <a:pt x="1215" y="43"/>
                    <a:pt x="1215" y="43"/>
                  </a:cubicBezTo>
                  <a:cubicBezTo>
                    <a:pt x="1215" y="43"/>
                    <a:pt x="1215" y="43"/>
                    <a:pt x="1215" y="43"/>
                  </a:cubicBezTo>
                  <a:cubicBezTo>
                    <a:pt x="1215" y="44"/>
                    <a:pt x="1215" y="44"/>
                    <a:pt x="1215" y="44"/>
                  </a:cubicBezTo>
                  <a:cubicBezTo>
                    <a:pt x="1215" y="44"/>
                    <a:pt x="1215" y="44"/>
                    <a:pt x="1215" y="44"/>
                  </a:cubicBezTo>
                  <a:cubicBezTo>
                    <a:pt x="1215" y="44"/>
                    <a:pt x="1215" y="44"/>
                    <a:pt x="1215" y="44"/>
                  </a:cubicBezTo>
                  <a:cubicBezTo>
                    <a:pt x="1215" y="44"/>
                    <a:pt x="1215" y="44"/>
                    <a:pt x="1215" y="44"/>
                  </a:cubicBezTo>
                  <a:cubicBezTo>
                    <a:pt x="1214" y="44"/>
                    <a:pt x="1214" y="45"/>
                    <a:pt x="1214" y="45"/>
                  </a:cubicBezTo>
                  <a:cubicBezTo>
                    <a:pt x="1214" y="45"/>
                    <a:pt x="1214" y="45"/>
                    <a:pt x="1214" y="45"/>
                  </a:cubicBezTo>
                  <a:cubicBezTo>
                    <a:pt x="1214" y="45"/>
                    <a:pt x="1214" y="45"/>
                    <a:pt x="1214" y="45"/>
                  </a:cubicBezTo>
                  <a:cubicBezTo>
                    <a:pt x="1214" y="45"/>
                    <a:pt x="1214" y="45"/>
                    <a:pt x="1214" y="45"/>
                  </a:cubicBezTo>
                  <a:cubicBezTo>
                    <a:pt x="1213" y="45"/>
                    <a:pt x="1213" y="46"/>
                    <a:pt x="1213" y="46"/>
                  </a:cubicBezTo>
                  <a:cubicBezTo>
                    <a:pt x="1213" y="46"/>
                    <a:pt x="1213" y="46"/>
                    <a:pt x="1213" y="46"/>
                  </a:cubicBezTo>
                  <a:cubicBezTo>
                    <a:pt x="1213" y="46"/>
                    <a:pt x="1213" y="47"/>
                    <a:pt x="1213" y="47"/>
                  </a:cubicBezTo>
                  <a:cubicBezTo>
                    <a:pt x="1213" y="47"/>
                    <a:pt x="1213" y="47"/>
                    <a:pt x="1213" y="47"/>
                  </a:cubicBezTo>
                  <a:cubicBezTo>
                    <a:pt x="1213" y="47"/>
                    <a:pt x="1212" y="47"/>
                    <a:pt x="1212" y="47"/>
                  </a:cubicBezTo>
                  <a:cubicBezTo>
                    <a:pt x="1212" y="47"/>
                    <a:pt x="1212" y="47"/>
                    <a:pt x="1212" y="47"/>
                  </a:cubicBezTo>
                  <a:cubicBezTo>
                    <a:pt x="1212" y="47"/>
                    <a:pt x="1212" y="48"/>
                    <a:pt x="1212" y="48"/>
                  </a:cubicBezTo>
                  <a:cubicBezTo>
                    <a:pt x="1212" y="48"/>
                    <a:pt x="1212" y="48"/>
                    <a:pt x="1212" y="48"/>
                  </a:cubicBezTo>
                  <a:cubicBezTo>
                    <a:pt x="1212" y="48"/>
                    <a:pt x="1212" y="48"/>
                    <a:pt x="1212" y="49"/>
                  </a:cubicBezTo>
                  <a:cubicBezTo>
                    <a:pt x="1212" y="49"/>
                    <a:pt x="1212" y="49"/>
                    <a:pt x="1212" y="49"/>
                  </a:cubicBezTo>
                  <a:cubicBezTo>
                    <a:pt x="1211" y="49"/>
                    <a:pt x="1212" y="49"/>
                    <a:pt x="1211" y="49"/>
                  </a:cubicBezTo>
                  <a:cubicBezTo>
                    <a:pt x="1211" y="49"/>
                    <a:pt x="1211" y="49"/>
                    <a:pt x="1211" y="49"/>
                  </a:cubicBezTo>
                  <a:cubicBezTo>
                    <a:pt x="1211" y="49"/>
                    <a:pt x="1211" y="50"/>
                    <a:pt x="1211" y="50"/>
                  </a:cubicBezTo>
                  <a:cubicBezTo>
                    <a:pt x="1211" y="50"/>
                    <a:pt x="1211" y="50"/>
                    <a:pt x="1211" y="50"/>
                  </a:cubicBezTo>
                  <a:cubicBezTo>
                    <a:pt x="1211" y="50"/>
                    <a:pt x="1211" y="51"/>
                    <a:pt x="1211" y="51"/>
                  </a:cubicBezTo>
                  <a:cubicBezTo>
                    <a:pt x="1211" y="51"/>
                    <a:pt x="1211" y="51"/>
                    <a:pt x="1211" y="51"/>
                  </a:cubicBezTo>
                  <a:cubicBezTo>
                    <a:pt x="1210" y="51"/>
                    <a:pt x="1210" y="51"/>
                    <a:pt x="1210" y="51"/>
                  </a:cubicBezTo>
                  <a:cubicBezTo>
                    <a:pt x="1210" y="51"/>
                    <a:pt x="1210" y="51"/>
                    <a:pt x="1210" y="51"/>
                  </a:cubicBezTo>
                  <a:cubicBezTo>
                    <a:pt x="1210" y="52"/>
                    <a:pt x="1210" y="52"/>
                    <a:pt x="1210" y="52"/>
                  </a:cubicBezTo>
                  <a:cubicBezTo>
                    <a:pt x="1210" y="52"/>
                    <a:pt x="1210" y="52"/>
                    <a:pt x="1210" y="52"/>
                  </a:cubicBezTo>
                  <a:cubicBezTo>
                    <a:pt x="1210" y="53"/>
                    <a:pt x="1210" y="53"/>
                    <a:pt x="1210" y="53"/>
                  </a:cubicBezTo>
                  <a:cubicBezTo>
                    <a:pt x="1210" y="53"/>
                    <a:pt x="1210" y="53"/>
                    <a:pt x="1210" y="53"/>
                  </a:cubicBezTo>
                  <a:cubicBezTo>
                    <a:pt x="1209" y="53"/>
                    <a:pt x="1209" y="54"/>
                    <a:pt x="1209" y="54"/>
                  </a:cubicBezTo>
                  <a:cubicBezTo>
                    <a:pt x="1209" y="54"/>
                    <a:pt x="1209" y="54"/>
                    <a:pt x="1209" y="54"/>
                  </a:cubicBezTo>
                  <a:cubicBezTo>
                    <a:pt x="1209" y="54"/>
                    <a:pt x="1209" y="54"/>
                    <a:pt x="1209" y="54"/>
                  </a:cubicBezTo>
                  <a:cubicBezTo>
                    <a:pt x="1209" y="54"/>
                    <a:pt x="1209" y="55"/>
                    <a:pt x="1209" y="55"/>
                  </a:cubicBezTo>
                  <a:cubicBezTo>
                    <a:pt x="1209" y="55"/>
                    <a:pt x="1209" y="55"/>
                    <a:pt x="1209" y="55"/>
                  </a:cubicBezTo>
                  <a:cubicBezTo>
                    <a:pt x="1209" y="55"/>
                    <a:pt x="1209" y="55"/>
                    <a:pt x="1209" y="55"/>
                  </a:cubicBezTo>
                  <a:cubicBezTo>
                    <a:pt x="1209" y="56"/>
                    <a:pt x="1209" y="56"/>
                    <a:pt x="1209" y="56"/>
                  </a:cubicBezTo>
                  <a:cubicBezTo>
                    <a:pt x="1209" y="56"/>
                    <a:pt x="1209" y="56"/>
                    <a:pt x="1209" y="56"/>
                  </a:cubicBezTo>
                  <a:cubicBezTo>
                    <a:pt x="1208" y="57"/>
                    <a:pt x="1208" y="57"/>
                    <a:pt x="1208" y="57"/>
                  </a:cubicBezTo>
                  <a:cubicBezTo>
                    <a:pt x="1208" y="58"/>
                    <a:pt x="1208" y="58"/>
                    <a:pt x="1208" y="58"/>
                  </a:cubicBezTo>
                  <a:cubicBezTo>
                    <a:pt x="1208" y="58"/>
                    <a:pt x="1208" y="58"/>
                    <a:pt x="1208" y="58"/>
                  </a:cubicBezTo>
                  <a:cubicBezTo>
                    <a:pt x="1208" y="58"/>
                    <a:pt x="1208" y="59"/>
                    <a:pt x="1208" y="59"/>
                  </a:cubicBezTo>
                  <a:cubicBezTo>
                    <a:pt x="1208" y="59"/>
                    <a:pt x="1208" y="59"/>
                    <a:pt x="1208" y="59"/>
                  </a:cubicBezTo>
                  <a:cubicBezTo>
                    <a:pt x="1208" y="60"/>
                    <a:pt x="1208" y="60"/>
                    <a:pt x="1208" y="61"/>
                  </a:cubicBezTo>
                  <a:cubicBezTo>
                    <a:pt x="1208" y="61"/>
                    <a:pt x="1208" y="61"/>
                    <a:pt x="1207" y="61"/>
                  </a:cubicBezTo>
                  <a:cubicBezTo>
                    <a:pt x="1207" y="62"/>
                    <a:pt x="1208" y="63"/>
                    <a:pt x="1207" y="63"/>
                  </a:cubicBezTo>
                  <a:cubicBezTo>
                    <a:pt x="1207" y="64"/>
                    <a:pt x="1207" y="64"/>
                    <a:pt x="1207" y="64"/>
                  </a:cubicBezTo>
                  <a:cubicBezTo>
                    <a:pt x="1207" y="67"/>
                    <a:pt x="1207" y="70"/>
                    <a:pt x="1207" y="73"/>
                  </a:cubicBezTo>
                  <a:cubicBezTo>
                    <a:pt x="1207" y="73"/>
                    <a:pt x="1207" y="73"/>
                    <a:pt x="1207" y="74"/>
                  </a:cubicBezTo>
                  <a:cubicBezTo>
                    <a:pt x="1208" y="74"/>
                    <a:pt x="1207" y="75"/>
                    <a:pt x="1207" y="76"/>
                  </a:cubicBezTo>
                  <a:cubicBezTo>
                    <a:pt x="1208" y="76"/>
                    <a:pt x="1208" y="76"/>
                    <a:pt x="1208" y="76"/>
                  </a:cubicBezTo>
                  <a:cubicBezTo>
                    <a:pt x="1208" y="77"/>
                    <a:pt x="1207" y="78"/>
                    <a:pt x="1208" y="78"/>
                  </a:cubicBezTo>
                  <a:cubicBezTo>
                    <a:pt x="1208" y="78"/>
                    <a:pt x="1208" y="78"/>
                    <a:pt x="1208" y="78"/>
                  </a:cubicBezTo>
                  <a:cubicBezTo>
                    <a:pt x="1208" y="79"/>
                    <a:pt x="1208" y="79"/>
                    <a:pt x="1208" y="80"/>
                  </a:cubicBezTo>
                  <a:cubicBezTo>
                    <a:pt x="1208" y="80"/>
                    <a:pt x="1208" y="80"/>
                    <a:pt x="1208" y="80"/>
                  </a:cubicBezTo>
                  <a:cubicBezTo>
                    <a:pt x="1208" y="80"/>
                    <a:pt x="1208" y="80"/>
                    <a:pt x="1208" y="80"/>
                  </a:cubicBezTo>
                  <a:cubicBezTo>
                    <a:pt x="1208" y="80"/>
                    <a:pt x="1208" y="81"/>
                    <a:pt x="1209" y="81"/>
                  </a:cubicBezTo>
                  <a:cubicBezTo>
                    <a:pt x="1209" y="81"/>
                    <a:pt x="1209" y="81"/>
                    <a:pt x="1209" y="81"/>
                  </a:cubicBezTo>
                  <a:cubicBezTo>
                    <a:pt x="1209" y="82"/>
                    <a:pt x="1209" y="82"/>
                    <a:pt x="1209" y="82"/>
                  </a:cubicBezTo>
                  <a:cubicBezTo>
                    <a:pt x="1209" y="82"/>
                    <a:pt x="1209" y="82"/>
                    <a:pt x="1209" y="82"/>
                  </a:cubicBezTo>
                  <a:cubicBezTo>
                    <a:pt x="1209" y="82"/>
                    <a:pt x="1209" y="83"/>
                    <a:pt x="1209" y="83"/>
                  </a:cubicBezTo>
                  <a:cubicBezTo>
                    <a:pt x="1209" y="83"/>
                    <a:pt x="1209" y="83"/>
                    <a:pt x="1209" y="84"/>
                  </a:cubicBezTo>
                  <a:cubicBezTo>
                    <a:pt x="1209" y="84"/>
                    <a:pt x="1209" y="84"/>
                    <a:pt x="1209" y="84"/>
                  </a:cubicBezTo>
                  <a:cubicBezTo>
                    <a:pt x="1209" y="84"/>
                    <a:pt x="1209" y="84"/>
                    <a:pt x="1210" y="84"/>
                  </a:cubicBezTo>
                  <a:cubicBezTo>
                    <a:pt x="1210" y="85"/>
                    <a:pt x="1210" y="85"/>
                    <a:pt x="1210" y="85"/>
                  </a:cubicBezTo>
                  <a:cubicBezTo>
                    <a:pt x="1210" y="85"/>
                    <a:pt x="1210" y="85"/>
                    <a:pt x="1210" y="85"/>
                  </a:cubicBezTo>
                  <a:cubicBezTo>
                    <a:pt x="1210" y="85"/>
                    <a:pt x="1210" y="85"/>
                    <a:pt x="1210" y="85"/>
                  </a:cubicBezTo>
                  <a:cubicBezTo>
                    <a:pt x="1210" y="86"/>
                    <a:pt x="1210" y="86"/>
                    <a:pt x="1210" y="86"/>
                  </a:cubicBezTo>
                  <a:cubicBezTo>
                    <a:pt x="1210" y="86"/>
                    <a:pt x="1210" y="86"/>
                    <a:pt x="1210" y="86"/>
                  </a:cubicBezTo>
                  <a:cubicBezTo>
                    <a:pt x="1210" y="86"/>
                    <a:pt x="1210" y="86"/>
                    <a:pt x="1210" y="86"/>
                  </a:cubicBezTo>
                  <a:cubicBezTo>
                    <a:pt x="1210" y="87"/>
                    <a:pt x="1210" y="87"/>
                    <a:pt x="1211" y="87"/>
                  </a:cubicBezTo>
                  <a:cubicBezTo>
                    <a:pt x="1211" y="87"/>
                    <a:pt x="1211" y="87"/>
                    <a:pt x="1211" y="87"/>
                  </a:cubicBezTo>
                  <a:cubicBezTo>
                    <a:pt x="1211" y="87"/>
                    <a:pt x="1211" y="88"/>
                    <a:pt x="1211" y="88"/>
                  </a:cubicBezTo>
                  <a:cubicBezTo>
                    <a:pt x="1211" y="88"/>
                    <a:pt x="1211" y="88"/>
                    <a:pt x="1211" y="88"/>
                  </a:cubicBezTo>
                  <a:cubicBezTo>
                    <a:pt x="1211" y="88"/>
                    <a:pt x="1211" y="88"/>
                    <a:pt x="1211" y="89"/>
                  </a:cubicBezTo>
                  <a:cubicBezTo>
                    <a:pt x="1211" y="89"/>
                    <a:pt x="1211" y="89"/>
                    <a:pt x="1211" y="89"/>
                  </a:cubicBezTo>
                  <a:cubicBezTo>
                    <a:pt x="1212" y="89"/>
                    <a:pt x="1211" y="89"/>
                    <a:pt x="1212" y="89"/>
                  </a:cubicBezTo>
                  <a:cubicBezTo>
                    <a:pt x="1212" y="89"/>
                    <a:pt x="1212" y="89"/>
                    <a:pt x="1212" y="89"/>
                  </a:cubicBezTo>
                  <a:cubicBezTo>
                    <a:pt x="1212" y="89"/>
                    <a:pt x="1212" y="90"/>
                    <a:pt x="1212" y="90"/>
                  </a:cubicBezTo>
                  <a:cubicBezTo>
                    <a:pt x="1212" y="90"/>
                    <a:pt x="1212" y="90"/>
                    <a:pt x="1212" y="90"/>
                  </a:cubicBezTo>
                  <a:cubicBezTo>
                    <a:pt x="1212" y="90"/>
                    <a:pt x="1212" y="90"/>
                    <a:pt x="1212" y="90"/>
                  </a:cubicBezTo>
                  <a:cubicBezTo>
                    <a:pt x="1212" y="90"/>
                    <a:pt x="1212" y="90"/>
                    <a:pt x="1212" y="90"/>
                  </a:cubicBezTo>
                  <a:cubicBezTo>
                    <a:pt x="1213" y="91"/>
                    <a:pt x="1213" y="91"/>
                    <a:pt x="1213" y="91"/>
                  </a:cubicBezTo>
                  <a:cubicBezTo>
                    <a:pt x="1213" y="91"/>
                    <a:pt x="1213" y="91"/>
                    <a:pt x="1213" y="91"/>
                  </a:cubicBezTo>
                  <a:cubicBezTo>
                    <a:pt x="1213" y="92"/>
                    <a:pt x="1213" y="92"/>
                    <a:pt x="1213" y="92"/>
                  </a:cubicBezTo>
                  <a:cubicBezTo>
                    <a:pt x="1213" y="92"/>
                    <a:pt x="1213" y="92"/>
                    <a:pt x="1213" y="92"/>
                  </a:cubicBezTo>
                  <a:cubicBezTo>
                    <a:pt x="1214" y="92"/>
                    <a:pt x="1214" y="92"/>
                    <a:pt x="1214" y="92"/>
                  </a:cubicBezTo>
                  <a:cubicBezTo>
                    <a:pt x="1214" y="92"/>
                    <a:pt x="1214" y="92"/>
                    <a:pt x="1214" y="92"/>
                  </a:cubicBezTo>
                  <a:cubicBezTo>
                    <a:pt x="1214" y="93"/>
                    <a:pt x="1214" y="93"/>
                    <a:pt x="1214" y="93"/>
                  </a:cubicBezTo>
                  <a:cubicBezTo>
                    <a:pt x="1214" y="93"/>
                    <a:pt x="1214" y="93"/>
                    <a:pt x="1214" y="93"/>
                  </a:cubicBezTo>
                  <a:cubicBezTo>
                    <a:pt x="1214" y="93"/>
                    <a:pt x="1214" y="93"/>
                    <a:pt x="1214" y="93"/>
                  </a:cubicBezTo>
                  <a:cubicBezTo>
                    <a:pt x="1214" y="93"/>
                    <a:pt x="1214" y="93"/>
                    <a:pt x="1214" y="93"/>
                  </a:cubicBezTo>
                  <a:cubicBezTo>
                    <a:pt x="1215" y="93"/>
                    <a:pt x="1215" y="94"/>
                    <a:pt x="1215" y="94"/>
                  </a:cubicBezTo>
                  <a:cubicBezTo>
                    <a:pt x="1215" y="94"/>
                    <a:pt x="1215" y="94"/>
                    <a:pt x="1215" y="94"/>
                  </a:cubicBezTo>
                  <a:cubicBezTo>
                    <a:pt x="1215" y="94"/>
                    <a:pt x="1215" y="94"/>
                    <a:pt x="1216" y="94"/>
                  </a:cubicBezTo>
                  <a:cubicBezTo>
                    <a:pt x="1216" y="94"/>
                    <a:pt x="1216" y="94"/>
                    <a:pt x="1216" y="94"/>
                  </a:cubicBezTo>
                  <a:cubicBezTo>
                    <a:pt x="1216" y="95"/>
                    <a:pt x="1216" y="95"/>
                    <a:pt x="1216" y="95"/>
                  </a:cubicBezTo>
                  <a:cubicBezTo>
                    <a:pt x="1216" y="95"/>
                    <a:pt x="1216" y="95"/>
                    <a:pt x="1216" y="95"/>
                  </a:cubicBezTo>
                  <a:cubicBezTo>
                    <a:pt x="1216" y="95"/>
                    <a:pt x="1216" y="95"/>
                    <a:pt x="1216" y="95"/>
                  </a:cubicBezTo>
                  <a:cubicBezTo>
                    <a:pt x="1216" y="95"/>
                    <a:pt x="1216" y="95"/>
                    <a:pt x="1216" y="95"/>
                  </a:cubicBezTo>
                  <a:cubicBezTo>
                    <a:pt x="1216" y="95"/>
                    <a:pt x="1216" y="95"/>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6"/>
                    <a:pt x="1217" y="96"/>
                  </a:cubicBezTo>
                  <a:cubicBezTo>
                    <a:pt x="1217" y="96"/>
                    <a:pt x="1217" y="97"/>
                    <a:pt x="1218" y="97"/>
                  </a:cubicBezTo>
                  <a:cubicBezTo>
                    <a:pt x="1218" y="97"/>
                    <a:pt x="1218" y="97"/>
                    <a:pt x="1218" y="97"/>
                  </a:cubicBezTo>
                  <a:cubicBezTo>
                    <a:pt x="1218" y="97"/>
                    <a:pt x="1218" y="97"/>
                    <a:pt x="1219" y="97"/>
                  </a:cubicBezTo>
                  <a:cubicBezTo>
                    <a:pt x="1219" y="97"/>
                    <a:pt x="1219" y="97"/>
                    <a:pt x="1219" y="97"/>
                  </a:cubicBezTo>
                  <a:cubicBezTo>
                    <a:pt x="1219" y="97"/>
                    <a:pt x="1219" y="98"/>
                    <a:pt x="1219" y="98"/>
                  </a:cubicBezTo>
                  <a:cubicBezTo>
                    <a:pt x="1219" y="98"/>
                    <a:pt x="1219" y="98"/>
                    <a:pt x="1219" y="98"/>
                  </a:cubicBezTo>
                  <a:cubicBezTo>
                    <a:pt x="1219" y="98"/>
                    <a:pt x="1219" y="98"/>
                    <a:pt x="1219" y="98"/>
                  </a:cubicBezTo>
                  <a:cubicBezTo>
                    <a:pt x="1219" y="98"/>
                    <a:pt x="1219" y="98"/>
                    <a:pt x="1219" y="98"/>
                  </a:cubicBezTo>
                  <a:cubicBezTo>
                    <a:pt x="1219" y="98"/>
                    <a:pt x="1220" y="98"/>
                    <a:pt x="1220" y="98"/>
                  </a:cubicBezTo>
                  <a:cubicBezTo>
                    <a:pt x="1220" y="98"/>
                    <a:pt x="1220" y="98"/>
                    <a:pt x="1220" y="98"/>
                  </a:cubicBezTo>
                  <a:cubicBezTo>
                    <a:pt x="1220" y="99"/>
                    <a:pt x="1220" y="99"/>
                    <a:pt x="1220" y="99"/>
                  </a:cubicBezTo>
                  <a:cubicBezTo>
                    <a:pt x="1220" y="99"/>
                    <a:pt x="1220" y="99"/>
                    <a:pt x="1220" y="99"/>
                  </a:cubicBezTo>
                  <a:cubicBezTo>
                    <a:pt x="1221" y="99"/>
                    <a:pt x="1221" y="99"/>
                    <a:pt x="1221" y="99"/>
                  </a:cubicBezTo>
                  <a:cubicBezTo>
                    <a:pt x="1221" y="99"/>
                    <a:pt x="1221" y="99"/>
                    <a:pt x="1221" y="99"/>
                  </a:cubicBezTo>
                  <a:cubicBezTo>
                    <a:pt x="1221" y="99"/>
                    <a:pt x="1222" y="99"/>
                    <a:pt x="1222" y="99"/>
                  </a:cubicBezTo>
                  <a:cubicBezTo>
                    <a:pt x="1222" y="99"/>
                    <a:pt x="1222" y="99"/>
                    <a:pt x="1222" y="99"/>
                  </a:cubicBezTo>
                  <a:cubicBezTo>
                    <a:pt x="1222" y="100"/>
                    <a:pt x="1222" y="100"/>
                    <a:pt x="1222" y="100"/>
                  </a:cubicBezTo>
                  <a:cubicBezTo>
                    <a:pt x="1222" y="100"/>
                    <a:pt x="1222" y="100"/>
                    <a:pt x="1222" y="100"/>
                  </a:cubicBezTo>
                  <a:cubicBezTo>
                    <a:pt x="1222" y="100"/>
                    <a:pt x="1222" y="100"/>
                    <a:pt x="1222" y="100"/>
                  </a:cubicBezTo>
                  <a:cubicBezTo>
                    <a:pt x="1223" y="100"/>
                    <a:pt x="1223" y="100"/>
                    <a:pt x="1223" y="100"/>
                  </a:cubicBezTo>
                  <a:cubicBezTo>
                    <a:pt x="1223" y="100"/>
                    <a:pt x="1223" y="100"/>
                    <a:pt x="1223" y="100"/>
                  </a:cubicBezTo>
                  <a:cubicBezTo>
                    <a:pt x="1223" y="100"/>
                    <a:pt x="1223" y="100"/>
                    <a:pt x="1224" y="100"/>
                  </a:cubicBezTo>
                  <a:cubicBezTo>
                    <a:pt x="1224" y="100"/>
                    <a:pt x="1224" y="100"/>
                    <a:pt x="1224" y="100"/>
                  </a:cubicBezTo>
                  <a:cubicBezTo>
                    <a:pt x="1224" y="101"/>
                    <a:pt x="1224" y="101"/>
                    <a:pt x="1224" y="101"/>
                  </a:cubicBezTo>
                  <a:cubicBezTo>
                    <a:pt x="1224" y="101"/>
                    <a:pt x="1224" y="101"/>
                    <a:pt x="1225" y="101"/>
                  </a:cubicBezTo>
                  <a:cubicBezTo>
                    <a:pt x="1225" y="101"/>
                    <a:pt x="1225" y="101"/>
                    <a:pt x="1225" y="101"/>
                  </a:cubicBezTo>
                  <a:cubicBezTo>
                    <a:pt x="1225" y="101"/>
                    <a:pt x="1225" y="101"/>
                    <a:pt x="1225" y="101"/>
                  </a:cubicBezTo>
                  <a:cubicBezTo>
                    <a:pt x="1225" y="101"/>
                    <a:pt x="1225" y="101"/>
                    <a:pt x="1225" y="101"/>
                  </a:cubicBezTo>
                  <a:cubicBezTo>
                    <a:pt x="1226" y="102"/>
                    <a:pt x="1226" y="101"/>
                    <a:pt x="1226" y="101"/>
                  </a:cubicBezTo>
                  <a:cubicBezTo>
                    <a:pt x="1226" y="101"/>
                    <a:pt x="1226" y="101"/>
                    <a:pt x="1226" y="101"/>
                  </a:cubicBezTo>
                  <a:cubicBezTo>
                    <a:pt x="1227" y="102"/>
                    <a:pt x="1227" y="102"/>
                    <a:pt x="1227" y="102"/>
                  </a:cubicBezTo>
                  <a:cubicBezTo>
                    <a:pt x="1227" y="102"/>
                    <a:pt x="1227" y="102"/>
                    <a:pt x="1227" y="102"/>
                  </a:cubicBezTo>
                  <a:cubicBezTo>
                    <a:pt x="1228" y="102"/>
                    <a:pt x="1228" y="102"/>
                    <a:pt x="1229" y="102"/>
                  </a:cubicBezTo>
                  <a:cubicBezTo>
                    <a:pt x="1229" y="102"/>
                    <a:pt x="1229" y="102"/>
                    <a:pt x="1229" y="102"/>
                  </a:cubicBezTo>
                  <a:cubicBezTo>
                    <a:pt x="1229" y="102"/>
                    <a:pt x="1229" y="102"/>
                    <a:pt x="1229" y="102"/>
                  </a:cubicBezTo>
                  <a:cubicBezTo>
                    <a:pt x="1229" y="103"/>
                    <a:pt x="1230" y="102"/>
                    <a:pt x="1230" y="103"/>
                  </a:cubicBezTo>
                  <a:cubicBezTo>
                    <a:pt x="1230" y="102"/>
                    <a:pt x="1230" y="102"/>
                    <a:pt x="1230" y="102"/>
                  </a:cubicBezTo>
                  <a:cubicBezTo>
                    <a:pt x="1230" y="103"/>
                    <a:pt x="1230" y="103"/>
                    <a:pt x="1230" y="103"/>
                  </a:cubicBezTo>
                  <a:cubicBezTo>
                    <a:pt x="1231" y="103"/>
                    <a:pt x="1232" y="103"/>
                    <a:pt x="1232" y="103"/>
                  </a:cubicBezTo>
                  <a:cubicBezTo>
                    <a:pt x="1232" y="103"/>
                    <a:pt x="1232" y="103"/>
                    <a:pt x="1233" y="103"/>
                  </a:cubicBezTo>
                  <a:cubicBezTo>
                    <a:pt x="1234" y="103"/>
                    <a:pt x="1235" y="103"/>
                    <a:pt x="1236" y="103"/>
                  </a:cubicBezTo>
                  <a:cubicBezTo>
                    <a:pt x="1237" y="103"/>
                    <a:pt x="1238" y="103"/>
                    <a:pt x="1239" y="103"/>
                  </a:cubicBezTo>
                  <a:cubicBezTo>
                    <a:pt x="1241" y="103"/>
                    <a:pt x="1242" y="103"/>
                    <a:pt x="1244" y="103"/>
                  </a:cubicBezTo>
                  <a:cubicBezTo>
                    <a:pt x="1244" y="103"/>
                    <a:pt x="1244" y="103"/>
                    <a:pt x="1244" y="103"/>
                  </a:cubicBezTo>
                  <a:cubicBezTo>
                    <a:pt x="1245" y="103"/>
                    <a:pt x="1246" y="103"/>
                    <a:pt x="1246" y="103"/>
                  </a:cubicBezTo>
                  <a:cubicBezTo>
                    <a:pt x="1246" y="103"/>
                    <a:pt x="1247" y="103"/>
                    <a:pt x="1247" y="103"/>
                  </a:cubicBezTo>
                  <a:cubicBezTo>
                    <a:pt x="1247" y="102"/>
                    <a:pt x="1248" y="103"/>
                    <a:pt x="1248" y="102"/>
                  </a:cubicBezTo>
                  <a:cubicBezTo>
                    <a:pt x="1248" y="102"/>
                    <a:pt x="1248" y="102"/>
                    <a:pt x="1248" y="102"/>
                  </a:cubicBezTo>
                  <a:cubicBezTo>
                    <a:pt x="1248" y="102"/>
                    <a:pt x="1248" y="102"/>
                    <a:pt x="1248" y="102"/>
                  </a:cubicBezTo>
                  <a:cubicBezTo>
                    <a:pt x="1249" y="102"/>
                    <a:pt x="1249" y="102"/>
                    <a:pt x="1250" y="102"/>
                  </a:cubicBezTo>
                  <a:cubicBezTo>
                    <a:pt x="1250" y="102"/>
                    <a:pt x="1250" y="102"/>
                    <a:pt x="1250" y="102"/>
                  </a:cubicBezTo>
                  <a:cubicBezTo>
                    <a:pt x="1250" y="102"/>
                    <a:pt x="1250" y="102"/>
                    <a:pt x="1250" y="102"/>
                  </a:cubicBezTo>
                  <a:cubicBezTo>
                    <a:pt x="1250" y="102"/>
                    <a:pt x="1251" y="102"/>
                    <a:pt x="1251" y="102"/>
                  </a:cubicBezTo>
                  <a:cubicBezTo>
                    <a:pt x="1251" y="101"/>
                    <a:pt x="1251" y="101"/>
                    <a:pt x="1251" y="101"/>
                  </a:cubicBezTo>
                  <a:cubicBezTo>
                    <a:pt x="1251" y="101"/>
                    <a:pt x="1251" y="101"/>
                    <a:pt x="1251" y="101"/>
                  </a:cubicBezTo>
                  <a:cubicBezTo>
                    <a:pt x="1252" y="101"/>
                    <a:pt x="1252" y="101"/>
                    <a:pt x="1252" y="101"/>
                  </a:cubicBezTo>
                  <a:cubicBezTo>
                    <a:pt x="1252" y="101"/>
                    <a:pt x="1252" y="101"/>
                    <a:pt x="1252" y="101"/>
                  </a:cubicBezTo>
                  <a:cubicBezTo>
                    <a:pt x="1252" y="101"/>
                    <a:pt x="1252" y="101"/>
                    <a:pt x="1252" y="101"/>
                  </a:cubicBezTo>
                  <a:cubicBezTo>
                    <a:pt x="1253" y="101"/>
                    <a:pt x="1253" y="101"/>
                    <a:pt x="1253" y="101"/>
                  </a:cubicBezTo>
                  <a:cubicBezTo>
                    <a:pt x="1253" y="101"/>
                    <a:pt x="1253" y="101"/>
                    <a:pt x="1253" y="101"/>
                  </a:cubicBezTo>
                  <a:cubicBezTo>
                    <a:pt x="1253" y="101"/>
                    <a:pt x="1253" y="101"/>
                    <a:pt x="1253" y="101"/>
                  </a:cubicBezTo>
                  <a:cubicBezTo>
                    <a:pt x="1254" y="101"/>
                    <a:pt x="1254" y="101"/>
                    <a:pt x="1254" y="100"/>
                  </a:cubicBezTo>
                  <a:cubicBezTo>
                    <a:pt x="1254" y="100"/>
                    <a:pt x="1254" y="100"/>
                    <a:pt x="1254" y="100"/>
                  </a:cubicBezTo>
                  <a:cubicBezTo>
                    <a:pt x="1254" y="100"/>
                    <a:pt x="1255" y="100"/>
                    <a:pt x="1255" y="100"/>
                  </a:cubicBezTo>
                  <a:cubicBezTo>
                    <a:pt x="1255" y="100"/>
                    <a:pt x="1255" y="100"/>
                    <a:pt x="1255" y="100"/>
                  </a:cubicBezTo>
                  <a:cubicBezTo>
                    <a:pt x="1255" y="100"/>
                    <a:pt x="1256" y="100"/>
                    <a:pt x="1256" y="100"/>
                  </a:cubicBezTo>
                  <a:cubicBezTo>
                    <a:pt x="1256" y="100"/>
                    <a:pt x="1256" y="100"/>
                    <a:pt x="1256" y="100"/>
                  </a:cubicBezTo>
                  <a:cubicBezTo>
                    <a:pt x="1256" y="100"/>
                    <a:pt x="1256" y="100"/>
                    <a:pt x="1257" y="99"/>
                  </a:cubicBezTo>
                  <a:cubicBezTo>
                    <a:pt x="1257" y="99"/>
                    <a:pt x="1257" y="99"/>
                    <a:pt x="1257" y="99"/>
                  </a:cubicBezTo>
                  <a:cubicBezTo>
                    <a:pt x="1257" y="99"/>
                    <a:pt x="1257" y="99"/>
                    <a:pt x="1257" y="99"/>
                  </a:cubicBezTo>
                  <a:cubicBezTo>
                    <a:pt x="1257" y="99"/>
                    <a:pt x="1257" y="99"/>
                    <a:pt x="1257" y="99"/>
                  </a:cubicBezTo>
                  <a:cubicBezTo>
                    <a:pt x="1257" y="99"/>
                    <a:pt x="1258" y="99"/>
                    <a:pt x="1258" y="99"/>
                  </a:cubicBezTo>
                  <a:cubicBezTo>
                    <a:pt x="1258" y="99"/>
                    <a:pt x="1258" y="99"/>
                    <a:pt x="1258" y="99"/>
                  </a:cubicBezTo>
                  <a:cubicBezTo>
                    <a:pt x="1258" y="99"/>
                    <a:pt x="1259" y="99"/>
                    <a:pt x="1259" y="98"/>
                  </a:cubicBezTo>
                  <a:cubicBezTo>
                    <a:pt x="1259" y="98"/>
                    <a:pt x="1259" y="98"/>
                    <a:pt x="1259" y="98"/>
                  </a:cubicBezTo>
                  <a:cubicBezTo>
                    <a:pt x="1259" y="98"/>
                    <a:pt x="1259" y="98"/>
                    <a:pt x="1259" y="98"/>
                  </a:cubicBezTo>
                  <a:cubicBezTo>
                    <a:pt x="1259" y="98"/>
                    <a:pt x="1259" y="98"/>
                    <a:pt x="1259" y="98"/>
                  </a:cubicBezTo>
                  <a:cubicBezTo>
                    <a:pt x="1259" y="98"/>
                    <a:pt x="1260" y="98"/>
                    <a:pt x="1260" y="98"/>
                  </a:cubicBezTo>
                  <a:cubicBezTo>
                    <a:pt x="1260" y="98"/>
                    <a:pt x="1260" y="98"/>
                    <a:pt x="1260" y="98"/>
                  </a:cubicBezTo>
                  <a:cubicBezTo>
                    <a:pt x="1260" y="98"/>
                    <a:pt x="1260" y="97"/>
                    <a:pt x="1260" y="97"/>
                  </a:cubicBezTo>
                  <a:cubicBezTo>
                    <a:pt x="1260" y="97"/>
                    <a:pt x="1260" y="97"/>
                    <a:pt x="1260" y="97"/>
                  </a:cubicBezTo>
                  <a:cubicBezTo>
                    <a:pt x="1260" y="97"/>
                    <a:pt x="1261" y="97"/>
                    <a:pt x="1261" y="97"/>
                  </a:cubicBezTo>
                  <a:cubicBezTo>
                    <a:pt x="1261" y="97"/>
                    <a:pt x="1261" y="97"/>
                    <a:pt x="1261" y="97"/>
                  </a:cubicBezTo>
                  <a:cubicBezTo>
                    <a:pt x="1261" y="94"/>
                    <a:pt x="1261" y="91"/>
                    <a:pt x="1261" y="87"/>
                  </a:cubicBezTo>
                  <a:cubicBezTo>
                    <a:pt x="1261" y="86"/>
                    <a:pt x="1260" y="87"/>
                    <a:pt x="1260" y="87"/>
                  </a:cubicBezTo>
                  <a:cubicBezTo>
                    <a:pt x="1260" y="87"/>
                    <a:pt x="1260" y="87"/>
                    <a:pt x="1260" y="87"/>
                  </a:cubicBezTo>
                  <a:cubicBezTo>
                    <a:pt x="1260" y="87"/>
                    <a:pt x="1260" y="87"/>
                    <a:pt x="1259" y="88"/>
                  </a:cubicBezTo>
                  <a:cubicBezTo>
                    <a:pt x="1259" y="88"/>
                    <a:pt x="1259" y="88"/>
                    <a:pt x="1259" y="88"/>
                  </a:cubicBezTo>
                  <a:cubicBezTo>
                    <a:pt x="1259" y="88"/>
                    <a:pt x="1259" y="88"/>
                    <a:pt x="1259" y="88"/>
                  </a:cubicBezTo>
                  <a:cubicBezTo>
                    <a:pt x="1259" y="88"/>
                    <a:pt x="1259" y="88"/>
                    <a:pt x="1259" y="88"/>
                  </a:cubicBezTo>
                  <a:cubicBezTo>
                    <a:pt x="1259" y="88"/>
                    <a:pt x="1258" y="88"/>
                    <a:pt x="1258" y="88"/>
                  </a:cubicBezTo>
                  <a:cubicBezTo>
                    <a:pt x="1258" y="88"/>
                    <a:pt x="1258" y="88"/>
                    <a:pt x="1258" y="88"/>
                  </a:cubicBezTo>
                  <a:cubicBezTo>
                    <a:pt x="1258" y="88"/>
                    <a:pt x="1258" y="88"/>
                    <a:pt x="1258" y="89"/>
                  </a:cubicBezTo>
                  <a:cubicBezTo>
                    <a:pt x="1258" y="89"/>
                    <a:pt x="1258" y="89"/>
                    <a:pt x="1258" y="89"/>
                  </a:cubicBezTo>
                  <a:cubicBezTo>
                    <a:pt x="1258" y="89"/>
                    <a:pt x="1257" y="89"/>
                    <a:pt x="1257" y="89"/>
                  </a:cubicBezTo>
                  <a:cubicBezTo>
                    <a:pt x="1257" y="89"/>
                    <a:pt x="1257" y="89"/>
                    <a:pt x="1257" y="89"/>
                  </a:cubicBezTo>
                  <a:cubicBezTo>
                    <a:pt x="1257" y="89"/>
                    <a:pt x="1257" y="89"/>
                    <a:pt x="1257" y="89"/>
                  </a:cubicBezTo>
                  <a:cubicBezTo>
                    <a:pt x="1257" y="89"/>
                    <a:pt x="1257" y="89"/>
                    <a:pt x="1257" y="89"/>
                  </a:cubicBezTo>
                  <a:cubicBezTo>
                    <a:pt x="1256" y="90"/>
                    <a:pt x="1256" y="89"/>
                    <a:pt x="1256" y="90"/>
                  </a:cubicBezTo>
                  <a:cubicBezTo>
                    <a:pt x="1256" y="90"/>
                    <a:pt x="1256" y="90"/>
                    <a:pt x="1256" y="90"/>
                  </a:cubicBezTo>
                  <a:cubicBezTo>
                    <a:pt x="1256" y="90"/>
                    <a:pt x="1255" y="90"/>
                    <a:pt x="1255" y="90"/>
                  </a:cubicBezTo>
                  <a:cubicBezTo>
                    <a:pt x="1255" y="90"/>
                    <a:pt x="1255" y="90"/>
                    <a:pt x="1255" y="90"/>
                  </a:cubicBezTo>
                  <a:cubicBezTo>
                    <a:pt x="1255" y="90"/>
                    <a:pt x="1255" y="90"/>
                    <a:pt x="1255" y="90"/>
                  </a:cubicBezTo>
                  <a:cubicBezTo>
                    <a:pt x="1255" y="90"/>
                    <a:pt x="1255" y="90"/>
                    <a:pt x="1255" y="90"/>
                  </a:cubicBezTo>
                  <a:cubicBezTo>
                    <a:pt x="1255" y="90"/>
                    <a:pt x="1255" y="90"/>
                    <a:pt x="1255" y="90"/>
                  </a:cubicBezTo>
                  <a:cubicBezTo>
                    <a:pt x="1254" y="91"/>
                    <a:pt x="1254" y="90"/>
                    <a:pt x="1254" y="91"/>
                  </a:cubicBezTo>
                  <a:cubicBezTo>
                    <a:pt x="1254" y="91"/>
                    <a:pt x="1254" y="91"/>
                    <a:pt x="1254" y="91"/>
                  </a:cubicBezTo>
                  <a:cubicBezTo>
                    <a:pt x="1254" y="91"/>
                    <a:pt x="1253" y="91"/>
                    <a:pt x="1253" y="91"/>
                  </a:cubicBezTo>
                  <a:cubicBezTo>
                    <a:pt x="1253" y="91"/>
                    <a:pt x="1253" y="91"/>
                    <a:pt x="1253" y="91"/>
                  </a:cubicBezTo>
                  <a:cubicBezTo>
                    <a:pt x="1253" y="91"/>
                    <a:pt x="1253" y="91"/>
                    <a:pt x="1252" y="91"/>
                  </a:cubicBezTo>
                  <a:cubicBezTo>
                    <a:pt x="1252" y="91"/>
                    <a:pt x="1252" y="91"/>
                    <a:pt x="1252" y="91"/>
                  </a:cubicBezTo>
                  <a:cubicBezTo>
                    <a:pt x="1252" y="92"/>
                    <a:pt x="1252" y="91"/>
                    <a:pt x="1251" y="92"/>
                  </a:cubicBezTo>
                  <a:cubicBezTo>
                    <a:pt x="1251" y="92"/>
                    <a:pt x="1251" y="92"/>
                    <a:pt x="1251" y="92"/>
                  </a:cubicBezTo>
                  <a:cubicBezTo>
                    <a:pt x="1251" y="92"/>
                    <a:pt x="1251" y="92"/>
                    <a:pt x="1251" y="92"/>
                  </a:cubicBezTo>
                  <a:cubicBezTo>
                    <a:pt x="1251" y="92"/>
                    <a:pt x="1251" y="92"/>
                    <a:pt x="1250" y="92"/>
                  </a:cubicBezTo>
                  <a:cubicBezTo>
                    <a:pt x="1250" y="92"/>
                    <a:pt x="1250" y="92"/>
                    <a:pt x="1250" y="92"/>
                  </a:cubicBezTo>
                  <a:cubicBezTo>
                    <a:pt x="1250" y="93"/>
                    <a:pt x="1249" y="93"/>
                    <a:pt x="1249" y="92"/>
                  </a:cubicBezTo>
                  <a:cubicBezTo>
                    <a:pt x="1249" y="93"/>
                    <a:pt x="1249" y="93"/>
                    <a:pt x="1248" y="93"/>
                  </a:cubicBezTo>
                  <a:cubicBezTo>
                    <a:pt x="1248" y="93"/>
                    <a:pt x="1248" y="93"/>
                    <a:pt x="1248" y="93"/>
                  </a:cubicBezTo>
                  <a:cubicBezTo>
                    <a:pt x="1248" y="93"/>
                    <a:pt x="1247" y="93"/>
                    <a:pt x="1247" y="93"/>
                  </a:cubicBezTo>
                  <a:cubicBezTo>
                    <a:pt x="1247" y="93"/>
                    <a:pt x="1247" y="93"/>
                    <a:pt x="1246" y="93"/>
                  </a:cubicBezTo>
                  <a:cubicBezTo>
                    <a:pt x="1246" y="93"/>
                    <a:pt x="1245" y="93"/>
                    <a:pt x="1245" y="93"/>
                  </a:cubicBezTo>
                  <a:cubicBezTo>
                    <a:pt x="1245" y="94"/>
                    <a:pt x="1244" y="94"/>
                    <a:pt x="1244" y="94"/>
                  </a:cubicBezTo>
                  <a:cubicBezTo>
                    <a:pt x="1242" y="94"/>
                    <a:pt x="1239" y="94"/>
                    <a:pt x="1236" y="94"/>
                  </a:cubicBezTo>
                  <a:cubicBezTo>
                    <a:pt x="1236" y="94"/>
                    <a:pt x="1236" y="94"/>
                    <a:pt x="1236" y="93"/>
                  </a:cubicBezTo>
                  <a:cubicBezTo>
                    <a:pt x="1235" y="93"/>
                    <a:pt x="1235" y="93"/>
                    <a:pt x="1234" y="93"/>
                  </a:cubicBezTo>
                  <a:cubicBezTo>
                    <a:pt x="1234" y="93"/>
                    <a:pt x="1234" y="93"/>
                    <a:pt x="1234" y="93"/>
                  </a:cubicBezTo>
                  <a:cubicBezTo>
                    <a:pt x="1234" y="93"/>
                    <a:pt x="1233" y="93"/>
                    <a:pt x="1233" y="93"/>
                  </a:cubicBezTo>
                  <a:cubicBezTo>
                    <a:pt x="1233" y="93"/>
                    <a:pt x="1233" y="93"/>
                    <a:pt x="1233" y="93"/>
                  </a:cubicBezTo>
                  <a:cubicBezTo>
                    <a:pt x="1232" y="93"/>
                    <a:pt x="1232" y="93"/>
                    <a:pt x="1232" y="93"/>
                  </a:cubicBezTo>
                  <a:cubicBezTo>
                    <a:pt x="1232" y="93"/>
                    <a:pt x="1232" y="93"/>
                    <a:pt x="1232" y="93"/>
                  </a:cubicBezTo>
                  <a:cubicBezTo>
                    <a:pt x="1232" y="92"/>
                    <a:pt x="1232" y="92"/>
                    <a:pt x="1232" y="92"/>
                  </a:cubicBezTo>
                  <a:cubicBezTo>
                    <a:pt x="1231" y="92"/>
                    <a:pt x="1231" y="92"/>
                    <a:pt x="1231" y="92"/>
                  </a:cubicBezTo>
                  <a:close/>
                  <a:moveTo>
                    <a:pt x="589" y="84"/>
                  </a:moveTo>
                  <a:cubicBezTo>
                    <a:pt x="589" y="84"/>
                    <a:pt x="589" y="84"/>
                    <a:pt x="589" y="84"/>
                  </a:cubicBezTo>
                  <a:cubicBezTo>
                    <a:pt x="589" y="84"/>
                    <a:pt x="589" y="83"/>
                    <a:pt x="589" y="83"/>
                  </a:cubicBezTo>
                  <a:cubicBezTo>
                    <a:pt x="589" y="83"/>
                    <a:pt x="589" y="83"/>
                    <a:pt x="589" y="82"/>
                  </a:cubicBezTo>
                  <a:cubicBezTo>
                    <a:pt x="589" y="82"/>
                    <a:pt x="589" y="81"/>
                    <a:pt x="589" y="80"/>
                  </a:cubicBezTo>
                  <a:cubicBezTo>
                    <a:pt x="589" y="79"/>
                    <a:pt x="589" y="77"/>
                    <a:pt x="589" y="76"/>
                  </a:cubicBezTo>
                  <a:cubicBezTo>
                    <a:pt x="589" y="75"/>
                    <a:pt x="589" y="74"/>
                    <a:pt x="589" y="73"/>
                  </a:cubicBezTo>
                  <a:cubicBezTo>
                    <a:pt x="589" y="73"/>
                    <a:pt x="589" y="73"/>
                    <a:pt x="589" y="73"/>
                  </a:cubicBezTo>
                  <a:cubicBezTo>
                    <a:pt x="589" y="73"/>
                    <a:pt x="589" y="73"/>
                    <a:pt x="589" y="73"/>
                  </a:cubicBezTo>
                  <a:cubicBezTo>
                    <a:pt x="589" y="73"/>
                    <a:pt x="589" y="72"/>
                    <a:pt x="589" y="72"/>
                  </a:cubicBezTo>
                  <a:cubicBezTo>
                    <a:pt x="589" y="72"/>
                    <a:pt x="588" y="72"/>
                    <a:pt x="589" y="72"/>
                  </a:cubicBezTo>
                  <a:cubicBezTo>
                    <a:pt x="588" y="71"/>
                    <a:pt x="589" y="71"/>
                    <a:pt x="588" y="71"/>
                  </a:cubicBezTo>
                  <a:cubicBezTo>
                    <a:pt x="588" y="71"/>
                    <a:pt x="588" y="71"/>
                    <a:pt x="588" y="71"/>
                  </a:cubicBezTo>
                  <a:cubicBezTo>
                    <a:pt x="588" y="70"/>
                    <a:pt x="588" y="70"/>
                    <a:pt x="588" y="70"/>
                  </a:cubicBezTo>
                  <a:cubicBezTo>
                    <a:pt x="588" y="70"/>
                    <a:pt x="588" y="70"/>
                    <a:pt x="588" y="70"/>
                  </a:cubicBezTo>
                  <a:cubicBezTo>
                    <a:pt x="588" y="69"/>
                    <a:pt x="588" y="69"/>
                    <a:pt x="588" y="69"/>
                  </a:cubicBezTo>
                  <a:cubicBezTo>
                    <a:pt x="588" y="69"/>
                    <a:pt x="588" y="69"/>
                    <a:pt x="588" y="69"/>
                  </a:cubicBezTo>
                  <a:cubicBezTo>
                    <a:pt x="587" y="69"/>
                    <a:pt x="587" y="68"/>
                    <a:pt x="587" y="68"/>
                  </a:cubicBezTo>
                  <a:cubicBezTo>
                    <a:pt x="587" y="68"/>
                    <a:pt x="587" y="68"/>
                    <a:pt x="587" y="68"/>
                  </a:cubicBezTo>
                  <a:cubicBezTo>
                    <a:pt x="587" y="68"/>
                    <a:pt x="587" y="68"/>
                    <a:pt x="587" y="68"/>
                  </a:cubicBezTo>
                  <a:cubicBezTo>
                    <a:pt x="587" y="68"/>
                    <a:pt x="587" y="68"/>
                    <a:pt x="587" y="67"/>
                  </a:cubicBezTo>
                  <a:cubicBezTo>
                    <a:pt x="587" y="67"/>
                    <a:pt x="587" y="67"/>
                    <a:pt x="587" y="67"/>
                  </a:cubicBezTo>
                  <a:cubicBezTo>
                    <a:pt x="587" y="67"/>
                    <a:pt x="587" y="67"/>
                    <a:pt x="587" y="67"/>
                  </a:cubicBezTo>
                  <a:cubicBezTo>
                    <a:pt x="587" y="67"/>
                    <a:pt x="587" y="67"/>
                    <a:pt x="587" y="67"/>
                  </a:cubicBezTo>
                  <a:cubicBezTo>
                    <a:pt x="587" y="67"/>
                    <a:pt x="587" y="67"/>
                    <a:pt x="587" y="67"/>
                  </a:cubicBezTo>
                  <a:cubicBezTo>
                    <a:pt x="586" y="67"/>
                    <a:pt x="586" y="66"/>
                    <a:pt x="586" y="66"/>
                  </a:cubicBezTo>
                  <a:cubicBezTo>
                    <a:pt x="586" y="66"/>
                    <a:pt x="586" y="66"/>
                    <a:pt x="586" y="66"/>
                  </a:cubicBezTo>
                  <a:cubicBezTo>
                    <a:pt x="586" y="66"/>
                    <a:pt x="586" y="65"/>
                    <a:pt x="586" y="65"/>
                  </a:cubicBezTo>
                  <a:cubicBezTo>
                    <a:pt x="586" y="65"/>
                    <a:pt x="586" y="65"/>
                    <a:pt x="586" y="65"/>
                  </a:cubicBezTo>
                  <a:cubicBezTo>
                    <a:pt x="586" y="65"/>
                    <a:pt x="586" y="65"/>
                    <a:pt x="585" y="65"/>
                  </a:cubicBezTo>
                  <a:cubicBezTo>
                    <a:pt x="585" y="65"/>
                    <a:pt x="585" y="65"/>
                    <a:pt x="585" y="65"/>
                  </a:cubicBezTo>
                  <a:cubicBezTo>
                    <a:pt x="585" y="65"/>
                    <a:pt x="585" y="64"/>
                    <a:pt x="585" y="64"/>
                  </a:cubicBezTo>
                  <a:cubicBezTo>
                    <a:pt x="585" y="64"/>
                    <a:pt x="585" y="64"/>
                    <a:pt x="585" y="64"/>
                  </a:cubicBezTo>
                  <a:cubicBezTo>
                    <a:pt x="585" y="64"/>
                    <a:pt x="585" y="64"/>
                    <a:pt x="584" y="64"/>
                  </a:cubicBezTo>
                  <a:cubicBezTo>
                    <a:pt x="584" y="64"/>
                    <a:pt x="584" y="64"/>
                    <a:pt x="584" y="64"/>
                  </a:cubicBezTo>
                  <a:cubicBezTo>
                    <a:pt x="584" y="63"/>
                    <a:pt x="584" y="63"/>
                    <a:pt x="584" y="63"/>
                  </a:cubicBezTo>
                  <a:cubicBezTo>
                    <a:pt x="584" y="63"/>
                    <a:pt x="584" y="63"/>
                    <a:pt x="584" y="63"/>
                  </a:cubicBezTo>
                  <a:cubicBezTo>
                    <a:pt x="584" y="63"/>
                    <a:pt x="584"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2"/>
                    <a:pt x="583" y="62"/>
                    <a:pt x="583" y="62"/>
                  </a:cubicBezTo>
                  <a:cubicBezTo>
                    <a:pt x="583"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1"/>
                    <a:pt x="582" y="61"/>
                    <a:pt x="582" y="61"/>
                  </a:cubicBezTo>
                  <a:cubicBezTo>
                    <a:pt x="582" y="60"/>
                    <a:pt x="581" y="60"/>
                    <a:pt x="581" y="60"/>
                  </a:cubicBezTo>
                  <a:cubicBezTo>
                    <a:pt x="581" y="60"/>
                    <a:pt x="581" y="60"/>
                    <a:pt x="581" y="60"/>
                  </a:cubicBezTo>
                  <a:cubicBezTo>
                    <a:pt x="581" y="60"/>
                    <a:pt x="581" y="60"/>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80" y="59"/>
                    <a:pt x="580" y="59"/>
                    <a:pt x="580" y="59"/>
                  </a:cubicBezTo>
                  <a:cubicBezTo>
                    <a:pt x="579" y="59"/>
                    <a:pt x="579" y="58"/>
                    <a:pt x="579" y="58"/>
                  </a:cubicBezTo>
                  <a:cubicBezTo>
                    <a:pt x="579" y="58"/>
                    <a:pt x="579" y="58"/>
                    <a:pt x="579" y="58"/>
                  </a:cubicBezTo>
                  <a:cubicBezTo>
                    <a:pt x="579" y="58"/>
                    <a:pt x="578" y="58"/>
                    <a:pt x="578" y="58"/>
                  </a:cubicBezTo>
                  <a:cubicBezTo>
                    <a:pt x="578" y="58"/>
                    <a:pt x="578" y="58"/>
                    <a:pt x="578" y="58"/>
                  </a:cubicBezTo>
                  <a:cubicBezTo>
                    <a:pt x="578" y="58"/>
                    <a:pt x="578" y="57"/>
                    <a:pt x="578" y="57"/>
                  </a:cubicBezTo>
                  <a:cubicBezTo>
                    <a:pt x="578" y="57"/>
                    <a:pt x="578" y="57"/>
                    <a:pt x="578" y="57"/>
                  </a:cubicBezTo>
                  <a:cubicBezTo>
                    <a:pt x="578" y="57"/>
                    <a:pt x="578" y="57"/>
                    <a:pt x="577" y="57"/>
                  </a:cubicBezTo>
                  <a:cubicBezTo>
                    <a:pt x="577" y="57"/>
                    <a:pt x="577" y="57"/>
                    <a:pt x="577" y="57"/>
                  </a:cubicBezTo>
                  <a:cubicBezTo>
                    <a:pt x="577" y="57"/>
                    <a:pt x="577" y="57"/>
                    <a:pt x="577" y="57"/>
                  </a:cubicBezTo>
                  <a:cubicBezTo>
                    <a:pt x="577" y="57"/>
                    <a:pt x="577" y="57"/>
                    <a:pt x="577" y="57"/>
                  </a:cubicBezTo>
                  <a:cubicBezTo>
                    <a:pt x="577" y="56"/>
                    <a:pt x="577" y="56"/>
                    <a:pt x="576" y="56"/>
                  </a:cubicBezTo>
                  <a:cubicBezTo>
                    <a:pt x="576" y="56"/>
                    <a:pt x="576" y="56"/>
                    <a:pt x="576" y="56"/>
                  </a:cubicBezTo>
                  <a:cubicBezTo>
                    <a:pt x="576" y="56"/>
                    <a:pt x="576" y="56"/>
                    <a:pt x="575" y="56"/>
                  </a:cubicBezTo>
                  <a:cubicBezTo>
                    <a:pt x="575" y="56"/>
                    <a:pt x="575" y="56"/>
                    <a:pt x="575" y="56"/>
                  </a:cubicBezTo>
                  <a:cubicBezTo>
                    <a:pt x="575" y="55"/>
                    <a:pt x="575" y="55"/>
                    <a:pt x="575" y="55"/>
                  </a:cubicBezTo>
                  <a:cubicBezTo>
                    <a:pt x="575" y="55"/>
                    <a:pt x="575" y="55"/>
                    <a:pt x="575" y="55"/>
                  </a:cubicBezTo>
                  <a:cubicBezTo>
                    <a:pt x="575" y="55"/>
                    <a:pt x="574" y="55"/>
                    <a:pt x="574" y="55"/>
                  </a:cubicBezTo>
                  <a:cubicBezTo>
                    <a:pt x="574" y="55"/>
                    <a:pt x="574" y="55"/>
                    <a:pt x="574" y="55"/>
                  </a:cubicBezTo>
                  <a:cubicBezTo>
                    <a:pt x="574" y="55"/>
                    <a:pt x="574" y="55"/>
                    <a:pt x="574" y="55"/>
                  </a:cubicBezTo>
                  <a:cubicBezTo>
                    <a:pt x="574" y="55"/>
                    <a:pt x="574" y="55"/>
                    <a:pt x="574" y="55"/>
                  </a:cubicBezTo>
                  <a:cubicBezTo>
                    <a:pt x="574" y="54"/>
                    <a:pt x="573" y="54"/>
                    <a:pt x="573" y="54"/>
                  </a:cubicBezTo>
                  <a:cubicBezTo>
                    <a:pt x="573" y="54"/>
                    <a:pt x="573" y="54"/>
                    <a:pt x="573" y="54"/>
                  </a:cubicBezTo>
                  <a:cubicBezTo>
                    <a:pt x="573" y="54"/>
                    <a:pt x="573" y="54"/>
                    <a:pt x="573" y="54"/>
                  </a:cubicBezTo>
                  <a:cubicBezTo>
                    <a:pt x="573" y="54"/>
                    <a:pt x="573" y="54"/>
                    <a:pt x="573" y="54"/>
                  </a:cubicBezTo>
                  <a:cubicBezTo>
                    <a:pt x="573" y="54"/>
                    <a:pt x="572" y="54"/>
                    <a:pt x="572" y="53"/>
                  </a:cubicBezTo>
                  <a:cubicBezTo>
                    <a:pt x="572" y="54"/>
                    <a:pt x="572" y="54"/>
                    <a:pt x="572" y="54"/>
                  </a:cubicBezTo>
                  <a:cubicBezTo>
                    <a:pt x="572" y="53"/>
                    <a:pt x="572" y="53"/>
                    <a:pt x="572" y="53"/>
                  </a:cubicBezTo>
                  <a:cubicBezTo>
                    <a:pt x="572" y="53"/>
                    <a:pt x="572" y="53"/>
                    <a:pt x="572" y="53"/>
                  </a:cubicBezTo>
                  <a:cubicBezTo>
                    <a:pt x="571" y="53"/>
                    <a:pt x="571" y="53"/>
                    <a:pt x="571" y="53"/>
                  </a:cubicBezTo>
                  <a:cubicBezTo>
                    <a:pt x="571" y="53"/>
                    <a:pt x="571" y="53"/>
                    <a:pt x="571" y="53"/>
                  </a:cubicBezTo>
                  <a:cubicBezTo>
                    <a:pt x="571" y="53"/>
                    <a:pt x="571" y="53"/>
                    <a:pt x="570" y="52"/>
                  </a:cubicBezTo>
                  <a:cubicBezTo>
                    <a:pt x="570" y="52"/>
                    <a:pt x="570" y="52"/>
                    <a:pt x="570" y="52"/>
                  </a:cubicBezTo>
                  <a:cubicBezTo>
                    <a:pt x="570" y="52"/>
                    <a:pt x="570" y="52"/>
                    <a:pt x="570" y="52"/>
                  </a:cubicBezTo>
                  <a:cubicBezTo>
                    <a:pt x="570" y="52"/>
                    <a:pt x="570" y="52"/>
                    <a:pt x="570" y="52"/>
                  </a:cubicBezTo>
                  <a:cubicBezTo>
                    <a:pt x="570" y="52"/>
                    <a:pt x="570" y="52"/>
                    <a:pt x="570" y="52"/>
                  </a:cubicBezTo>
                  <a:cubicBezTo>
                    <a:pt x="570" y="52"/>
                    <a:pt x="570" y="52"/>
                    <a:pt x="569" y="52"/>
                  </a:cubicBezTo>
                  <a:cubicBezTo>
                    <a:pt x="569" y="52"/>
                    <a:pt x="569" y="52"/>
                    <a:pt x="569" y="52"/>
                  </a:cubicBezTo>
                  <a:cubicBezTo>
                    <a:pt x="569" y="52"/>
                    <a:pt x="569" y="52"/>
                    <a:pt x="569" y="51"/>
                  </a:cubicBezTo>
                  <a:cubicBezTo>
                    <a:pt x="569" y="51"/>
                    <a:pt x="569" y="51"/>
                    <a:pt x="569" y="51"/>
                  </a:cubicBezTo>
                  <a:cubicBezTo>
                    <a:pt x="569" y="51"/>
                    <a:pt x="568" y="51"/>
                    <a:pt x="568" y="51"/>
                  </a:cubicBezTo>
                  <a:cubicBezTo>
                    <a:pt x="568" y="51"/>
                    <a:pt x="568" y="51"/>
                    <a:pt x="568" y="51"/>
                  </a:cubicBezTo>
                  <a:cubicBezTo>
                    <a:pt x="568" y="51"/>
                    <a:pt x="568" y="51"/>
                    <a:pt x="568" y="51"/>
                  </a:cubicBezTo>
                  <a:cubicBezTo>
                    <a:pt x="568" y="51"/>
                    <a:pt x="568" y="51"/>
                    <a:pt x="568" y="51"/>
                  </a:cubicBezTo>
                  <a:cubicBezTo>
                    <a:pt x="568" y="50"/>
                    <a:pt x="567" y="51"/>
                    <a:pt x="567" y="50"/>
                  </a:cubicBezTo>
                  <a:cubicBezTo>
                    <a:pt x="567" y="50"/>
                    <a:pt x="567" y="50"/>
                    <a:pt x="567" y="50"/>
                  </a:cubicBezTo>
                  <a:cubicBezTo>
                    <a:pt x="567" y="50"/>
                    <a:pt x="566" y="50"/>
                    <a:pt x="566" y="50"/>
                  </a:cubicBezTo>
                  <a:cubicBezTo>
                    <a:pt x="566" y="50"/>
                    <a:pt x="566" y="50"/>
                    <a:pt x="566" y="50"/>
                  </a:cubicBezTo>
                  <a:cubicBezTo>
                    <a:pt x="566" y="50"/>
                    <a:pt x="566" y="50"/>
                    <a:pt x="566" y="50"/>
                  </a:cubicBezTo>
                  <a:cubicBezTo>
                    <a:pt x="566" y="50"/>
                    <a:pt x="566" y="50"/>
                    <a:pt x="566" y="50"/>
                  </a:cubicBezTo>
                  <a:cubicBezTo>
                    <a:pt x="565" y="50"/>
                    <a:pt x="565" y="49"/>
                    <a:pt x="565" y="49"/>
                  </a:cubicBezTo>
                  <a:cubicBezTo>
                    <a:pt x="565" y="49"/>
                    <a:pt x="565" y="49"/>
                    <a:pt x="565" y="49"/>
                  </a:cubicBezTo>
                  <a:cubicBezTo>
                    <a:pt x="565" y="49"/>
                    <a:pt x="565" y="49"/>
                    <a:pt x="565" y="49"/>
                  </a:cubicBezTo>
                  <a:cubicBezTo>
                    <a:pt x="565" y="49"/>
                    <a:pt x="565" y="49"/>
                    <a:pt x="565" y="49"/>
                  </a:cubicBezTo>
                  <a:cubicBezTo>
                    <a:pt x="565" y="49"/>
                    <a:pt x="565" y="49"/>
                    <a:pt x="565" y="49"/>
                  </a:cubicBezTo>
                  <a:cubicBezTo>
                    <a:pt x="564" y="49"/>
                    <a:pt x="564" y="49"/>
                    <a:pt x="564" y="49"/>
                  </a:cubicBezTo>
                  <a:cubicBezTo>
                    <a:pt x="564" y="49"/>
                    <a:pt x="564" y="49"/>
                    <a:pt x="564" y="49"/>
                  </a:cubicBezTo>
                  <a:cubicBezTo>
                    <a:pt x="564" y="48"/>
                    <a:pt x="563" y="48"/>
                    <a:pt x="563" y="48"/>
                  </a:cubicBezTo>
                  <a:cubicBezTo>
                    <a:pt x="563" y="48"/>
                    <a:pt x="563" y="48"/>
                    <a:pt x="563" y="48"/>
                  </a:cubicBezTo>
                  <a:cubicBezTo>
                    <a:pt x="563" y="48"/>
                    <a:pt x="563" y="48"/>
                    <a:pt x="563" y="48"/>
                  </a:cubicBezTo>
                  <a:cubicBezTo>
                    <a:pt x="563" y="48"/>
                    <a:pt x="563" y="48"/>
                    <a:pt x="563" y="48"/>
                  </a:cubicBezTo>
                  <a:cubicBezTo>
                    <a:pt x="563" y="48"/>
                    <a:pt x="562" y="48"/>
                    <a:pt x="562" y="48"/>
                  </a:cubicBezTo>
                  <a:cubicBezTo>
                    <a:pt x="562" y="48"/>
                    <a:pt x="562" y="48"/>
                    <a:pt x="562" y="48"/>
                  </a:cubicBezTo>
                  <a:cubicBezTo>
                    <a:pt x="562" y="47"/>
                    <a:pt x="562" y="47"/>
                    <a:pt x="561" y="47"/>
                  </a:cubicBezTo>
                  <a:cubicBezTo>
                    <a:pt x="561" y="47"/>
                    <a:pt x="561" y="47"/>
                    <a:pt x="561" y="47"/>
                  </a:cubicBezTo>
                  <a:cubicBezTo>
                    <a:pt x="561" y="47"/>
                    <a:pt x="561" y="47"/>
                    <a:pt x="561" y="47"/>
                  </a:cubicBezTo>
                  <a:cubicBezTo>
                    <a:pt x="561" y="47"/>
                    <a:pt x="561" y="47"/>
                    <a:pt x="561" y="47"/>
                  </a:cubicBezTo>
                  <a:cubicBezTo>
                    <a:pt x="561" y="47"/>
                    <a:pt x="561" y="47"/>
                    <a:pt x="560" y="47"/>
                  </a:cubicBezTo>
                  <a:cubicBezTo>
                    <a:pt x="560" y="47"/>
                    <a:pt x="560" y="47"/>
                    <a:pt x="560" y="47"/>
                  </a:cubicBezTo>
                  <a:cubicBezTo>
                    <a:pt x="560" y="46"/>
                    <a:pt x="560" y="46"/>
                    <a:pt x="560" y="46"/>
                  </a:cubicBezTo>
                  <a:cubicBezTo>
                    <a:pt x="560" y="46"/>
                    <a:pt x="560" y="46"/>
                    <a:pt x="560" y="46"/>
                  </a:cubicBezTo>
                  <a:cubicBezTo>
                    <a:pt x="560" y="46"/>
                    <a:pt x="559" y="46"/>
                    <a:pt x="559" y="46"/>
                  </a:cubicBezTo>
                  <a:cubicBezTo>
                    <a:pt x="559" y="46"/>
                    <a:pt x="559" y="46"/>
                    <a:pt x="559" y="46"/>
                  </a:cubicBezTo>
                  <a:cubicBezTo>
                    <a:pt x="559" y="46"/>
                    <a:pt x="559" y="46"/>
                    <a:pt x="559" y="45"/>
                  </a:cubicBezTo>
                  <a:cubicBezTo>
                    <a:pt x="559" y="45"/>
                    <a:pt x="559" y="45"/>
                    <a:pt x="559" y="45"/>
                  </a:cubicBezTo>
                  <a:cubicBezTo>
                    <a:pt x="559" y="45"/>
                    <a:pt x="558" y="45"/>
                    <a:pt x="558" y="45"/>
                  </a:cubicBezTo>
                  <a:cubicBezTo>
                    <a:pt x="558" y="45"/>
                    <a:pt x="558" y="45"/>
                    <a:pt x="558" y="45"/>
                  </a:cubicBezTo>
                  <a:cubicBezTo>
                    <a:pt x="558" y="45"/>
                    <a:pt x="558" y="45"/>
                    <a:pt x="558" y="45"/>
                  </a:cubicBezTo>
                  <a:cubicBezTo>
                    <a:pt x="558" y="45"/>
                    <a:pt x="558" y="45"/>
                    <a:pt x="558" y="45"/>
                  </a:cubicBezTo>
                  <a:cubicBezTo>
                    <a:pt x="557" y="45"/>
                    <a:pt x="557" y="45"/>
                    <a:pt x="557" y="44"/>
                  </a:cubicBezTo>
                  <a:cubicBezTo>
                    <a:pt x="557" y="45"/>
                    <a:pt x="557" y="45"/>
                    <a:pt x="557" y="45"/>
                  </a:cubicBezTo>
                  <a:cubicBezTo>
                    <a:pt x="557" y="44"/>
                    <a:pt x="557" y="44"/>
                    <a:pt x="557" y="44"/>
                  </a:cubicBezTo>
                  <a:cubicBezTo>
                    <a:pt x="557" y="44"/>
                    <a:pt x="557" y="44"/>
                    <a:pt x="557" y="44"/>
                  </a:cubicBezTo>
                  <a:cubicBezTo>
                    <a:pt x="556" y="44"/>
                    <a:pt x="556" y="44"/>
                    <a:pt x="556" y="44"/>
                  </a:cubicBezTo>
                  <a:cubicBezTo>
                    <a:pt x="556" y="44"/>
                    <a:pt x="556" y="44"/>
                    <a:pt x="556" y="44"/>
                  </a:cubicBezTo>
                  <a:cubicBezTo>
                    <a:pt x="556" y="43"/>
                    <a:pt x="555" y="43"/>
                    <a:pt x="555" y="43"/>
                  </a:cubicBezTo>
                  <a:cubicBezTo>
                    <a:pt x="555" y="43"/>
                    <a:pt x="555" y="43"/>
                    <a:pt x="555" y="43"/>
                  </a:cubicBezTo>
                  <a:cubicBezTo>
                    <a:pt x="555" y="43"/>
                    <a:pt x="555" y="43"/>
                    <a:pt x="555" y="43"/>
                  </a:cubicBezTo>
                  <a:cubicBezTo>
                    <a:pt x="555" y="43"/>
                    <a:pt x="555" y="43"/>
                    <a:pt x="555" y="43"/>
                  </a:cubicBezTo>
                  <a:cubicBezTo>
                    <a:pt x="555" y="43"/>
                    <a:pt x="555" y="42"/>
                    <a:pt x="554" y="42"/>
                  </a:cubicBezTo>
                  <a:cubicBezTo>
                    <a:pt x="554" y="42"/>
                    <a:pt x="554" y="42"/>
                    <a:pt x="554" y="42"/>
                  </a:cubicBezTo>
                  <a:cubicBezTo>
                    <a:pt x="554" y="42"/>
                    <a:pt x="554" y="42"/>
                    <a:pt x="553" y="42"/>
                  </a:cubicBezTo>
                  <a:cubicBezTo>
                    <a:pt x="553" y="42"/>
                    <a:pt x="553" y="42"/>
                    <a:pt x="553" y="42"/>
                  </a:cubicBezTo>
                  <a:cubicBezTo>
                    <a:pt x="553" y="42"/>
                    <a:pt x="553" y="41"/>
                    <a:pt x="553" y="41"/>
                  </a:cubicBezTo>
                  <a:cubicBezTo>
                    <a:pt x="553" y="41"/>
                    <a:pt x="553" y="41"/>
                    <a:pt x="553" y="41"/>
                  </a:cubicBezTo>
                  <a:cubicBezTo>
                    <a:pt x="553" y="41"/>
                    <a:pt x="553" y="41"/>
                    <a:pt x="553" y="41"/>
                  </a:cubicBezTo>
                  <a:cubicBezTo>
                    <a:pt x="553" y="41"/>
                    <a:pt x="553" y="41"/>
                    <a:pt x="553" y="41"/>
                  </a:cubicBezTo>
                  <a:cubicBezTo>
                    <a:pt x="553" y="41"/>
                    <a:pt x="553" y="41"/>
                    <a:pt x="552" y="41"/>
                  </a:cubicBezTo>
                  <a:cubicBezTo>
                    <a:pt x="552" y="41"/>
                    <a:pt x="552" y="41"/>
                    <a:pt x="552" y="41"/>
                  </a:cubicBezTo>
                  <a:cubicBezTo>
                    <a:pt x="552" y="40"/>
                    <a:pt x="552" y="40"/>
                    <a:pt x="551" y="39"/>
                  </a:cubicBezTo>
                  <a:cubicBezTo>
                    <a:pt x="551" y="39"/>
                    <a:pt x="551" y="39"/>
                    <a:pt x="551" y="39"/>
                  </a:cubicBezTo>
                  <a:cubicBezTo>
                    <a:pt x="551" y="39"/>
                    <a:pt x="551" y="39"/>
                    <a:pt x="551" y="39"/>
                  </a:cubicBezTo>
                  <a:cubicBezTo>
                    <a:pt x="551" y="39"/>
                    <a:pt x="551" y="39"/>
                    <a:pt x="551" y="39"/>
                  </a:cubicBezTo>
                  <a:cubicBezTo>
                    <a:pt x="551" y="39"/>
                    <a:pt x="551" y="38"/>
                    <a:pt x="551" y="38"/>
                  </a:cubicBezTo>
                  <a:cubicBezTo>
                    <a:pt x="551" y="38"/>
                    <a:pt x="551" y="38"/>
                    <a:pt x="551" y="38"/>
                  </a:cubicBezTo>
                  <a:cubicBezTo>
                    <a:pt x="551" y="38"/>
                    <a:pt x="550" y="38"/>
                    <a:pt x="550" y="38"/>
                  </a:cubicBezTo>
                  <a:cubicBezTo>
                    <a:pt x="550" y="38"/>
                    <a:pt x="550" y="38"/>
                    <a:pt x="550" y="38"/>
                  </a:cubicBezTo>
                  <a:cubicBezTo>
                    <a:pt x="550" y="38"/>
                    <a:pt x="550" y="37"/>
                    <a:pt x="550" y="37"/>
                  </a:cubicBezTo>
                  <a:cubicBezTo>
                    <a:pt x="550" y="37"/>
                    <a:pt x="550" y="37"/>
                    <a:pt x="550" y="37"/>
                  </a:cubicBezTo>
                  <a:cubicBezTo>
                    <a:pt x="550" y="37"/>
                    <a:pt x="550" y="37"/>
                    <a:pt x="550" y="36"/>
                  </a:cubicBezTo>
                  <a:cubicBezTo>
                    <a:pt x="550" y="36"/>
                    <a:pt x="550" y="36"/>
                    <a:pt x="550" y="36"/>
                  </a:cubicBezTo>
                  <a:cubicBezTo>
                    <a:pt x="550" y="36"/>
                    <a:pt x="550" y="36"/>
                    <a:pt x="550" y="36"/>
                  </a:cubicBezTo>
                  <a:cubicBezTo>
                    <a:pt x="549" y="36"/>
                    <a:pt x="549" y="36"/>
                    <a:pt x="549" y="35"/>
                  </a:cubicBezTo>
                  <a:cubicBezTo>
                    <a:pt x="549" y="35"/>
                    <a:pt x="549" y="35"/>
                    <a:pt x="549" y="35"/>
                  </a:cubicBezTo>
                  <a:cubicBezTo>
                    <a:pt x="549" y="35"/>
                    <a:pt x="549" y="34"/>
                    <a:pt x="549" y="34"/>
                  </a:cubicBezTo>
                  <a:cubicBezTo>
                    <a:pt x="549" y="34"/>
                    <a:pt x="549" y="34"/>
                    <a:pt x="549" y="33"/>
                  </a:cubicBezTo>
                  <a:cubicBezTo>
                    <a:pt x="549" y="31"/>
                    <a:pt x="549" y="29"/>
                    <a:pt x="549" y="27"/>
                  </a:cubicBezTo>
                  <a:cubicBezTo>
                    <a:pt x="549" y="27"/>
                    <a:pt x="549" y="27"/>
                    <a:pt x="549" y="27"/>
                  </a:cubicBezTo>
                  <a:cubicBezTo>
                    <a:pt x="549" y="27"/>
                    <a:pt x="549" y="26"/>
                    <a:pt x="549" y="26"/>
                  </a:cubicBezTo>
                  <a:cubicBezTo>
                    <a:pt x="549" y="26"/>
                    <a:pt x="549" y="26"/>
                    <a:pt x="549" y="26"/>
                  </a:cubicBezTo>
                  <a:cubicBezTo>
                    <a:pt x="549" y="25"/>
                    <a:pt x="549" y="25"/>
                    <a:pt x="550" y="25"/>
                  </a:cubicBezTo>
                  <a:cubicBezTo>
                    <a:pt x="550" y="25"/>
                    <a:pt x="550" y="25"/>
                    <a:pt x="550" y="25"/>
                  </a:cubicBezTo>
                  <a:cubicBezTo>
                    <a:pt x="550" y="25"/>
                    <a:pt x="550" y="24"/>
                    <a:pt x="550" y="24"/>
                  </a:cubicBezTo>
                  <a:cubicBezTo>
                    <a:pt x="550" y="24"/>
                    <a:pt x="550" y="24"/>
                    <a:pt x="550" y="24"/>
                  </a:cubicBezTo>
                  <a:cubicBezTo>
                    <a:pt x="550" y="24"/>
                    <a:pt x="550" y="24"/>
                    <a:pt x="550" y="23"/>
                  </a:cubicBezTo>
                  <a:cubicBezTo>
                    <a:pt x="550" y="24"/>
                    <a:pt x="550" y="24"/>
                    <a:pt x="550" y="24"/>
                  </a:cubicBezTo>
                  <a:cubicBezTo>
                    <a:pt x="551" y="23"/>
                    <a:pt x="550" y="23"/>
                    <a:pt x="551" y="23"/>
                  </a:cubicBezTo>
                  <a:cubicBezTo>
                    <a:pt x="551" y="23"/>
                    <a:pt x="551" y="23"/>
                    <a:pt x="551" y="23"/>
                  </a:cubicBezTo>
                  <a:cubicBezTo>
                    <a:pt x="551" y="23"/>
                    <a:pt x="551" y="23"/>
                    <a:pt x="551" y="22"/>
                  </a:cubicBezTo>
                  <a:cubicBezTo>
                    <a:pt x="551" y="22"/>
                    <a:pt x="551" y="22"/>
                    <a:pt x="551" y="22"/>
                  </a:cubicBezTo>
                  <a:cubicBezTo>
                    <a:pt x="551" y="22"/>
                    <a:pt x="551" y="22"/>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2" y="21"/>
                    <a:pt x="552" y="21"/>
                    <a:pt x="552" y="21"/>
                  </a:cubicBezTo>
                  <a:cubicBezTo>
                    <a:pt x="553" y="21"/>
                    <a:pt x="553" y="21"/>
                    <a:pt x="553" y="20"/>
                  </a:cubicBezTo>
                  <a:cubicBezTo>
                    <a:pt x="553" y="20"/>
                    <a:pt x="553" y="20"/>
                    <a:pt x="553" y="20"/>
                  </a:cubicBezTo>
                  <a:cubicBezTo>
                    <a:pt x="553" y="20"/>
                    <a:pt x="554" y="20"/>
                    <a:pt x="554" y="20"/>
                  </a:cubicBezTo>
                  <a:cubicBezTo>
                    <a:pt x="554" y="20"/>
                    <a:pt x="554" y="20"/>
                    <a:pt x="554" y="20"/>
                  </a:cubicBezTo>
                  <a:cubicBezTo>
                    <a:pt x="554" y="20"/>
                    <a:pt x="554" y="19"/>
                    <a:pt x="554" y="19"/>
                  </a:cubicBezTo>
                  <a:cubicBezTo>
                    <a:pt x="554" y="19"/>
                    <a:pt x="554" y="19"/>
                    <a:pt x="554" y="19"/>
                  </a:cubicBezTo>
                  <a:cubicBezTo>
                    <a:pt x="554" y="19"/>
                    <a:pt x="554" y="19"/>
                    <a:pt x="554" y="19"/>
                  </a:cubicBezTo>
                  <a:cubicBezTo>
                    <a:pt x="555" y="19"/>
                    <a:pt x="555" y="19"/>
                    <a:pt x="555" y="19"/>
                  </a:cubicBezTo>
                  <a:cubicBezTo>
                    <a:pt x="555" y="19"/>
                    <a:pt x="555" y="19"/>
                    <a:pt x="555" y="19"/>
                  </a:cubicBezTo>
                  <a:cubicBezTo>
                    <a:pt x="555" y="19"/>
                    <a:pt x="555" y="19"/>
                    <a:pt x="555" y="19"/>
                  </a:cubicBezTo>
                  <a:cubicBezTo>
                    <a:pt x="555" y="18"/>
                    <a:pt x="556" y="19"/>
                    <a:pt x="556" y="18"/>
                  </a:cubicBezTo>
                  <a:cubicBezTo>
                    <a:pt x="556" y="18"/>
                    <a:pt x="556" y="18"/>
                    <a:pt x="556" y="18"/>
                  </a:cubicBezTo>
                  <a:cubicBezTo>
                    <a:pt x="556" y="18"/>
                    <a:pt x="556" y="18"/>
                    <a:pt x="557" y="18"/>
                  </a:cubicBezTo>
                  <a:cubicBezTo>
                    <a:pt x="556" y="18"/>
                    <a:pt x="556" y="18"/>
                    <a:pt x="556" y="18"/>
                  </a:cubicBezTo>
                  <a:cubicBezTo>
                    <a:pt x="557" y="18"/>
                    <a:pt x="557" y="18"/>
                    <a:pt x="557" y="18"/>
                  </a:cubicBezTo>
                  <a:cubicBezTo>
                    <a:pt x="557" y="18"/>
                    <a:pt x="557" y="18"/>
                    <a:pt x="557" y="18"/>
                  </a:cubicBezTo>
                  <a:cubicBezTo>
                    <a:pt x="557" y="17"/>
                    <a:pt x="558" y="17"/>
                    <a:pt x="558" y="17"/>
                  </a:cubicBezTo>
                  <a:cubicBezTo>
                    <a:pt x="558" y="17"/>
                    <a:pt x="558" y="17"/>
                    <a:pt x="558" y="17"/>
                  </a:cubicBezTo>
                  <a:cubicBezTo>
                    <a:pt x="558" y="17"/>
                    <a:pt x="559" y="17"/>
                    <a:pt x="559" y="17"/>
                  </a:cubicBezTo>
                  <a:cubicBezTo>
                    <a:pt x="559" y="17"/>
                    <a:pt x="559" y="17"/>
                    <a:pt x="559" y="17"/>
                  </a:cubicBezTo>
                  <a:cubicBezTo>
                    <a:pt x="559" y="17"/>
                    <a:pt x="560" y="17"/>
                    <a:pt x="560" y="17"/>
                  </a:cubicBezTo>
                  <a:cubicBezTo>
                    <a:pt x="560" y="17"/>
                    <a:pt x="560" y="17"/>
                    <a:pt x="560" y="17"/>
                  </a:cubicBezTo>
                  <a:cubicBezTo>
                    <a:pt x="560" y="17"/>
                    <a:pt x="560" y="17"/>
                    <a:pt x="560" y="17"/>
                  </a:cubicBezTo>
                  <a:cubicBezTo>
                    <a:pt x="561" y="16"/>
                    <a:pt x="561" y="17"/>
                    <a:pt x="562" y="16"/>
                  </a:cubicBezTo>
                  <a:cubicBezTo>
                    <a:pt x="562" y="16"/>
                    <a:pt x="562" y="16"/>
                    <a:pt x="562" y="16"/>
                  </a:cubicBezTo>
                  <a:cubicBezTo>
                    <a:pt x="562" y="16"/>
                    <a:pt x="562" y="16"/>
                    <a:pt x="562" y="16"/>
                  </a:cubicBezTo>
                  <a:cubicBezTo>
                    <a:pt x="563" y="16"/>
                    <a:pt x="564" y="16"/>
                    <a:pt x="565" y="16"/>
                  </a:cubicBezTo>
                  <a:cubicBezTo>
                    <a:pt x="566" y="16"/>
                    <a:pt x="567" y="16"/>
                    <a:pt x="568" y="16"/>
                  </a:cubicBezTo>
                  <a:cubicBezTo>
                    <a:pt x="569" y="16"/>
                    <a:pt x="570" y="16"/>
                    <a:pt x="571" y="16"/>
                  </a:cubicBezTo>
                  <a:cubicBezTo>
                    <a:pt x="571" y="16"/>
                    <a:pt x="572" y="16"/>
                    <a:pt x="572" y="16"/>
                  </a:cubicBezTo>
                  <a:cubicBezTo>
                    <a:pt x="572" y="17"/>
                    <a:pt x="573" y="16"/>
                    <a:pt x="573" y="17"/>
                  </a:cubicBezTo>
                  <a:cubicBezTo>
                    <a:pt x="574" y="16"/>
                    <a:pt x="574" y="16"/>
                    <a:pt x="574" y="16"/>
                  </a:cubicBezTo>
                  <a:cubicBezTo>
                    <a:pt x="574" y="17"/>
                    <a:pt x="574" y="17"/>
                    <a:pt x="574" y="17"/>
                  </a:cubicBezTo>
                  <a:cubicBezTo>
                    <a:pt x="574" y="17"/>
                    <a:pt x="575" y="17"/>
                    <a:pt x="575" y="17"/>
                  </a:cubicBezTo>
                  <a:cubicBezTo>
                    <a:pt x="575" y="17"/>
                    <a:pt x="575" y="17"/>
                    <a:pt x="575" y="17"/>
                  </a:cubicBezTo>
                  <a:cubicBezTo>
                    <a:pt x="575" y="17"/>
                    <a:pt x="575" y="17"/>
                    <a:pt x="575" y="17"/>
                  </a:cubicBezTo>
                  <a:cubicBezTo>
                    <a:pt x="576" y="17"/>
                    <a:pt x="576" y="17"/>
                    <a:pt x="576" y="17"/>
                  </a:cubicBezTo>
                  <a:cubicBezTo>
                    <a:pt x="577" y="17"/>
                    <a:pt x="577" y="17"/>
                    <a:pt x="577" y="17"/>
                  </a:cubicBezTo>
                  <a:cubicBezTo>
                    <a:pt x="577" y="17"/>
                    <a:pt x="577" y="17"/>
                    <a:pt x="577" y="17"/>
                  </a:cubicBezTo>
                  <a:cubicBezTo>
                    <a:pt x="577" y="17"/>
                    <a:pt x="577" y="17"/>
                    <a:pt x="578" y="18"/>
                  </a:cubicBezTo>
                  <a:cubicBezTo>
                    <a:pt x="578" y="18"/>
                    <a:pt x="578" y="18"/>
                    <a:pt x="578" y="18"/>
                  </a:cubicBezTo>
                  <a:cubicBezTo>
                    <a:pt x="578" y="18"/>
                    <a:pt x="578" y="18"/>
                    <a:pt x="578" y="18"/>
                  </a:cubicBezTo>
                  <a:cubicBezTo>
                    <a:pt x="578" y="18"/>
                    <a:pt x="578" y="18"/>
                    <a:pt x="579" y="18"/>
                  </a:cubicBezTo>
                  <a:cubicBezTo>
                    <a:pt x="579" y="18"/>
                    <a:pt x="579" y="18"/>
                    <a:pt x="579" y="18"/>
                  </a:cubicBezTo>
                  <a:cubicBezTo>
                    <a:pt x="579" y="18"/>
                    <a:pt x="579" y="18"/>
                    <a:pt x="580" y="18"/>
                  </a:cubicBezTo>
                  <a:cubicBezTo>
                    <a:pt x="580" y="18"/>
                    <a:pt x="580" y="18"/>
                    <a:pt x="580" y="18"/>
                  </a:cubicBezTo>
                  <a:cubicBezTo>
                    <a:pt x="580" y="19"/>
                    <a:pt x="580" y="18"/>
                    <a:pt x="580" y="19"/>
                  </a:cubicBezTo>
                  <a:cubicBezTo>
                    <a:pt x="580" y="19"/>
                    <a:pt x="580" y="19"/>
                    <a:pt x="580" y="19"/>
                  </a:cubicBezTo>
                  <a:cubicBezTo>
                    <a:pt x="580" y="19"/>
                    <a:pt x="581" y="19"/>
                    <a:pt x="581" y="19"/>
                  </a:cubicBezTo>
                  <a:cubicBezTo>
                    <a:pt x="581" y="19"/>
                    <a:pt x="581" y="19"/>
                    <a:pt x="581" y="19"/>
                  </a:cubicBezTo>
                  <a:cubicBezTo>
                    <a:pt x="581" y="19"/>
                    <a:pt x="581" y="19"/>
                    <a:pt x="582" y="19"/>
                  </a:cubicBezTo>
                  <a:cubicBezTo>
                    <a:pt x="582" y="19"/>
                    <a:pt x="582" y="19"/>
                    <a:pt x="582" y="19"/>
                  </a:cubicBezTo>
                  <a:cubicBezTo>
                    <a:pt x="582" y="20"/>
                    <a:pt x="582" y="19"/>
                    <a:pt x="582" y="20"/>
                  </a:cubicBezTo>
                  <a:cubicBezTo>
                    <a:pt x="582" y="20"/>
                    <a:pt x="582" y="20"/>
                    <a:pt x="582" y="20"/>
                  </a:cubicBezTo>
                  <a:cubicBezTo>
                    <a:pt x="582" y="20"/>
                    <a:pt x="583" y="20"/>
                    <a:pt x="583" y="20"/>
                  </a:cubicBezTo>
                  <a:cubicBezTo>
                    <a:pt x="583" y="20"/>
                    <a:pt x="583" y="20"/>
                    <a:pt x="583" y="20"/>
                  </a:cubicBezTo>
                  <a:cubicBezTo>
                    <a:pt x="583" y="20"/>
                    <a:pt x="583" y="20"/>
                    <a:pt x="583" y="20"/>
                  </a:cubicBezTo>
                  <a:cubicBezTo>
                    <a:pt x="583" y="20"/>
                    <a:pt x="583" y="20"/>
                    <a:pt x="583" y="20"/>
                  </a:cubicBezTo>
                  <a:cubicBezTo>
                    <a:pt x="584" y="21"/>
                    <a:pt x="584" y="21"/>
                    <a:pt x="584" y="21"/>
                  </a:cubicBezTo>
                  <a:cubicBezTo>
                    <a:pt x="584" y="21"/>
                    <a:pt x="584" y="21"/>
                    <a:pt x="584" y="21"/>
                  </a:cubicBezTo>
                  <a:cubicBezTo>
                    <a:pt x="584" y="21"/>
                    <a:pt x="584" y="21"/>
                    <a:pt x="584" y="21"/>
                  </a:cubicBezTo>
                  <a:cubicBezTo>
                    <a:pt x="584" y="21"/>
                    <a:pt x="584" y="21"/>
                    <a:pt x="584" y="21"/>
                  </a:cubicBezTo>
                  <a:cubicBezTo>
                    <a:pt x="585" y="21"/>
                    <a:pt x="585" y="21"/>
                    <a:pt x="585" y="21"/>
                  </a:cubicBezTo>
                  <a:cubicBezTo>
                    <a:pt x="585" y="21"/>
                    <a:pt x="585" y="21"/>
                    <a:pt x="585" y="21"/>
                  </a:cubicBezTo>
                  <a:cubicBezTo>
                    <a:pt x="586" y="21"/>
                    <a:pt x="585" y="21"/>
                    <a:pt x="585" y="20"/>
                  </a:cubicBezTo>
                  <a:cubicBezTo>
                    <a:pt x="585" y="18"/>
                    <a:pt x="585" y="15"/>
                    <a:pt x="585" y="13"/>
                  </a:cubicBezTo>
                  <a:cubicBezTo>
                    <a:pt x="585" y="11"/>
                    <a:pt x="586" y="10"/>
                    <a:pt x="585" y="9"/>
                  </a:cubicBezTo>
                  <a:cubicBezTo>
                    <a:pt x="585" y="9"/>
                    <a:pt x="585" y="9"/>
                    <a:pt x="585" y="9"/>
                  </a:cubicBezTo>
                  <a:cubicBezTo>
                    <a:pt x="585" y="9"/>
                    <a:pt x="585" y="9"/>
                    <a:pt x="584" y="9"/>
                  </a:cubicBezTo>
                  <a:cubicBezTo>
                    <a:pt x="584" y="9"/>
                    <a:pt x="584" y="9"/>
                    <a:pt x="584" y="9"/>
                  </a:cubicBezTo>
                  <a:cubicBezTo>
                    <a:pt x="584" y="8"/>
                    <a:pt x="584" y="8"/>
                    <a:pt x="584" y="8"/>
                  </a:cubicBezTo>
                  <a:cubicBezTo>
                    <a:pt x="584" y="8"/>
                    <a:pt x="584" y="8"/>
                    <a:pt x="584" y="8"/>
                  </a:cubicBezTo>
                  <a:cubicBezTo>
                    <a:pt x="583" y="8"/>
                    <a:pt x="583" y="8"/>
                    <a:pt x="583" y="8"/>
                  </a:cubicBezTo>
                  <a:cubicBezTo>
                    <a:pt x="583" y="8"/>
                    <a:pt x="583" y="8"/>
                    <a:pt x="583" y="8"/>
                  </a:cubicBezTo>
                  <a:cubicBezTo>
                    <a:pt x="583" y="8"/>
                    <a:pt x="583" y="8"/>
                    <a:pt x="583" y="8"/>
                  </a:cubicBezTo>
                  <a:cubicBezTo>
                    <a:pt x="582" y="8"/>
                    <a:pt x="582" y="8"/>
                    <a:pt x="582" y="8"/>
                  </a:cubicBezTo>
                  <a:cubicBezTo>
                    <a:pt x="582" y="8"/>
                    <a:pt x="582" y="8"/>
                    <a:pt x="582" y="8"/>
                  </a:cubicBezTo>
                  <a:cubicBezTo>
                    <a:pt x="582" y="8"/>
                    <a:pt x="582" y="8"/>
                    <a:pt x="582" y="8"/>
                  </a:cubicBezTo>
                  <a:cubicBezTo>
                    <a:pt x="581" y="7"/>
                    <a:pt x="581" y="7"/>
                    <a:pt x="581" y="7"/>
                  </a:cubicBezTo>
                  <a:cubicBezTo>
                    <a:pt x="581" y="7"/>
                    <a:pt x="581" y="7"/>
                    <a:pt x="581" y="7"/>
                  </a:cubicBezTo>
                  <a:cubicBezTo>
                    <a:pt x="580" y="7"/>
                    <a:pt x="580" y="7"/>
                    <a:pt x="579" y="7"/>
                  </a:cubicBezTo>
                  <a:cubicBezTo>
                    <a:pt x="579" y="7"/>
                    <a:pt x="579" y="7"/>
                    <a:pt x="579" y="7"/>
                  </a:cubicBezTo>
                  <a:cubicBezTo>
                    <a:pt x="578" y="7"/>
                    <a:pt x="578" y="7"/>
                    <a:pt x="577" y="7"/>
                  </a:cubicBezTo>
                  <a:cubicBezTo>
                    <a:pt x="577" y="7"/>
                    <a:pt x="577" y="7"/>
                    <a:pt x="577" y="6"/>
                  </a:cubicBezTo>
                  <a:cubicBezTo>
                    <a:pt x="577" y="6"/>
                    <a:pt x="576" y="6"/>
                    <a:pt x="575" y="6"/>
                  </a:cubicBezTo>
                  <a:cubicBezTo>
                    <a:pt x="575" y="6"/>
                    <a:pt x="575" y="6"/>
                    <a:pt x="575" y="6"/>
                  </a:cubicBezTo>
                  <a:cubicBezTo>
                    <a:pt x="573" y="6"/>
                    <a:pt x="572" y="6"/>
                    <a:pt x="571" y="6"/>
                  </a:cubicBezTo>
                  <a:cubicBezTo>
                    <a:pt x="570" y="6"/>
                    <a:pt x="569" y="6"/>
                    <a:pt x="568" y="6"/>
                  </a:cubicBezTo>
                  <a:cubicBezTo>
                    <a:pt x="567" y="6"/>
                    <a:pt x="567" y="6"/>
                    <a:pt x="566" y="6"/>
                  </a:cubicBezTo>
                  <a:cubicBezTo>
                    <a:pt x="565" y="6"/>
                    <a:pt x="564" y="6"/>
                    <a:pt x="564" y="6"/>
                  </a:cubicBezTo>
                  <a:cubicBezTo>
                    <a:pt x="563" y="6"/>
                    <a:pt x="562" y="6"/>
                    <a:pt x="561" y="6"/>
                  </a:cubicBezTo>
                  <a:cubicBezTo>
                    <a:pt x="561" y="6"/>
                    <a:pt x="561" y="6"/>
                    <a:pt x="560" y="6"/>
                  </a:cubicBezTo>
                  <a:cubicBezTo>
                    <a:pt x="560" y="7"/>
                    <a:pt x="559" y="6"/>
                    <a:pt x="559" y="6"/>
                  </a:cubicBezTo>
                  <a:cubicBezTo>
                    <a:pt x="559" y="7"/>
                    <a:pt x="559" y="7"/>
                    <a:pt x="558" y="7"/>
                  </a:cubicBezTo>
                  <a:cubicBezTo>
                    <a:pt x="558" y="7"/>
                    <a:pt x="557" y="6"/>
                    <a:pt x="557" y="7"/>
                  </a:cubicBezTo>
                  <a:cubicBezTo>
                    <a:pt x="557" y="7"/>
                    <a:pt x="557" y="7"/>
                    <a:pt x="557" y="7"/>
                  </a:cubicBezTo>
                  <a:cubicBezTo>
                    <a:pt x="557" y="7"/>
                    <a:pt x="556" y="7"/>
                    <a:pt x="556" y="7"/>
                  </a:cubicBezTo>
                  <a:cubicBezTo>
                    <a:pt x="556" y="7"/>
                    <a:pt x="556" y="7"/>
                    <a:pt x="556" y="7"/>
                  </a:cubicBezTo>
                  <a:cubicBezTo>
                    <a:pt x="555" y="7"/>
                    <a:pt x="555" y="7"/>
                    <a:pt x="555" y="8"/>
                  </a:cubicBezTo>
                  <a:cubicBezTo>
                    <a:pt x="555" y="8"/>
                    <a:pt x="555" y="8"/>
                    <a:pt x="555" y="8"/>
                  </a:cubicBezTo>
                  <a:cubicBezTo>
                    <a:pt x="554" y="8"/>
                    <a:pt x="554" y="8"/>
                    <a:pt x="553" y="8"/>
                  </a:cubicBezTo>
                  <a:cubicBezTo>
                    <a:pt x="553" y="8"/>
                    <a:pt x="553" y="8"/>
                    <a:pt x="553" y="8"/>
                  </a:cubicBezTo>
                  <a:cubicBezTo>
                    <a:pt x="553" y="8"/>
                    <a:pt x="553" y="8"/>
                    <a:pt x="553" y="8"/>
                  </a:cubicBezTo>
                  <a:cubicBezTo>
                    <a:pt x="553" y="8"/>
                    <a:pt x="553" y="8"/>
                    <a:pt x="553" y="8"/>
                  </a:cubicBezTo>
                  <a:cubicBezTo>
                    <a:pt x="552" y="9"/>
                    <a:pt x="552" y="8"/>
                    <a:pt x="552" y="9"/>
                  </a:cubicBezTo>
                  <a:cubicBezTo>
                    <a:pt x="552" y="9"/>
                    <a:pt x="552" y="9"/>
                    <a:pt x="552" y="9"/>
                  </a:cubicBezTo>
                  <a:cubicBezTo>
                    <a:pt x="552" y="9"/>
                    <a:pt x="551" y="9"/>
                    <a:pt x="551" y="9"/>
                  </a:cubicBezTo>
                  <a:cubicBezTo>
                    <a:pt x="551" y="9"/>
                    <a:pt x="551" y="9"/>
                    <a:pt x="551" y="9"/>
                  </a:cubicBezTo>
                  <a:cubicBezTo>
                    <a:pt x="551" y="9"/>
                    <a:pt x="550" y="9"/>
                    <a:pt x="550" y="9"/>
                  </a:cubicBezTo>
                  <a:cubicBezTo>
                    <a:pt x="550" y="9"/>
                    <a:pt x="550" y="9"/>
                    <a:pt x="550" y="9"/>
                  </a:cubicBezTo>
                  <a:cubicBezTo>
                    <a:pt x="550" y="9"/>
                    <a:pt x="550" y="9"/>
                    <a:pt x="550" y="10"/>
                  </a:cubicBezTo>
                  <a:cubicBezTo>
                    <a:pt x="550" y="10"/>
                    <a:pt x="550" y="10"/>
                    <a:pt x="550" y="10"/>
                  </a:cubicBezTo>
                  <a:cubicBezTo>
                    <a:pt x="550" y="10"/>
                    <a:pt x="549" y="10"/>
                    <a:pt x="549" y="10"/>
                  </a:cubicBezTo>
                  <a:cubicBezTo>
                    <a:pt x="549" y="10"/>
                    <a:pt x="549" y="10"/>
                    <a:pt x="549" y="10"/>
                  </a:cubicBezTo>
                  <a:cubicBezTo>
                    <a:pt x="549" y="10"/>
                    <a:pt x="549" y="10"/>
                    <a:pt x="549" y="10"/>
                  </a:cubicBezTo>
                  <a:cubicBezTo>
                    <a:pt x="549" y="10"/>
                    <a:pt x="549" y="10"/>
                    <a:pt x="549" y="10"/>
                  </a:cubicBezTo>
                  <a:cubicBezTo>
                    <a:pt x="549" y="10"/>
                    <a:pt x="549" y="10"/>
                    <a:pt x="549" y="10"/>
                  </a:cubicBezTo>
                  <a:cubicBezTo>
                    <a:pt x="548" y="11"/>
                    <a:pt x="548" y="10"/>
                    <a:pt x="548" y="11"/>
                  </a:cubicBezTo>
                  <a:cubicBezTo>
                    <a:pt x="548" y="11"/>
                    <a:pt x="548" y="11"/>
                    <a:pt x="548" y="11"/>
                  </a:cubicBezTo>
                  <a:cubicBezTo>
                    <a:pt x="548" y="11"/>
                    <a:pt x="548" y="11"/>
                    <a:pt x="548" y="11"/>
                  </a:cubicBezTo>
                  <a:cubicBezTo>
                    <a:pt x="548" y="11"/>
                    <a:pt x="548" y="11"/>
                    <a:pt x="548" y="11"/>
                  </a:cubicBezTo>
                  <a:cubicBezTo>
                    <a:pt x="547" y="11"/>
                    <a:pt x="547" y="11"/>
                    <a:pt x="547" y="11"/>
                  </a:cubicBezTo>
                  <a:cubicBezTo>
                    <a:pt x="547" y="11"/>
                    <a:pt x="547" y="11"/>
                    <a:pt x="547" y="11"/>
                  </a:cubicBezTo>
                  <a:cubicBezTo>
                    <a:pt x="547" y="11"/>
                    <a:pt x="547" y="12"/>
                    <a:pt x="546" y="12"/>
                  </a:cubicBezTo>
                  <a:cubicBezTo>
                    <a:pt x="546" y="12"/>
                    <a:pt x="546" y="12"/>
                    <a:pt x="546" y="12"/>
                  </a:cubicBezTo>
                  <a:cubicBezTo>
                    <a:pt x="546" y="12"/>
                    <a:pt x="546" y="12"/>
                    <a:pt x="545" y="12"/>
                  </a:cubicBezTo>
                  <a:cubicBezTo>
                    <a:pt x="546" y="12"/>
                    <a:pt x="546" y="12"/>
                    <a:pt x="546" y="12"/>
                  </a:cubicBezTo>
                  <a:cubicBezTo>
                    <a:pt x="545" y="12"/>
                    <a:pt x="545" y="13"/>
                    <a:pt x="545" y="13"/>
                  </a:cubicBezTo>
                  <a:cubicBezTo>
                    <a:pt x="545" y="13"/>
                    <a:pt x="545" y="13"/>
                    <a:pt x="545" y="13"/>
                  </a:cubicBezTo>
                  <a:cubicBezTo>
                    <a:pt x="545" y="13"/>
                    <a:pt x="545" y="13"/>
                    <a:pt x="545" y="13"/>
                  </a:cubicBezTo>
                  <a:cubicBezTo>
                    <a:pt x="545" y="13"/>
                    <a:pt x="545" y="13"/>
                    <a:pt x="545" y="13"/>
                  </a:cubicBezTo>
                  <a:cubicBezTo>
                    <a:pt x="545" y="13"/>
                    <a:pt x="545" y="13"/>
                    <a:pt x="544" y="13"/>
                  </a:cubicBezTo>
                  <a:cubicBezTo>
                    <a:pt x="544" y="13"/>
                    <a:pt x="544" y="13"/>
                    <a:pt x="544" y="13"/>
                  </a:cubicBezTo>
                  <a:cubicBezTo>
                    <a:pt x="544" y="14"/>
                    <a:pt x="544" y="14"/>
                    <a:pt x="544" y="14"/>
                  </a:cubicBezTo>
                  <a:cubicBezTo>
                    <a:pt x="544" y="14"/>
                    <a:pt x="544" y="14"/>
                    <a:pt x="544" y="14"/>
                  </a:cubicBezTo>
                  <a:cubicBezTo>
                    <a:pt x="544" y="14"/>
                    <a:pt x="544" y="14"/>
                    <a:pt x="544" y="14"/>
                  </a:cubicBezTo>
                  <a:cubicBezTo>
                    <a:pt x="544" y="14"/>
                    <a:pt x="544" y="14"/>
                    <a:pt x="544" y="14"/>
                  </a:cubicBezTo>
                  <a:cubicBezTo>
                    <a:pt x="544" y="14"/>
                    <a:pt x="543" y="14"/>
                    <a:pt x="543" y="14"/>
                  </a:cubicBezTo>
                  <a:cubicBezTo>
                    <a:pt x="543" y="14"/>
                    <a:pt x="543" y="14"/>
                    <a:pt x="543" y="14"/>
                  </a:cubicBezTo>
                  <a:cubicBezTo>
                    <a:pt x="543" y="15"/>
                    <a:pt x="543" y="15"/>
                    <a:pt x="543" y="15"/>
                  </a:cubicBezTo>
                  <a:cubicBezTo>
                    <a:pt x="543" y="15"/>
                    <a:pt x="543" y="15"/>
                    <a:pt x="543" y="15"/>
                  </a:cubicBezTo>
                  <a:cubicBezTo>
                    <a:pt x="543" y="15"/>
                    <a:pt x="543" y="15"/>
                    <a:pt x="543" y="15"/>
                  </a:cubicBezTo>
                  <a:cubicBezTo>
                    <a:pt x="543" y="15"/>
                    <a:pt x="543" y="15"/>
                    <a:pt x="543" y="15"/>
                  </a:cubicBezTo>
                  <a:cubicBezTo>
                    <a:pt x="543" y="15"/>
                    <a:pt x="542" y="15"/>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2" y="16"/>
                    <a:pt x="542" y="16"/>
                    <a:pt x="542" y="16"/>
                  </a:cubicBezTo>
                  <a:cubicBezTo>
                    <a:pt x="541" y="16"/>
                    <a:pt x="541" y="17"/>
                    <a:pt x="541" y="17"/>
                  </a:cubicBezTo>
                  <a:cubicBezTo>
                    <a:pt x="541" y="17"/>
                    <a:pt x="541" y="17"/>
                    <a:pt x="541" y="17"/>
                  </a:cubicBezTo>
                  <a:cubicBezTo>
                    <a:pt x="541" y="17"/>
                    <a:pt x="541" y="17"/>
                    <a:pt x="541" y="17"/>
                  </a:cubicBezTo>
                  <a:cubicBezTo>
                    <a:pt x="541" y="17"/>
                    <a:pt x="541" y="17"/>
                    <a:pt x="541" y="17"/>
                  </a:cubicBezTo>
                  <a:cubicBezTo>
                    <a:pt x="541" y="17"/>
                    <a:pt x="541" y="18"/>
                    <a:pt x="541" y="18"/>
                  </a:cubicBezTo>
                  <a:cubicBezTo>
                    <a:pt x="541" y="18"/>
                    <a:pt x="541" y="18"/>
                    <a:pt x="541" y="18"/>
                  </a:cubicBezTo>
                  <a:cubicBezTo>
                    <a:pt x="540" y="18"/>
                    <a:pt x="540" y="18"/>
                    <a:pt x="540" y="18"/>
                  </a:cubicBezTo>
                  <a:cubicBezTo>
                    <a:pt x="540" y="18"/>
                    <a:pt x="540" y="18"/>
                    <a:pt x="540" y="18"/>
                  </a:cubicBezTo>
                  <a:cubicBezTo>
                    <a:pt x="540" y="18"/>
                    <a:pt x="540" y="19"/>
                    <a:pt x="540" y="19"/>
                  </a:cubicBezTo>
                  <a:cubicBezTo>
                    <a:pt x="540" y="19"/>
                    <a:pt x="540" y="19"/>
                    <a:pt x="540" y="19"/>
                  </a:cubicBezTo>
                  <a:cubicBezTo>
                    <a:pt x="540" y="19"/>
                    <a:pt x="540" y="19"/>
                    <a:pt x="540" y="19"/>
                  </a:cubicBezTo>
                  <a:cubicBezTo>
                    <a:pt x="540" y="19"/>
                    <a:pt x="540" y="19"/>
                    <a:pt x="540" y="19"/>
                  </a:cubicBezTo>
                  <a:cubicBezTo>
                    <a:pt x="539" y="20"/>
                    <a:pt x="539" y="20"/>
                    <a:pt x="539" y="20"/>
                  </a:cubicBezTo>
                  <a:cubicBezTo>
                    <a:pt x="539" y="20"/>
                    <a:pt x="539" y="20"/>
                    <a:pt x="539" y="20"/>
                  </a:cubicBezTo>
                  <a:cubicBezTo>
                    <a:pt x="539" y="20"/>
                    <a:pt x="539" y="21"/>
                    <a:pt x="539" y="21"/>
                  </a:cubicBezTo>
                  <a:cubicBezTo>
                    <a:pt x="539" y="21"/>
                    <a:pt x="539" y="21"/>
                    <a:pt x="539" y="21"/>
                  </a:cubicBezTo>
                  <a:cubicBezTo>
                    <a:pt x="539" y="21"/>
                    <a:pt x="539" y="21"/>
                    <a:pt x="539" y="21"/>
                  </a:cubicBezTo>
                  <a:cubicBezTo>
                    <a:pt x="539" y="21"/>
                    <a:pt x="539" y="22"/>
                    <a:pt x="538" y="22"/>
                  </a:cubicBezTo>
                  <a:cubicBezTo>
                    <a:pt x="538" y="22"/>
                    <a:pt x="538" y="22"/>
                    <a:pt x="538" y="22"/>
                  </a:cubicBezTo>
                  <a:cubicBezTo>
                    <a:pt x="538" y="22"/>
                    <a:pt x="538" y="22"/>
                    <a:pt x="538" y="23"/>
                  </a:cubicBezTo>
                  <a:cubicBezTo>
                    <a:pt x="538" y="23"/>
                    <a:pt x="538" y="23"/>
                    <a:pt x="538" y="23"/>
                  </a:cubicBezTo>
                  <a:cubicBezTo>
                    <a:pt x="538" y="23"/>
                    <a:pt x="538" y="23"/>
                    <a:pt x="538" y="23"/>
                  </a:cubicBezTo>
                  <a:cubicBezTo>
                    <a:pt x="538" y="23"/>
                    <a:pt x="538" y="23"/>
                    <a:pt x="538" y="24"/>
                  </a:cubicBezTo>
                  <a:cubicBezTo>
                    <a:pt x="538" y="24"/>
                    <a:pt x="538" y="24"/>
                    <a:pt x="538" y="24"/>
                  </a:cubicBezTo>
                  <a:cubicBezTo>
                    <a:pt x="538" y="24"/>
                    <a:pt x="538" y="24"/>
                    <a:pt x="538" y="24"/>
                  </a:cubicBezTo>
                  <a:cubicBezTo>
                    <a:pt x="537" y="24"/>
                    <a:pt x="538" y="25"/>
                    <a:pt x="537" y="25"/>
                  </a:cubicBezTo>
                  <a:cubicBezTo>
                    <a:pt x="538" y="25"/>
                    <a:pt x="538" y="25"/>
                    <a:pt x="537" y="25"/>
                  </a:cubicBezTo>
                  <a:cubicBezTo>
                    <a:pt x="537" y="26"/>
                    <a:pt x="537" y="26"/>
                    <a:pt x="537" y="27"/>
                  </a:cubicBezTo>
                  <a:cubicBezTo>
                    <a:pt x="537" y="28"/>
                    <a:pt x="537" y="29"/>
                    <a:pt x="537" y="30"/>
                  </a:cubicBezTo>
                  <a:cubicBezTo>
                    <a:pt x="537" y="32"/>
                    <a:pt x="537" y="35"/>
                    <a:pt x="538" y="37"/>
                  </a:cubicBezTo>
                  <a:cubicBezTo>
                    <a:pt x="539" y="42"/>
                    <a:pt x="541" y="46"/>
                    <a:pt x="545" y="49"/>
                  </a:cubicBezTo>
                  <a:cubicBezTo>
                    <a:pt x="548" y="52"/>
                    <a:pt x="552" y="55"/>
                    <a:pt x="556" y="57"/>
                  </a:cubicBezTo>
                  <a:cubicBezTo>
                    <a:pt x="559" y="58"/>
                    <a:pt x="561" y="60"/>
                    <a:pt x="563" y="61"/>
                  </a:cubicBezTo>
                  <a:cubicBezTo>
                    <a:pt x="567" y="63"/>
                    <a:pt x="570" y="65"/>
                    <a:pt x="573" y="68"/>
                  </a:cubicBezTo>
                  <a:cubicBezTo>
                    <a:pt x="576" y="71"/>
                    <a:pt x="578" y="75"/>
                    <a:pt x="578" y="79"/>
                  </a:cubicBezTo>
                  <a:cubicBezTo>
                    <a:pt x="578" y="86"/>
                    <a:pt x="574" y="90"/>
                    <a:pt x="568" y="92"/>
                  </a:cubicBezTo>
                  <a:cubicBezTo>
                    <a:pt x="566" y="93"/>
                    <a:pt x="563" y="93"/>
                    <a:pt x="561" y="93"/>
                  </a:cubicBezTo>
                  <a:cubicBezTo>
                    <a:pt x="553" y="93"/>
                    <a:pt x="545" y="91"/>
                    <a:pt x="538" y="86"/>
                  </a:cubicBezTo>
                  <a:cubicBezTo>
                    <a:pt x="538" y="85"/>
                    <a:pt x="537" y="85"/>
                    <a:pt x="537" y="85"/>
                  </a:cubicBezTo>
                  <a:cubicBezTo>
                    <a:pt x="537" y="89"/>
                    <a:pt x="537" y="93"/>
                    <a:pt x="537" y="97"/>
                  </a:cubicBezTo>
                  <a:cubicBezTo>
                    <a:pt x="537" y="98"/>
                    <a:pt x="537" y="98"/>
                    <a:pt x="538" y="98"/>
                  </a:cubicBezTo>
                  <a:cubicBezTo>
                    <a:pt x="539" y="99"/>
                    <a:pt x="541" y="100"/>
                    <a:pt x="543" y="100"/>
                  </a:cubicBezTo>
                  <a:cubicBezTo>
                    <a:pt x="546" y="102"/>
                    <a:pt x="550" y="102"/>
                    <a:pt x="553" y="103"/>
                  </a:cubicBezTo>
                  <a:cubicBezTo>
                    <a:pt x="555" y="103"/>
                    <a:pt x="556" y="103"/>
                    <a:pt x="557" y="103"/>
                  </a:cubicBezTo>
                  <a:cubicBezTo>
                    <a:pt x="558" y="103"/>
                    <a:pt x="559" y="103"/>
                    <a:pt x="560" y="103"/>
                  </a:cubicBezTo>
                  <a:cubicBezTo>
                    <a:pt x="561" y="103"/>
                    <a:pt x="562" y="103"/>
                    <a:pt x="564" y="103"/>
                  </a:cubicBezTo>
                  <a:cubicBezTo>
                    <a:pt x="564" y="103"/>
                    <a:pt x="564" y="103"/>
                    <a:pt x="564" y="103"/>
                  </a:cubicBezTo>
                  <a:cubicBezTo>
                    <a:pt x="565" y="103"/>
                    <a:pt x="566" y="103"/>
                    <a:pt x="566" y="103"/>
                  </a:cubicBezTo>
                  <a:cubicBezTo>
                    <a:pt x="566" y="102"/>
                    <a:pt x="567" y="102"/>
                    <a:pt x="567" y="103"/>
                  </a:cubicBezTo>
                  <a:cubicBezTo>
                    <a:pt x="567" y="102"/>
                    <a:pt x="568" y="103"/>
                    <a:pt x="568" y="102"/>
                  </a:cubicBezTo>
                  <a:cubicBezTo>
                    <a:pt x="568" y="102"/>
                    <a:pt x="568" y="102"/>
                    <a:pt x="568" y="102"/>
                  </a:cubicBezTo>
                  <a:cubicBezTo>
                    <a:pt x="569" y="102"/>
                    <a:pt x="569" y="102"/>
                    <a:pt x="569" y="102"/>
                  </a:cubicBezTo>
                  <a:cubicBezTo>
                    <a:pt x="569" y="102"/>
                    <a:pt x="569" y="102"/>
                    <a:pt x="570" y="102"/>
                  </a:cubicBezTo>
                  <a:cubicBezTo>
                    <a:pt x="570" y="102"/>
                    <a:pt x="570" y="102"/>
                    <a:pt x="570" y="102"/>
                  </a:cubicBezTo>
                  <a:cubicBezTo>
                    <a:pt x="570" y="102"/>
                    <a:pt x="570" y="102"/>
                    <a:pt x="570" y="102"/>
                  </a:cubicBezTo>
                  <a:cubicBezTo>
                    <a:pt x="570" y="102"/>
                    <a:pt x="571" y="102"/>
                    <a:pt x="571" y="101"/>
                  </a:cubicBezTo>
                  <a:cubicBezTo>
                    <a:pt x="571" y="101"/>
                    <a:pt x="571" y="101"/>
                    <a:pt x="571" y="101"/>
                  </a:cubicBezTo>
                  <a:cubicBezTo>
                    <a:pt x="571" y="101"/>
                    <a:pt x="572" y="101"/>
                    <a:pt x="572" y="101"/>
                  </a:cubicBezTo>
                  <a:cubicBezTo>
                    <a:pt x="572" y="101"/>
                    <a:pt x="572" y="101"/>
                    <a:pt x="572" y="101"/>
                  </a:cubicBezTo>
                  <a:cubicBezTo>
                    <a:pt x="572" y="101"/>
                    <a:pt x="573" y="101"/>
                    <a:pt x="573" y="101"/>
                  </a:cubicBezTo>
                  <a:cubicBezTo>
                    <a:pt x="573" y="101"/>
                    <a:pt x="573" y="101"/>
                    <a:pt x="573" y="101"/>
                  </a:cubicBezTo>
                  <a:cubicBezTo>
                    <a:pt x="573" y="101"/>
                    <a:pt x="574" y="101"/>
                    <a:pt x="574" y="100"/>
                  </a:cubicBezTo>
                  <a:cubicBezTo>
                    <a:pt x="574" y="100"/>
                    <a:pt x="574" y="100"/>
                    <a:pt x="574" y="100"/>
                  </a:cubicBezTo>
                  <a:cubicBezTo>
                    <a:pt x="574" y="100"/>
                    <a:pt x="574" y="100"/>
                    <a:pt x="574" y="100"/>
                  </a:cubicBezTo>
                  <a:cubicBezTo>
                    <a:pt x="574" y="100"/>
                    <a:pt x="575" y="100"/>
                    <a:pt x="575" y="100"/>
                  </a:cubicBezTo>
                  <a:cubicBezTo>
                    <a:pt x="575" y="100"/>
                    <a:pt x="575" y="100"/>
                    <a:pt x="575" y="100"/>
                  </a:cubicBezTo>
                  <a:cubicBezTo>
                    <a:pt x="575" y="100"/>
                    <a:pt x="576" y="100"/>
                    <a:pt x="576" y="100"/>
                  </a:cubicBezTo>
                  <a:cubicBezTo>
                    <a:pt x="576" y="100"/>
                    <a:pt x="576" y="100"/>
                    <a:pt x="576" y="100"/>
                  </a:cubicBezTo>
                  <a:cubicBezTo>
                    <a:pt x="576" y="100"/>
                    <a:pt x="576" y="100"/>
                    <a:pt x="576" y="99"/>
                  </a:cubicBezTo>
                  <a:cubicBezTo>
                    <a:pt x="576" y="99"/>
                    <a:pt x="576" y="99"/>
                    <a:pt x="576" y="99"/>
                  </a:cubicBezTo>
                  <a:cubicBezTo>
                    <a:pt x="577" y="99"/>
                    <a:pt x="577" y="99"/>
                    <a:pt x="577" y="99"/>
                  </a:cubicBezTo>
                  <a:cubicBezTo>
                    <a:pt x="577" y="99"/>
                    <a:pt x="577" y="99"/>
                    <a:pt x="577" y="99"/>
                  </a:cubicBezTo>
                  <a:cubicBezTo>
                    <a:pt x="577" y="99"/>
                    <a:pt x="578" y="99"/>
                    <a:pt x="578" y="99"/>
                  </a:cubicBezTo>
                  <a:cubicBezTo>
                    <a:pt x="578" y="99"/>
                    <a:pt x="578" y="99"/>
                    <a:pt x="578" y="99"/>
                  </a:cubicBezTo>
                  <a:cubicBezTo>
                    <a:pt x="578" y="99"/>
                    <a:pt x="578" y="98"/>
                    <a:pt x="578" y="98"/>
                  </a:cubicBezTo>
                  <a:cubicBezTo>
                    <a:pt x="578" y="98"/>
                    <a:pt x="578" y="98"/>
                    <a:pt x="578" y="98"/>
                  </a:cubicBezTo>
                  <a:cubicBezTo>
                    <a:pt x="578" y="98"/>
                    <a:pt x="579" y="98"/>
                    <a:pt x="579" y="98"/>
                  </a:cubicBezTo>
                  <a:cubicBezTo>
                    <a:pt x="579" y="98"/>
                    <a:pt x="579" y="98"/>
                    <a:pt x="579" y="98"/>
                  </a:cubicBezTo>
                  <a:cubicBezTo>
                    <a:pt x="579" y="98"/>
                    <a:pt x="579" y="98"/>
                    <a:pt x="579" y="98"/>
                  </a:cubicBezTo>
                  <a:cubicBezTo>
                    <a:pt x="579" y="98"/>
                    <a:pt x="579" y="98"/>
                    <a:pt x="579" y="98"/>
                  </a:cubicBezTo>
                  <a:cubicBezTo>
                    <a:pt x="579" y="97"/>
                    <a:pt x="580" y="98"/>
                    <a:pt x="580" y="97"/>
                  </a:cubicBezTo>
                  <a:cubicBezTo>
                    <a:pt x="580" y="97"/>
                    <a:pt x="580" y="97"/>
                    <a:pt x="580" y="97"/>
                  </a:cubicBezTo>
                  <a:cubicBezTo>
                    <a:pt x="580" y="97"/>
                    <a:pt x="580" y="97"/>
                    <a:pt x="580" y="97"/>
                  </a:cubicBezTo>
                  <a:cubicBezTo>
                    <a:pt x="580" y="97"/>
                    <a:pt x="580" y="97"/>
                    <a:pt x="580" y="97"/>
                  </a:cubicBezTo>
                  <a:cubicBezTo>
                    <a:pt x="580" y="97"/>
                    <a:pt x="580" y="97"/>
                    <a:pt x="581" y="97"/>
                  </a:cubicBezTo>
                  <a:cubicBezTo>
                    <a:pt x="581" y="97"/>
                    <a:pt x="581" y="97"/>
                    <a:pt x="581" y="97"/>
                  </a:cubicBezTo>
                  <a:cubicBezTo>
                    <a:pt x="581" y="96"/>
                    <a:pt x="581" y="97"/>
                    <a:pt x="581" y="96"/>
                  </a:cubicBezTo>
                  <a:cubicBezTo>
                    <a:pt x="581" y="96"/>
                    <a:pt x="581" y="96"/>
                    <a:pt x="581" y="96"/>
                  </a:cubicBezTo>
                  <a:cubicBezTo>
                    <a:pt x="581" y="96"/>
                    <a:pt x="582" y="96"/>
                    <a:pt x="582" y="96"/>
                  </a:cubicBezTo>
                  <a:cubicBezTo>
                    <a:pt x="582" y="96"/>
                    <a:pt x="582" y="96"/>
                    <a:pt x="582" y="96"/>
                  </a:cubicBezTo>
                  <a:cubicBezTo>
                    <a:pt x="582" y="96"/>
                    <a:pt x="582" y="96"/>
                    <a:pt x="582" y="96"/>
                  </a:cubicBezTo>
                  <a:cubicBezTo>
                    <a:pt x="582" y="96"/>
                    <a:pt x="582" y="96"/>
                    <a:pt x="582" y="96"/>
                  </a:cubicBezTo>
                  <a:cubicBezTo>
                    <a:pt x="582" y="95"/>
                    <a:pt x="582" y="95"/>
                    <a:pt x="582" y="95"/>
                  </a:cubicBezTo>
                  <a:cubicBezTo>
                    <a:pt x="582" y="95"/>
                    <a:pt x="582" y="95"/>
                    <a:pt x="582" y="95"/>
                  </a:cubicBezTo>
                  <a:cubicBezTo>
                    <a:pt x="582" y="95"/>
                    <a:pt x="583" y="95"/>
                    <a:pt x="583" y="95"/>
                  </a:cubicBezTo>
                  <a:cubicBezTo>
                    <a:pt x="583" y="95"/>
                    <a:pt x="583" y="95"/>
                    <a:pt x="583" y="95"/>
                  </a:cubicBezTo>
                  <a:cubicBezTo>
                    <a:pt x="583" y="95"/>
                    <a:pt x="583" y="95"/>
                    <a:pt x="583" y="95"/>
                  </a:cubicBezTo>
                  <a:cubicBezTo>
                    <a:pt x="583" y="95"/>
                    <a:pt x="583" y="95"/>
                    <a:pt x="583" y="95"/>
                  </a:cubicBezTo>
                  <a:cubicBezTo>
                    <a:pt x="583" y="94"/>
                    <a:pt x="583" y="94"/>
                    <a:pt x="583" y="94"/>
                  </a:cubicBezTo>
                  <a:cubicBezTo>
                    <a:pt x="583" y="94"/>
                    <a:pt x="583" y="94"/>
                    <a:pt x="583" y="94"/>
                  </a:cubicBezTo>
                  <a:cubicBezTo>
                    <a:pt x="583" y="94"/>
                    <a:pt x="584" y="94"/>
                    <a:pt x="584" y="94"/>
                  </a:cubicBezTo>
                  <a:cubicBezTo>
                    <a:pt x="584" y="94"/>
                    <a:pt x="584" y="94"/>
                    <a:pt x="584" y="94"/>
                  </a:cubicBezTo>
                  <a:cubicBezTo>
                    <a:pt x="584" y="94"/>
                    <a:pt x="584" y="94"/>
                    <a:pt x="584" y="93"/>
                  </a:cubicBezTo>
                  <a:cubicBezTo>
                    <a:pt x="584" y="93"/>
                    <a:pt x="584" y="93"/>
                    <a:pt x="584" y="93"/>
                  </a:cubicBezTo>
                  <a:cubicBezTo>
                    <a:pt x="584" y="93"/>
                    <a:pt x="584" y="93"/>
                    <a:pt x="584" y="93"/>
                  </a:cubicBezTo>
                  <a:cubicBezTo>
                    <a:pt x="584" y="93"/>
                    <a:pt x="584" y="93"/>
                    <a:pt x="584" y="93"/>
                  </a:cubicBezTo>
                  <a:cubicBezTo>
                    <a:pt x="585" y="93"/>
                    <a:pt x="585" y="93"/>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5" y="92"/>
                    <a:pt x="585" y="92"/>
                    <a:pt x="585" y="92"/>
                  </a:cubicBezTo>
                  <a:cubicBezTo>
                    <a:pt x="586" y="92"/>
                    <a:pt x="586" y="91"/>
                    <a:pt x="586" y="91"/>
                  </a:cubicBezTo>
                  <a:cubicBezTo>
                    <a:pt x="586" y="91"/>
                    <a:pt x="586" y="91"/>
                    <a:pt x="586" y="91"/>
                  </a:cubicBezTo>
                  <a:cubicBezTo>
                    <a:pt x="586" y="91"/>
                    <a:pt x="586" y="91"/>
                    <a:pt x="586" y="90"/>
                  </a:cubicBezTo>
                  <a:cubicBezTo>
                    <a:pt x="586" y="90"/>
                    <a:pt x="586" y="90"/>
                    <a:pt x="586" y="90"/>
                  </a:cubicBezTo>
                  <a:cubicBezTo>
                    <a:pt x="586" y="90"/>
                    <a:pt x="586" y="90"/>
                    <a:pt x="586" y="90"/>
                  </a:cubicBezTo>
                  <a:cubicBezTo>
                    <a:pt x="586" y="90"/>
                    <a:pt x="586" y="90"/>
                    <a:pt x="586" y="90"/>
                  </a:cubicBezTo>
                  <a:cubicBezTo>
                    <a:pt x="587" y="90"/>
                    <a:pt x="587" y="89"/>
                    <a:pt x="587" y="89"/>
                  </a:cubicBezTo>
                  <a:cubicBezTo>
                    <a:pt x="587" y="89"/>
                    <a:pt x="587" y="89"/>
                    <a:pt x="587" y="89"/>
                  </a:cubicBezTo>
                  <a:cubicBezTo>
                    <a:pt x="587" y="89"/>
                    <a:pt x="587" y="89"/>
                    <a:pt x="587" y="89"/>
                  </a:cubicBezTo>
                  <a:cubicBezTo>
                    <a:pt x="587" y="89"/>
                    <a:pt x="587" y="89"/>
                    <a:pt x="587" y="89"/>
                  </a:cubicBezTo>
                  <a:cubicBezTo>
                    <a:pt x="588" y="88"/>
                    <a:pt x="587" y="88"/>
                    <a:pt x="588" y="88"/>
                  </a:cubicBezTo>
                  <a:cubicBezTo>
                    <a:pt x="588" y="88"/>
                    <a:pt x="588" y="88"/>
                    <a:pt x="588" y="88"/>
                  </a:cubicBezTo>
                  <a:cubicBezTo>
                    <a:pt x="588" y="87"/>
                    <a:pt x="588" y="87"/>
                    <a:pt x="588" y="87"/>
                  </a:cubicBezTo>
                  <a:cubicBezTo>
                    <a:pt x="588" y="87"/>
                    <a:pt x="588" y="87"/>
                    <a:pt x="588" y="87"/>
                  </a:cubicBezTo>
                  <a:cubicBezTo>
                    <a:pt x="588" y="86"/>
                    <a:pt x="588" y="86"/>
                    <a:pt x="588" y="86"/>
                  </a:cubicBezTo>
                  <a:cubicBezTo>
                    <a:pt x="588" y="86"/>
                    <a:pt x="588" y="86"/>
                    <a:pt x="588" y="85"/>
                  </a:cubicBezTo>
                  <a:cubicBezTo>
                    <a:pt x="589" y="85"/>
                    <a:pt x="588" y="85"/>
                    <a:pt x="589" y="84"/>
                  </a:cubicBezTo>
                  <a:close/>
                  <a:moveTo>
                    <a:pt x="300" y="53"/>
                  </a:moveTo>
                  <a:cubicBezTo>
                    <a:pt x="297" y="43"/>
                    <a:pt x="290" y="37"/>
                    <a:pt x="280" y="34"/>
                  </a:cubicBezTo>
                  <a:cubicBezTo>
                    <a:pt x="274" y="32"/>
                    <a:pt x="268" y="32"/>
                    <a:pt x="262" y="33"/>
                  </a:cubicBezTo>
                  <a:cubicBezTo>
                    <a:pt x="251" y="35"/>
                    <a:pt x="243" y="42"/>
                    <a:pt x="239" y="52"/>
                  </a:cubicBezTo>
                  <a:cubicBezTo>
                    <a:pt x="235" y="62"/>
                    <a:pt x="235" y="72"/>
                    <a:pt x="238" y="82"/>
                  </a:cubicBezTo>
                  <a:cubicBezTo>
                    <a:pt x="241" y="91"/>
                    <a:pt x="248" y="98"/>
                    <a:pt x="257" y="101"/>
                  </a:cubicBezTo>
                  <a:cubicBezTo>
                    <a:pt x="263" y="103"/>
                    <a:pt x="269" y="104"/>
                    <a:pt x="275" y="103"/>
                  </a:cubicBezTo>
                  <a:cubicBezTo>
                    <a:pt x="286" y="101"/>
                    <a:pt x="294" y="95"/>
                    <a:pt x="299" y="86"/>
                  </a:cubicBezTo>
                  <a:cubicBezTo>
                    <a:pt x="301" y="80"/>
                    <a:pt x="302" y="74"/>
                    <a:pt x="302" y="67"/>
                  </a:cubicBezTo>
                  <a:cubicBezTo>
                    <a:pt x="302" y="63"/>
                    <a:pt x="302" y="58"/>
                    <a:pt x="300" y="53"/>
                  </a:cubicBezTo>
                  <a:close/>
                  <a:moveTo>
                    <a:pt x="422" y="54"/>
                  </a:moveTo>
                  <a:cubicBezTo>
                    <a:pt x="419" y="43"/>
                    <a:pt x="412" y="37"/>
                    <a:pt x="401" y="34"/>
                  </a:cubicBezTo>
                  <a:cubicBezTo>
                    <a:pt x="396" y="32"/>
                    <a:pt x="390" y="32"/>
                    <a:pt x="384" y="33"/>
                  </a:cubicBezTo>
                  <a:cubicBezTo>
                    <a:pt x="374" y="35"/>
                    <a:pt x="366" y="41"/>
                    <a:pt x="362" y="50"/>
                  </a:cubicBezTo>
                  <a:cubicBezTo>
                    <a:pt x="357" y="60"/>
                    <a:pt x="356" y="74"/>
                    <a:pt x="361" y="84"/>
                  </a:cubicBezTo>
                  <a:cubicBezTo>
                    <a:pt x="365" y="94"/>
                    <a:pt x="371" y="100"/>
                    <a:pt x="381" y="102"/>
                  </a:cubicBezTo>
                  <a:cubicBezTo>
                    <a:pt x="386" y="103"/>
                    <a:pt x="392" y="103"/>
                    <a:pt x="397" y="103"/>
                  </a:cubicBezTo>
                  <a:cubicBezTo>
                    <a:pt x="408" y="101"/>
                    <a:pt x="415" y="95"/>
                    <a:pt x="420" y="85"/>
                  </a:cubicBezTo>
                  <a:cubicBezTo>
                    <a:pt x="423" y="80"/>
                    <a:pt x="424" y="74"/>
                    <a:pt x="424" y="67"/>
                  </a:cubicBezTo>
                  <a:cubicBezTo>
                    <a:pt x="424" y="63"/>
                    <a:pt x="423" y="58"/>
                    <a:pt x="422" y="54"/>
                  </a:cubicBezTo>
                  <a:close/>
                  <a:moveTo>
                    <a:pt x="1580" y="22"/>
                  </a:moveTo>
                  <a:cubicBezTo>
                    <a:pt x="1580" y="22"/>
                    <a:pt x="1580" y="22"/>
                    <a:pt x="1580" y="22"/>
                  </a:cubicBezTo>
                  <a:cubicBezTo>
                    <a:pt x="1580" y="22"/>
                    <a:pt x="1580" y="21"/>
                    <a:pt x="1580" y="21"/>
                  </a:cubicBezTo>
                  <a:cubicBezTo>
                    <a:pt x="1580" y="21"/>
                    <a:pt x="1580" y="21"/>
                    <a:pt x="1580" y="21"/>
                  </a:cubicBezTo>
                  <a:cubicBezTo>
                    <a:pt x="1580" y="21"/>
                    <a:pt x="1580" y="20"/>
                    <a:pt x="1580" y="20"/>
                  </a:cubicBezTo>
                  <a:cubicBezTo>
                    <a:pt x="1580" y="20"/>
                    <a:pt x="1580" y="20"/>
                    <a:pt x="1580" y="20"/>
                  </a:cubicBezTo>
                  <a:cubicBezTo>
                    <a:pt x="1579" y="20"/>
                    <a:pt x="1579" y="20"/>
                    <a:pt x="1579" y="19"/>
                  </a:cubicBezTo>
                  <a:cubicBezTo>
                    <a:pt x="1579" y="19"/>
                    <a:pt x="1579" y="19"/>
                    <a:pt x="1579" y="19"/>
                  </a:cubicBezTo>
                  <a:cubicBezTo>
                    <a:pt x="1579" y="19"/>
                    <a:pt x="1579" y="19"/>
                    <a:pt x="1579" y="19"/>
                  </a:cubicBezTo>
                  <a:cubicBezTo>
                    <a:pt x="1579" y="19"/>
                    <a:pt x="1579" y="19"/>
                    <a:pt x="1579" y="19"/>
                  </a:cubicBezTo>
                  <a:cubicBezTo>
                    <a:pt x="1579" y="18"/>
                    <a:pt x="1579" y="18"/>
                    <a:pt x="1579" y="18"/>
                  </a:cubicBezTo>
                  <a:cubicBezTo>
                    <a:pt x="1579" y="18"/>
                    <a:pt x="1579" y="18"/>
                    <a:pt x="1579" y="18"/>
                  </a:cubicBezTo>
                  <a:cubicBezTo>
                    <a:pt x="1578" y="18"/>
                    <a:pt x="1578" y="17"/>
                    <a:pt x="1578" y="17"/>
                  </a:cubicBezTo>
                  <a:cubicBezTo>
                    <a:pt x="1578" y="17"/>
                    <a:pt x="1578" y="17"/>
                    <a:pt x="1578" y="17"/>
                  </a:cubicBezTo>
                  <a:cubicBezTo>
                    <a:pt x="1578" y="17"/>
                    <a:pt x="1578" y="17"/>
                    <a:pt x="1578" y="17"/>
                  </a:cubicBezTo>
                  <a:cubicBezTo>
                    <a:pt x="1578" y="17"/>
                    <a:pt x="1578" y="17"/>
                    <a:pt x="1578" y="17"/>
                  </a:cubicBezTo>
                  <a:cubicBezTo>
                    <a:pt x="1578" y="17"/>
                    <a:pt x="1578" y="16"/>
                    <a:pt x="1577" y="16"/>
                  </a:cubicBezTo>
                  <a:cubicBezTo>
                    <a:pt x="1577" y="16"/>
                    <a:pt x="1577" y="16"/>
                    <a:pt x="1577" y="16"/>
                  </a:cubicBezTo>
                  <a:cubicBezTo>
                    <a:pt x="1577" y="16"/>
                    <a:pt x="1577" y="16"/>
                    <a:pt x="1577" y="16"/>
                  </a:cubicBezTo>
                  <a:cubicBezTo>
                    <a:pt x="1577" y="16"/>
                    <a:pt x="1577" y="16"/>
                    <a:pt x="1577" y="16"/>
                  </a:cubicBezTo>
                  <a:cubicBezTo>
                    <a:pt x="1577" y="16"/>
                    <a:pt x="1577" y="15"/>
                    <a:pt x="1576" y="15"/>
                  </a:cubicBezTo>
                  <a:cubicBezTo>
                    <a:pt x="1576" y="15"/>
                    <a:pt x="1576" y="15"/>
                    <a:pt x="1576" y="15"/>
                  </a:cubicBezTo>
                  <a:cubicBezTo>
                    <a:pt x="1576" y="15"/>
                    <a:pt x="1576" y="15"/>
                    <a:pt x="1576" y="15"/>
                  </a:cubicBezTo>
                  <a:cubicBezTo>
                    <a:pt x="1576" y="15"/>
                    <a:pt x="1576" y="15"/>
                    <a:pt x="1576" y="15"/>
                  </a:cubicBezTo>
                  <a:cubicBezTo>
                    <a:pt x="1576" y="14"/>
                    <a:pt x="1576" y="14"/>
                    <a:pt x="1576" y="14"/>
                  </a:cubicBezTo>
                  <a:cubicBezTo>
                    <a:pt x="1576" y="14"/>
                    <a:pt x="1576" y="14"/>
                    <a:pt x="1576" y="14"/>
                  </a:cubicBezTo>
                  <a:cubicBezTo>
                    <a:pt x="1576" y="14"/>
                    <a:pt x="1576" y="14"/>
                    <a:pt x="1575" y="14"/>
                  </a:cubicBezTo>
                  <a:cubicBezTo>
                    <a:pt x="1575" y="14"/>
                    <a:pt x="1575" y="14"/>
                    <a:pt x="1575" y="14"/>
                  </a:cubicBezTo>
                  <a:cubicBezTo>
                    <a:pt x="1575" y="14"/>
                    <a:pt x="1575" y="14"/>
                    <a:pt x="1575" y="13"/>
                  </a:cubicBezTo>
                  <a:cubicBezTo>
                    <a:pt x="1575" y="13"/>
                    <a:pt x="1575" y="13"/>
                    <a:pt x="1575" y="13"/>
                  </a:cubicBezTo>
                  <a:cubicBezTo>
                    <a:pt x="1575" y="13"/>
                    <a:pt x="1575" y="13"/>
                    <a:pt x="1575" y="13"/>
                  </a:cubicBezTo>
                  <a:cubicBezTo>
                    <a:pt x="1575" y="13"/>
                    <a:pt x="1575" y="13"/>
                    <a:pt x="1575" y="13"/>
                  </a:cubicBezTo>
                  <a:cubicBezTo>
                    <a:pt x="1575" y="13"/>
                    <a:pt x="1575" y="13"/>
                    <a:pt x="1574" y="13"/>
                  </a:cubicBezTo>
                  <a:cubicBezTo>
                    <a:pt x="1574" y="13"/>
                    <a:pt x="1574" y="13"/>
                    <a:pt x="1574" y="13"/>
                  </a:cubicBezTo>
                  <a:cubicBezTo>
                    <a:pt x="1574" y="13"/>
                    <a:pt x="1574" y="13"/>
                    <a:pt x="1574" y="12"/>
                  </a:cubicBezTo>
                  <a:cubicBezTo>
                    <a:pt x="1574" y="12"/>
                    <a:pt x="1574" y="12"/>
                    <a:pt x="1574" y="12"/>
                  </a:cubicBezTo>
                  <a:cubicBezTo>
                    <a:pt x="1574" y="12"/>
                    <a:pt x="1574" y="12"/>
                    <a:pt x="1574" y="12"/>
                  </a:cubicBezTo>
                  <a:cubicBezTo>
                    <a:pt x="1574" y="12"/>
                    <a:pt x="1574" y="12"/>
                    <a:pt x="1574" y="12"/>
                  </a:cubicBezTo>
                  <a:cubicBezTo>
                    <a:pt x="1574" y="12"/>
                    <a:pt x="1573" y="12"/>
                    <a:pt x="1573" y="12"/>
                  </a:cubicBezTo>
                  <a:cubicBezTo>
                    <a:pt x="1573" y="12"/>
                    <a:pt x="1573" y="12"/>
                    <a:pt x="1573" y="12"/>
                  </a:cubicBezTo>
                  <a:cubicBezTo>
                    <a:pt x="1573" y="12"/>
                    <a:pt x="1573" y="11"/>
                    <a:pt x="1573" y="11"/>
                  </a:cubicBezTo>
                  <a:cubicBezTo>
                    <a:pt x="1573" y="11"/>
                    <a:pt x="1573" y="11"/>
                    <a:pt x="1573" y="11"/>
                  </a:cubicBezTo>
                  <a:cubicBezTo>
                    <a:pt x="1573" y="11"/>
                    <a:pt x="1572" y="11"/>
                    <a:pt x="1572" y="11"/>
                  </a:cubicBezTo>
                  <a:cubicBezTo>
                    <a:pt x="1572" y="11"/>
                    <a:pt x="1572" y="11"/>
                    <a:pt x="1572" y="11"/>
                  </a:cubicBezTo>
                  <a:cubicBezTo>
                    <a:pt x="1572" y="11"/>
                    <a:pt x="1572" y="11"/>
                    <a:pt x="1572" y="11"/>
                  </a:cubicBezTo>
                  <a:cubicBezTo>
                    <a:pt x="1572" y="11"/>
                    <a:pt x="1572" y="11"/>
                    <a:pt x="1572" y="11"/>
                  </a:cubicBezTo>
                  <a:cubicBezTo>
                    <a:pt x="1572" y="10"/>
                    <a:pt x="1571" y="10"/>
                    <a:pt x="1571" y="10"/>
                  </a:cubicBezTo>
                  <a:cubicBezTo>
                    <a:pt x="1571" y="10"/>
                    <a:pt x="1571" y="10"/>
                    <a:pt x="1571" y="10"/>
                  </a:cubicBezTo>
                  <a:cubicBezTo>
                    <a:pt x="1571" y="10"/>
                    <a:pt x="1570" y="10"/>
                    <a:pt x="1570" y="10"/>
                  </a:cubicBezTo>
                  <a:cubicBezTo>
                    <a:pt x="1570" y="10"/>
                    <a:pt x="1570" y="10"/>
                    <a:pt x="1570" y="10"/>
                  </a:cubicBezTo>
                  <a:cubicBezTo>
                    <a:pt x="1570" y="9"/>
                    <a:pt x="1570" y="9"/>
                    <a:pt x="1570" y="9"/>
                  </a:cubicBezTo>
                  <a:cubicBezTo>
                    <a:pt x="1570" y="9"/>
                    <a:pt x="1570" y="9"/>
                    <a:pt x="1570" y="9"/>
                  </a:cubicBezTo>
                  <a:cubicBezTo>
                    <a:pt x="1570" y="9"/>
                    <a:pt x="1569" y="9"/>
                    <a:pt x="1569" y="9"/>
                  </a:cubicBezTo>
                  <a:cubicBezTo>
                    <a:pt x="1569" y="9"/>
                    <a:pt x="1569" y="9"/>
                    <a:pt x="1569" y="9"/>
                  </a:cubicBezTo>
                  <a:cubicBezTo>
                    <a:pt x="1569" y="9"/>
                    <a:pt x="1569" y="9"/>
                    <a:pt x="1568" y="9"/>
                  </a:cubicBezTo>
                  <a:cubicBezTo>
                    <a:pt x="1568" y="9"/>
                    <a:pt x="1568" y="9"/>
                    <a:pt x="1568" y="9"/>
                  </a:cubicBezTo>
                  <a:cubicBezTo>
                    <a:pt x="1568" y="8"/>
                    <a:pt x="1568" y="8"/>
                    <a:pt x="1568" y="8"/>
                  </a:cubicBezTo>
                  <a:cubicBezTo>
                    <a:pt x="1568" y="8"/>
                    <a:pt x="1568" y="8"/>
                    <a:pt x="1568" y="8"/>
                  </a:cubicBezTo>
                  <a:cubicBezTo>
                    <a:pt x="1568" y="8"/>
                    <a:pt x="1567" y="8"/>
                    <a:pt x="1567" y="8"/>
                  </a:cubicBezTo>
                  <a:cubicBezTo>
                    <a:pt x="1567" y="8"/>
                    <a:pt x="1567" y="8"/>
                    <a:pt x="1567" y="8"/>
                  </a:cubicBezTo>
                  <a:cubicBezTo>
                    <a:pt x="1567" y="8"/>
                    <a:pt x="1566" y="8"/>
                    <a:pt x="1566" y="8"/>
                  </a:cubicBezTo>
                  <a:cubicBezTo>
                    <a:pt x="1566" y="8"/>
                    <a:pt x="1566" y="8"/>
                    <a:pt x="1566" y="7"/>
                  </a:cubicBezTo>
                  <a:cubicBezTo>
                    <a:pt x="1565" y="7"/>
                    <a:pt x="1565" y="7"/>
                    <a:pt x="1565" y="7"/>
                  </a:cubicBezTo>
                  <a:cubicBezTo>
                    <a:pt x="1565" y="7"/>
                    <a:pt x="1565" y="7"/>
                    <a:pt x="1565" y="7"/>
                  </a:cubicBezTo>
                  <a:cubicBezTo>
                    <a:pt x="1564" y="7"/>
                    <a:pt x="1564" y="7"/>
                    <a:pt x="1564" y="7"/>
                  </a:cubicBezTo>
                  <a:cubicBezTo>
                    <a:pt x="1564" y="7"/>
                    <a:pt x="1564" y="7"/>
                    <a:pt x="1564" y="7"/>
                  </a:cubicBezTo>
                  <a:cubicBezTo>
                    <a:pt x="1564" y="7"/>
                    <a:pt x="1564" y="7"/>
                    <a:pt x="1564" y="7"/>
                  </a:cubicBezTo>
                  <a:cubicBezTo>
                    <a:pt x="1563" y="7"/>
                    <a:pt x="1563" y="7"/>
                    <a:pt x="1562" y="7"/>
                  </a:cubicBezTo>
                  <a:cubicBezTo>
                    <a:pt x="1562" y="7"/>
                    <a:pt x="1562" y="7"/>
                    <a:pt x="1562" y="7"/>
                  </a:cubicBezTo>
                  <a:cubicBezTo>
                    <a:pt x="1562" y="6"/>
                    <a:pt x="1562" y="6"/>
                    <a:pt x="1562" y="6"/>
                  </a:cubicBezTo>
                  <a:cubicBezTo>
                    <a:pt x="1562" y="6"/>
                    <a:pt x="1561" y="7"/>
                    <a:pt x="1560" y="6"/>
                  </a:cubicBezTo>
                  <a:cubicBezTo>
                    <a:pt x="1560" y="6"/>
                    <a:pt x="1560" y="6"/>
                    <a:pt x="1560" y="6"/>
                  </a:cubicBezTo>
                  <a:cubicBezTo>
                    <a:pt x="1559" y="6"/>
                    <a:pt x="1558" y="6"/>
                    <a:pt x="1558" y="6"/>
                  </a:cubicBezTo>
                  <a:cubicBezTo>
                    <a:pt x="1557" y="6"/>
                    <a:pt x="1556" y="6"/>
                    <a:pt x="1556" y="6"/>
                  </a:cubicBezTo>
                  <a:cubicBezTo>
                    <a:pt x="1555" y="6"/>
                    <a:pt x="1554" y="6"/>
                    <a:pt x="1554" y="6"/>
                  </a:cubicBezTo>
                  <a:cubicBezTo>
                    <a:pt x="1553" y="6"/>
                    <a:pt x="1552" y="6"/>
                    <a:pt x="1551" y="6"/>
                  </a:cubicBezTo>
                  <a:cubicBezTo>
                    <a:pt x="1550" y="6"/>
                    <a:pt x="1549" y="6"/>
                    <a:pt x="1549" y="6"/>
                  </a:cubicBezTo>
                  <a:cubicBezTo>
                    <a:pt x="1548" y="6"/>
                    <a:pt x="1548" y="6"/>
                    <a:pt x="1548" y="6"/>
                  </a:cubicBezTo>
                  <a:cubicBezTo>
                    <a:pt x="1547" y="7"/>
                    <a:pt x="1547" y="6"/>
                    <a:pt x="1546" y="6"/>
                  </a:cubicBezTo>
                  <a:cubicBezTo>
                    <a:pt x="1546" y="7"/>
                    <a:pt x="1546" y="7"/>
                    <a:pt x="1546" y="7"/>
                  </a:cubicBezTo>
                  <a:cubicBezTo>
                    <a:pt x="1546" y="7"/>
                    <a:pt x="1546" y="7"/>
                    <a:pt x="1546" y="7"/>
                  </a:cubicBezTo>
                  <a:cubicBezTo>
                    <a:pt x="1546" y="7"/>
                    <a:pt x="1545" y="7"/>
                    <a:pt x="1545" y="7"/>
                  </a:cubicBezTo>
                  <a:cubicBezTo>
                    <a:pt x="1545" y="7"/>
                    <a:pt x="1545" y="7"/>
                    <a:pt x="1545" y="7"/>
                  </a:cubicBezTo>
                  <a:cubicBezTo>
                    <a:pt x="1544" y="7"/>
                    <a:pt x="1544" y="7"/>
                    <a:pt x="1543" y="7"/>
                  </a:cubicBezTo>
                  <a:cubicBezTo>
                    <a:pt x="1543" y="7"/>
                    <a:pt x="1543" y="7"/>
                    <a:pt x="1543" y="7"/>
                  </a:cubicBezTo>
                  <a:cubicBezTo>
                    <a:pt x="1543" y="7"/>
                    <a:pt x="1543" y="7"/>
                    <a:pt x="1543" y="7"/>
                  </a:cubicBezTo>
                  <a:cubicBezTo>
                    <a:pt x="1543" y="7"/>
                    <a:pt x="1543" y="7"/>
                    <a:pt x="1542" y="8"/>
                  </a:cubicBezTo>
                  <a:cubicBezTo>
                    <a:pt x="1542" y="8"/>
                    <a:pt x="1542" y="8"/>
                    <a:pt x="1542" y="8"/>
                  </a:cubicBezTo>
                  <a:cubicBezTo>
                    <a:pt x="1542" y="8"/>
                    <a:pt x="1542" y="8"/>
                    <a:pt x="1542" y="8"/>
                  </a:cubicBezTo>
                  <a:cubicBezTo>
                    <a:pt x="1542" y="8"/>
                    <a:pt x="1542" y="8"/>
                    <a:pt x="1541" y="8"/>
                  </a:cubicBezTo>
                  <a:cubicBezTo>
                    <a:pt x="1541" y="8"/>
                    <a:pt x="1541" y="8"/>
                    <a:pt x="1541" y="8"/>
                  </a:cubicBezTo>
                  <a:cubicBezTo>
                    <a:pt x="1541" y="8"/>
                    <a:pt x="1541" y="8"/>
                    <a:pt x="1541" y="8"/>
                  </a:cubicBezTo>
                  <a:cubicBezTo>
                    <a:pt x="1541" y="8"/>
                    <a:pt x="1541" y="8"/>
                    <a:pt x="1541" y="8"/>
                  </a:cubicBezTo>
                  <a:cubicBezTo>
                    <a:pt x="1540" y="8"/>
                    <a:pt x="1540" y="8"/>
                    <a:pt x="1540" y="8"/>
                  </a:cubicBezTo>
                  <a:cubicBezTo>
                    <a:pt x="1540" y="8"/>
                    <a:pt x="1540" y="8"/>
                    <a:pt x="1540" y="9"/>
                  </a:cubicBezTo>
                  <a:cubicBezTo>
                    <a:pt x="1540" y="9"/>
                    <a:pt x="1540" y="9"/>
                    <a:pt x="1540" y="9"/>
                  </a:cubicBezTo>
                  <a:cubicBezTo>
                    <a:pt x="1539" y="9"/>
                    <a:pt x="1539" y="9"/>
                    <a:pt x="1539" y="9"/>
                  </a:cubicBezTo>
                  <a:cubicBezTo>
                    <a:pt x="1539" y="9"/>
                    <a:pt x="1539" y="9"/>
                    <a:pt x="1539" y="9"/>
                  </a:cubicBezTo>
                  <a:cubicBezTo>
                    <a:pt x="1539" y="9"/>
                    <a:pt x="1538" y="9"/>
                    <a:pt x="1538" y="9"/>
                  </a:cubicBezTo>
                  <a:cubicBezTo>
                    <a:pt x="1538" y="9"/>
                    <a:pt x="1538" y="9"/>
                    <a:pt x="1538" y="9"/>
                  </a:cubicBezTo>
                  <a:cubicBezTo>
                    <a:pt x="1538" y="9"/>
                    <a:pt x="1538" y="9"/>
                    <a:pt x="1538" y="10"/>
                  </a:cubicBezTo>
                  <a:cubicBezTo>
                    <a:pt x="1538" y="10"/>
                    <a:pt x="1538" y="10"/>
                    <a:pt x="1538" y="10"/>
                  </a:cubicBezTo>
                  <a:cubicBezTo>
                    <a:pt x="1537" y="10"/>
                    <a:pt x="1537" y="10"/>
                    <a:pt x="1537" y="10"/>
                  </a:cubicBezTo>
                  <a:cubicBezTo>
                    <a:pt x="1537" y="10"/>
                    <a:pt x="1537" y="10"/>
                    <a:pt x="1537" y="10"/>
                  </a:cubicBezTo>
                  <a:cubicBezTo>
                    <a:pt x="1537" y="10"/>
                    <a:pt x="1537" y="10"/>
                    <a:pt x="1536" y="10"/>
                  </a:cubicBezTo>
                  <a:cubicBezTo>
                    <a:pt x="1536" y="10"/>
                    <a:pt x="1536" y="10"/>
                    <a:pt x="1536" y="10"/>
                  </a:cubicBezTo>
                  <a:cubicBezTo>
                    <a:pt x="1536" y="11"/>
                    <a:pt x="1536" y="10"/>
                    <a:pt x="1536" y="11"/>
                  </a:cubicBezTo>
                  <a:cubicBezTo>
                    <a:pt x="1536" y="11"/>
                    <a:pt x="1536" y="11"/>
                    <a:pt x="1536" y="11"/>
                  </a:cubicBezTo>
                  <a:cubicBezTo>
                    <a:pt x="1536" y="11"/>
                    <a:pt x="1536" y="11"/>
                    <a:pt x="1535" y="11"/>
                  </a:cubicBezTo>
                  <a:cubicBezTo>
                    <a:pt x="1535" y="11"/>
                    <a:pt x="1535" y="11"/>
                    <a:pt x="1535" y="11"/>
                  </a:cubicBezTo>
                  <a:cubicBezTo>
                    <a:pt x="1535" y="11"/>
                    <a:pt x="1535" y="11"/>
                    <a:pt x="1535" y="11"/>
                  </a:cubicBezTo>
                  <a:cubicBezTo>
                    <a:pt x="1535" y="11"/>
                    <a:pt x="1535" y="11"/>
                    <a:pt x="1535" y="11"/>
                  </a:cubicBezTo>
                  <a:cubicBezTo>
                    <a:pt x="1535" y="11"/>
                    <a:pt x="1534" y="12"/>
                    <a:pt x="1534" y="12"/>
                  </a:cubicBezTo>
                  <a:cubicBezTo>
                    <a:pt x="1534" y="12"/>
                    <a:pt x="1534" y="12"/>
                    <a:pt x="1534" y="12"/>
                  </a:cubicBezTo>
                  <a:cubicBezTo>
                    <a:pt x="1534" y="12"/>
                    <a:pt x="1534" y="12"/>
                    <a:pt x="1534" y="12"/>
                  </a:cubicBezTo>
                  <a:cubicBezTo>
                    <a:pt x="1534" y="12"/>
                    <a:pt x="1534" y="12"/>
                    <a:pt x="1534" y="12"/>
                  </a:cubicBezTo>
                  <a:cubicBezTo>
                    <a:pt x="1534" y="12"/>
                    <a:pt x="1533" y="12"/>
                    <a:pt x="1533" y="13"/>
                  </a:cubicBezTo>
                  <a:cubicBezTo>
                    <a:pt x="1533" y="12"/>
                    <a:pt x="1533" y="12"/>
                    <a:pt x="1533" y="12"/>
                  </a:cubicBezTo>
                  <a:cubicBezTo>
                    <a:pt x="1533" y="12"/>
                    <a:pt x="1533" y="13"/>
                    <a:pt x="1533" y="13"/>
                  </a:cubicBezTo>
                  <a:cubicBezTo>
                    <a:pt x="1533" y="13"/>
                    <a:pt x="1533" y="13"/>
                    <a:pt x="1533" y="13"/>
                  </a:cubicBezTo>
                  <a:cubicBezTo>
                    <a:pt x="1533" y="13"/>
                    <a:pt x="1533" y="13"/>
                    <a:pt x="1533" y="13"/>
                  </a:cubicBezTo>
                  <a:cubicBezTo>
                    <a:pt x="1533" y="13"/>
                    <a:pt x="1533" y="13"/>
                    <a:pt x="1533" y="13"/>
                  </a:cubicBezTo>
                  <a:cubicBezTo>
                    <a:pt x="1533" y="13"/>
                    <a:pt x="1532" y="13"/>
                    <a:pt x="1532" y="13"/>
                  </a:cubicBezTo>
                  <a:cubicBezTo>
                    <a:pt x="1532" y="13"/>
                    <a:pt x="1532" y="13"/>
                    <a:pt x="1532" y="13"/>
                  </a:cubicBezTo>
                  <a:cubicBezTo>
                    <a:pt x="1532" y="14"/>
                    <a:pt x="1531" y="14"/>
                    <a:pt x="1531" y="15"/>
                  </a:cubicBezTo>
                  <a:cubicBezTo>
                    <a:pt x="1531" y="15"/>
                    <a:pt x="1531" y="15"/>
                    <a:pt x="1531" y="15"/>
                  </a:cubicBezTo>
                  <a:cubicBezTo>
                    <a:pt x="1531" y="15"/>
                    <a:pt x="1531" y="15"/>
                    <a:pt x="1531" y="15"/>
                  </a:cubicBezTo>
                  <a:cubicBezTo>
                    <a:pt x="1531" y="19"/>
                    <a:pt x="1531" y="22"/>
                    <a:pt x="1531" y="26"/>
                  </a:cubicBezTo>
                  <a:cubicBezTo>
                    <a:pt x="1531" y="26"/>
                    <a:pt x="1531" y="26"/>
                    <a:pt x="1531" y="26"/>
                  </a:cubicBezTo>
                  <a:cubicBezTo>
                    <a:pt x="1531" y="26"/>
                    <a:pt x="1531" y="26"/>
                    <a:pt x="1531" y="26"/>
                  </a:cubicBezTo>
                  <a:cubicBezTo>
                    <a:pt x="1531" y="26"/>
                    <a:pt x="1531" y="26"/>
                    <a:pt x="1532" y="26"/>
                  </a:cubicBezTo>
                  <a:cubicBezTo>
                    <a:pt x="1531" y="26"/>
                    <a:pt x="1531" y="26"/>
                    <a:pt x="1531" y="26"/>
                  </a:cubicBezTo>
                  <a:cubicBezTo>
                    <a:pt x="1532" y="26"/>
                    <a:pt x="1532" y="26"/>
                    <a:pt x="1532" y="26"/>
                  </a:cubicBezTo>
                  <a:cubicBezTo>
                    <a:pt x="1532" y="26"/>
                    <a:pt x="1532" y="26"/>
                    <a:pt x="1532" y="26"/>
                  </a:cubicBezTo>
                  <a:cubicBezTo>
                    <a:pt x="1532" y="26"/>
                    <a:pt x="1532" y="25"/>
                    <a:pt x="1532" y="25"/>
                  </a:cubicBezTo>
                  <a:cubicBezTo>
                    <a:pt x="1532" y="25"/>
                    <a:pt x="1532" y="25"/>
                    <a:pt x="1532" y="25"/>
                  </a:cubicBezTo>
                  <a:cubicBezTo>
                    <a:pt x="1532" y="25"/>
                    <a:pt x="1533" y="25"/>
                    <a:pt x="1533" y="25"/>
                  </a:cubicBezTo>
                  <a:cubicBezTo>
                    <a:pt x="1533" y="25"/>
                    <a:pt x="1533" y="25"/>
                    <a:pt x="1533" y="25"/>
                  </a:cubicBezTo>
                  <a:cubicBezTo>
                    <a:pt x="1533" y="25"/>
                    <a:pt x="1533" y="25"/>
                    <a:pt x="1533" y="24"/>
                  </a:cubicBezTo>
                  <a:cubicBezTo>
                    <a:pt x="1533" y="25"/>
                    <a:pt x="1533" y="25"/>
                    <a:pt x="1533" y="25"/>
                  </a:cubicBezTo>
                  <a:cubicBezTo>
                    <a:pt x="1533" y="24"/>
                    <a:pt x="1533" y="24"/>
                    <a:pt x="1533" y="24"/>
                  </a:cubicBezTo>
                  <a:cubicBezTo>
                    <a:pt x="1533" y="24"/>
                    <a:pt x="1533" y="24"/>
                    <a:pt x="1533" y="24"/>
                  </a:cubicBezTo>
                  <a:cubicBezTo>
                    <a:pt x="1533" y="24"/>
                    <a:pt x="1534" y="24"/>
                    <a:pt x="1534" y="24"/>
                  </a:cubicBezTo>
                  <a:cubicBezTo>
                    <a:pt x="1534" y="24"/>
                    <a:pt x="1534" y="24"/>
                    <a:pt x="1534" y="24"/>
                  </a:cubicBezTo>
                  <a:cubicBezTo>
                    <a:pt x="1534" y="24"/>
                    <a:pt x="1534" y="24"/>
                    <a:pt x="1534" y="23"/>
                  </a:cubicBezTo>
                  <a:cubicBezTo>
                    <a:pt x="1534" y="24"/>
                    <a:pt x="1534" y="24"/>
                    <a:pt x="1534" y="24"/>
                  </a:cubicBezTo>
                  <a:cubicBezTo>
                    <a:pt x="1534" y="23"/>
                    <a:pt x="1534" y="23"/>
                    <a:pt x="1534" y="23"/>
                  </a:cubicBezTo>
                  <a:cubicBezTo>
                    <a:pt x="1534" y="23"/>
                    <a:pt x="1534" y="23"/>
                    <a:pt x="1534" y="23"/>
                  </a:cubicBezTo>
                  <a:cubicBezTo>
                    <a:pt x="1534" y="23"/>
                    <a:pt x="1535" y="23"/>
                    <a:pt x="1535" y="23"/>
                  </a:cubicBezTo>
                  <a:cubicBezTo>
                    <a:pt x="1535" y="23"/>
                    <a:pt x="1535" y="23"/>
                    <a:pt x="1535" y="23"/>
                  </a:cubicBezTo>
                  <a:cubicBezTo>
                    <a:pt x="1535" y="23"/>
                    <a:pt x="1535" y="23"/>
                    <a:pt x="1535" y="23"/>
                  </a:cubicBezTo>
                  <a:cubicBezTo>
                    <a:pt x="1535" y="23"/>
                    <a:pt x="1535" y="23"/>
                    <a:pt x="1535" y="23"/>
                  </a:cubicBezTo>
                  <a:cubicBezTo>
                    <a:pt x="1535" y="22"/>
                    <a:pt x="1536" y="22"/>
                    <a:pt x="1536" y="22"/>
                  </a:cubicBezTo>
                  <a:cubicBezTo>
                    <a:pt x="1536" y="22"/>
                    <a:pt x="1536" y="22"/>
                    <a:pt x="1536" y="22"/>
                  </a:cubicBezTo>
                  <a:cubicBezTo>
                    <a:pt x="1536" y="22"/>
                    <a:pt x="1536" y="22"/>
                    <a:pt x="1536" y="22"/>
                  </a:cubicBezTo>
                  <a:cubicBezTo>
                    <a:pt x="1536" y="22"/>
                    <a:pt x="1536" y="22"/>
                    <a:pt x="1536" y="22"/>
                  </a:cubicBezTo>
                  <a:cubicBezTo>
                    <a:pt x="1536" y="22"/>
                    <a:pt x="1536" y="22"/>
                    <a:pt x="1536" y="21"/>
                  </a:cubicBezTo>
                  <a:cubicBezTo>
                    <a:pt x="1536" y="21"/>
                    <a:pt x="1536" y="21"/>
                    <a:pt x="1536" y="21"/>
                  </a:cubicBezTo>
                  <a:cubicBezTo>
                    <a:pt x="1537" y="21"/>
                    <a:pt x="1537" y="21"/>
                    <a:pt x="1537" y="21"/>
                  </a:cubicBezTo>
                  <a:cubicBezTo>
                    <a:pt x="1537" y="21"/>
                    <a:pt x="1537" y="21"/>
                    <a:pt x="1537" y="21"/>
                  </a:cubicBezTo>
                  <a:cubicBezTo>
                    <a:pt x="1538" y="21"/>
                    <a:pt x="1538" y="21"/>
                    <a:pt x="1538" y="20"/>
                  </a:cubicBezTo>
                  <a:cubicBezTo>
                    <a:pt x="1538" y="20"/>
                    <a:pt x="1538" y="20"/>
                    <a:pt x="1538" y="20"/>
                  </a:cubicBezTo>
                  <a:cubicBezTo>
                    <a:pt x="1538" y="20"/>
                    <a:pt x="1538" y="20"/>
                    <a:pt x="1539" y="20"/>
                  </a:cubicBezTo>
                  <a:cubicBezTo>
                    <a:pt x="1538" y="20"/>
                    <a:pt x="1538" y="20"/>
                    <a:pt x="1538" y="20"/>
                  </a:cubicBezTo>
                  <a:cubicBezTo>
                    <a:pt x="1539" y="20"/>
                    <a:pt x="1539" y="20"/>
                    <a:pt x="1539" y="20"/>
                  </a:cubicBezTo>
                  <a:cubicBezTo>
                    <a:pt x="1539" y="20"/>
                    <a:pt x="1539" y="20"/>
                    <a:pt x="1539" y="20"/>
                  </a:cubicBezTo>
                  <a:cubicBezTo>
                    <a:pt x="1539" y="19"/>
                    <a:pt x="1539" y="20"/>
                    <a:pt x="1540" y="19"/>
                  </a:cubicBezTo>
                  <a:cubicBezTo>
                    <a:pt x="1540" y="19"/>
                    <a:pt x="1540" y="19"/>
                    <a:pt x="1540" y="19"/>
                  </a:cubicBezTo>
                  <a:cubicBezTo>
                    <a:pt x="1540" y="19"/>
                    <a:pt x="1540" y="19"/>
                    <a:pt x="1540" y="19"/>
                  </a:cubicBezTo>
                  <a:cubicBezTo>
                    <a:pt x="1540" y="19"/>
                    <a:pt x="1540" y="19"/>
                    <a:pt x="1540" y="19"/>
                  </a:cubicBezTo>
                  <a:cubicBezTo>
                    <a:pt x="1540" y="19"/>
                    <a:pt x="1540" y="19"/>
                    <a:pt x="1541" y="19"/>
                  </a:cubicBezTo>
                  <a:cubicBezTo>
                    <a:pt x="1541" y="19"/>
                    <a:pt x="1541" y="19"/>
                    <a:pt x="1541" y="19"/>
                  </a:cubicBezTo>
                  <a:cubicBezTo>
                    <a:pt x="1541" y="18"/>
                    <a:pt x="1541" y="19"/>
                    <a:pt x="1541" y="18"/>
                  </a:cubicBezTo>
                  <a:cubicBezTo>
                    <a:pt x="1541" y="18"/>
                    <a:pt x="1541" y="18"/>
                    <a:pt x="1541" y="18"/>
                  </a:cubicBezTo>
                  <a:cubicBezTo>
                    <a:pt x="1542" y="18"/>
                    <a:pt x="1542" y="18"/>
                    <a:pt x="1542" y="18"/>
                  </a:cubicBezTo>
                  <a:cubicBezTo>
                    <a:pt x="1542" y="18"/>
                    <a:pt x="1542" y="18"/>
                    <a:pt x="1542" y="18"/>
                  </a:cubicBezTo>
                  <a:cubicBezTo>
                    <a:pt x="1542" y="18"/>
                    <a:pt x="1543" y="18"/>
                    <a:pt x="1543" y="18"/>
                  </a:cubicBezTo>
                  <a:cubicBezTo>
                    <a:pt x="1543" y="18"/>
                    <a:pt x="1543" y="18"/>
                    <a:pt x="1543" y="18"/>
                  </a:cubicBezTo>
                  <a:cubicBezTo>
                    <a:pt x="1543" y="17"/>
                    <a:pt x="1543" y="17"/>
                    <a:pt x="1543" y="17"/>
                  </a:cubicBezTo>
                  <a:cubicBezTo>
                    <a:pt x="1543" y="17"/>
                    <a:pt x="1543" y="17"/>
                    <a:pt x="1543" y="17"/>
                  </a:cubicBezTo>
                  <a:cubicBezTo>
                    <a:pt x="1544" y="17"/>
                    <a:pt x="1544" y="17"/>
                    <a:pt x="1544" y="17"/>
                  </a:cubicBezTo>
                  <a:cubicBezTo>
                    <a:pt x="1544" y="17"/>
                    <a:pt x="1544" y="17"/>
                    <a:pt x="1544" y="17"/>
                  </a:cubicBezTo>
                  <a:cubicBezTo>
                    <a:pt x="1544" y="17"/>
                    <a:pt x="1544" y="17"/>
                    <a:pt x="1544" y="17"/>
                  </a:cubicBezTo>
                  <a:cubicBezTo>
                    <a:pt x="1545" y="17"/>
                    <a:pt x="1545" y="17"/>
                    <a:pt x="1545" y="17"/>
                  </a:cubicBezTo>
                  <a:cubicBezTo>
                    <a:pt x="1545" y="17"/>
                    <a:pt x="1545" y="17"/>
                    <a:pt x="1545" y="17"/>
                  </a:cubicBezTo>
                  <a:cubicBezTo>
                    <a:pt x="1545" y="17"/>
                    <a:pt x="1545" y="17"/>
                    <a:pt x="1545" y="17"/>
                  </a:cubicBezTo>
                  <a:cubicBezTo>
                    <a:pt x="1546" y="16"/>
                    <a:pt x="1546" y="16"/>
                    <a:pt x="1546" y="16"/>
                  </a:cubicBezTo>
                  <a:cubicBezTo>
                    <a:pt x="1546" y="16"/>
                    <a:pt x="1546" y="16"/>
                    <a:pt x="1546" y="16"/>
                  </a:cubicBezTo>
                  <a:cubicBezTo>
                    <a:pt x="1546" y="16"/>
                    <a:pt x="1546" y="16"/>
                    <a:pt x="1546" y="16"/>
                  </a:cubicBezTo>
                  <a:cubicBezTo>
                    <a:pt x="1547" y="16"/>
                    <a:pt x="1547" y="16"/>
                    <a:pt x="1548" y="16"/>
                  </a:cubicBezTo>
                  <a:cubicBezTo>
                    <a:pt x="1548" y="16"/>
                    <a:pt x="1548" y="16"/>
                    <a:pt x="1548" y="16"/>
                  </a:cubicBezTo>
                  <a:cubicBezTo>
                    <a:pt x="1548" y="16"/>
                    <a:pt x="1549" y="16"/>
                    <a:pt x="1549" y="16"/>
                  </a:cubicBezTo>
                  <a:cubicBezTo>
                    <a:pt x="1549" y="15"/>
                    <a:pt x="1549" y="15"/>
                    <a:pt x="1549" y="15"/>
                  </a:cubicBezTo>
                  <a:cubicBezTo>
                    <a:pt x="1549" y="15"/>
                    <a:pt x="1549" y="15"/>
                    <a:pt x="1549" y="15"/>
                  </a:cubicBezTo>
                  <a:cubicBezTo>
                    <a:pt x="1550" y="15"/>
                    <a:pt x="1550" y="16"/>
                    <a:pt x="1551" y="15"/>
                  </a:cubicBezTo>
                  <a:cubicBezTo>
                    <a:pt x="1551" y="15"/>
                    <a:pt x="1552" y="15"/>
                    <a:pt x="1552" y="15"/>
                  </a:cubicBezTo>
                  <a:cubicBezTo>
                    <a:pt x="1553" y="15"/>
                    <a:pt x="1554" y="15"/>
                    <a:pt x="1555" y="15"/>
                  </a:cubicBezTo>
                  <a:cubicBezTo>
                    <a:pt x="1555" y="15"/>
                    <a:pt x="1555" y="15"/>
                    <a:pt x="1556" y="15"/>
                  </a:cubicBezTo>
                  <a:cubicBezTo>
                    <a:pt x="1556" y="16"/>
                    <a:pt x="1557" y="15"/>
                    <a:pt x="1558" y="16"/>
                  </a:cubicBezTo>
                  <a:cubicBezTo>
                    <a:pt x="1558" y="15"/>
                    <a:pt x="1558" y="15"/>
                    <a:pt x="1558" y="15"/>
                  </a:cubicBezTo>
                  <a:cubicBezTo>
                    <a:pt x="1558" y="16"/>
                    <a:pt x="1558" y="16"/>
                    <a:pt x="1558" y="16"/>
                  </a:cubicBezTo>
                  <a:cubicBezTo>
                    <a:pt x="1558" y="16"/>
                    <a:pt x="1559" y="16"/>
                    <a:pt x="1559" y="16"/>
                  </a:cubicBezTo>
                  <a:cubicBezTo>
                    <a:pt x="1559" y="16"/>
                    <a:pt x="1559" y="16"/>
                    <a:pt x="1559" y="16"/>
                  </a:cubicBezTo>
                  <a:cubicBezTo>
                    <a:pt x="1559" y="16"/>
                    <a:pt x="1559" y="16"/>
                    <a:pt x="1559" y="16"/>
                  </a:cubicBezTo>
                  <a:cubicBezTo>
                    <a:pt x="1560" y="16"/>
                    <a:pt x="1560" y="16"/>
                    <a:pt x="1560" y="16"/>
                  </a:cubicBezTo>
                  <a:cubicBezTo>
                    <a:pt x="1560" y="16"/>
                    <a:pt x="1560" y="16"/>
                    <a:pt x="1560" y="16"/>
                  </a:cubicBezTo>
                  <a:cubicBezTo>
                    <a:pt x="1560" y="16"/>
                    <a:pt x="1560" y="16"/>
                    <a:pt x="1560" y="16"/>
                  </a:cubicBezTo>
                  <a:cubicBezTo>
                    <a:pt x="1561" y="16"/>
                    <a:pt x="1561" y="16"/>
                    <a:pt x="1561" y="17"/>
                  </a:cubicBezTo>
                  <a:cubicBezTo>
                    <a:pt x="1561" y="17"/>
                    <a:pt x="1561" y="17"/>
                    <a:pt x="1561" y="17"/>
                  </a:cubicBezTo>
                  <a:cubicBezTo>
                    <a:pt x="1561" y="17"/>
                    <a:pt x="1562" y="17"/>
                    <a:pt x="1562" y="17"/>
                  </a:cubicBezTo>
                  <a:cubicBezTo>
                    <a:pt x="1562" y="17"/>
                    <a:pt x="1562" y="17"/>
                    <a:pt x="1562" y="17"/>
                  </a:cubicBezTo>
                  <a:cubicBezTo>
                    <a:pt x="1562" y="17"/>
                    <a:pt x="1562" y="17"/>
                    <a:pt x="1563" y="17"/>
                  </a:cubicBezTo>
                  <a:cubicBezTo>
                    <a:pt x="1563" y="17"/>
                    <a:pt x="1563" y="17"/>
                    <a:pt x="1563" y="17"/>
                  </a:cubicBezTo>
                  <a:cubicBezTo>
                    <a:pt x="1563" y="17"/>
                    <a:pt x="1563" y="17"/>
                    <a:pt x="1563" y="18"/>
                  </a:cubicBezTo>
                  <a:cubicBezTo>
                    <a:pt x="1563" y="18"/>
                    <a:pt x="1563" y="18"/>
                    <a:pt x="1563" y="18"/>
                  </a:cubicBezTo>
                  <a:cubicBezTo>
                    <a:pt x="1563" y="18"/>
                    <a:pt x="1563" y="18"/>
                    <a:pt x="1564" y="18"/>
                  </a:cubicBezTo>
                  <a:cubicBezTo>
                    <a:pt x="1564" y="18"/>
                    <a:pt x="1564" y="18"/>
                    <a:pt x="1564" y="18"/>
                  </a:cubicBezTo>
                  <a:cubicBezTo>
                    <a:pt x="1564" y="18"/>
                    <a:pt x="1564" y="18"/>
                    <a:pt x="1564" y="18"/>
                  </a:cubicBezTo>
                  <a:cubicBezTo>
                    <a:pt x="1564" y="18"/>
                    <a:pt x="1564" y="18"/>
                    <a:pt x="1564" y="18"/>
                  </a:cubicBezTo>
                  <a:cubicBezTo>
                    <a:pt x="1564" y="18"/>
                    <a:pt x="1565" y="19"/>
                    <a:pt x="1565" y="19"/>
                  </a:cubicBezTo>
                  <a:cubicBezTo>
                    <a:pt x="1565" y="19"/>
                    <a:pt x="1565" y="19"/>
                    <a:pt x="1565" y="19"/>
                  </a:cubicBezTo>
                  <a:cubicBezTo>
                    <a:pt x="1565" y="19"/>
                    <a:pt x="1565" y="19"/>
                    <a:pt x="1565" y="19"/>
                  </a:cubicBezTo>
                  <a:cubicBezTo>
                    <a:pt x="1565" y="19"/>
                    <a:pt x="1565" y="19"/>
                    <a:pt x="1565" y="19"/>
                  </a:cubicBezTo>
                  <a:cubicBezTo>
                    <a:pt x="1566" y="20"/>
                    <a:pt x="1566" y="20"/>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7" y="21"/>
                    <a:pt x="1567" y="21"/>
                    <a:pt x="1567" y="21"/>
                  </a:cubicBezTo>
                  <a:cubicBezTo>
                    <a:pt x="1568" y="22"/>
                    <a:pt x="1568" y="22"/>
                    <a:pt x="1568" y="22"/>
                  </a:cubicBezTo>
                  <a:cubicBezTo>
                    <a:pt x="1568" y="22"/>
                    <a:pt x="1568" y="22"/>
                    <a:pt x="1568" y="22"/>
                  </a:cubicBezTo>
                  <a:cubicBezTo>
                    <a:pt x="1568" y="22"/>
                    <a:pt x="1568" y="22"/>
                    <a:pt x="1568" y="23"/>
                  </a:cubicBezTo>
                  <a:cubicBezTo>
                    <a:pt x="1568" y="23"/>
                    <a:pt x="1568" y="23"/>
                    <a:pt x="1568" y="23"/>
                  </a:cubicBezTo>
                  <a:cubicBezTo>
                    <a:pt x="1568" y="23"/>
                    <a:pt x="1568" y="23"/>
                    <a:pt x="1568" y="23"/>
                  </a:cubicBezTo>
                  <a:cubicBezTo>
                    <a:pt x="1568" y="23"/>
                    <a:pt x="1568" y="23"/>
                    <a:pt x="1568" y="23"/>
                  </a:cubicBezTo>
                  <a:cubicBezTo>
                    <a:pt x="1569" y="23"/>
                    <a:pt x="1569" y="24"/>
                    <a:pt x="1569" y="24"/>
                  </a:cubicBezTo>
                  <a:cubicBezTo>
                    <a:pt x="1569" y="24"/>
                    <a:pt x="1569" y="24"/>
                    <a:pt x="1569" y="24"/>
                  </a:cubicBezTo>
                  <a:cubicBezTo>
                    <a:pt x="1569" y="24"/>
                    <a:pt x="1569" y="24"/>
                    <a:pt x="1569" y="25"/>
                  </a:cubicBezTo>
                  <a:cubicBezTo>
                    <a:pt x="1569" y="25"/>
                    <a:pt x="1569" y="25"/>
                    <a:pt x="1569" y="25"/>
                  </a:cubicBezTo>
                  <a:cubicBezTo>
                    <a:pt x="1569" y="25"/>
                    <a:pt x="1569" y="25"/>
                    <a:pt x="1569" y="25"/>
                  </a:cubicBezTo>
                  <a:cubicBezTo>
                    <a:pt x="1569" y="25"/>
                    <a:pt x="1569" y="25"/>
                    <a:pt x="1570" y="26"/>
                  </a:cubicBezTo>
                  <a:cubicBezTo>
                    <a:pt x="1570" y="26"/>
                    <a:pt x="1570" y="26"/>
                    <a:pt x="1570" y="26"/>
                  </a:cubicBezTo>
                  <a:cubicBezTo>
                    <a:pt x="1570" y="26"/>
                    <a:pt x="1570" y="26"/>
                    <a:pt x="1570" y="27"/>
                  </a:cubicBezTo>
                  <a:cubicBezTo>
                    <a:pt x="1570" y="27"/>
                    <a:pt x="1570" y="27"/>
                    <a:pt x="1570" y="27"/>
                  </a:cubicBezTo>
                  <a:cubicBezTo>
                    <a:pt x="1570" y="27"/>
                    <a:pt x="1570" y="28"/>
                    <a:pt x="1570" y="28"/>
                  </a:cubicBezTo>
                  <a:cubicBezTo>
                    <a:pt x="1570" y="28"/>
                    <a:pt x="1570" y="29"/>
                    <a:pt x="1570" y="29"/>
                  </a:cubicBezTo>
                  <a:cubicBezTo>
                    <a:pt x="1570" y="31"/>
                    <a:pt x="1570" y="33"/>
                    <a:pt x="1570" y="36"/>
                  </a:cubicBezTo>
                  <a:cubicBezTo>
                    <a:pt x="1570" y="36"/>
                    <a:pt x="1570" y="36"/>
                    <a:pt x="1570" y="36"/>
                  </a:cubicBezTo>
                  <a:cubicBezTo>
                    <a:pt x="1570" y="37"/>
                    <a:pt x="1570" y="37"/>
                    <a:pt x="1570" y="38"/>
                  </a:cubicBezTo>
                  <a:cubicBezTo>
                    <a:pt x="1570" y="38"/>
                    <a:pt x="1570" y="38"/>
                    <a:pt x="1570" y="38"/>
                  </a:cubicBezTo>
                  <a:cubicBezTo>
                    <a:pt x="1570" y="39"/>
                    <a:pt x="1570" y="39"/>
                    <a:pt x="1570" y="39"/>
                  </a:cubicBezTo>
                  <a:cubicBezTo>
                    <a:pt x="1570" y="39"/>
                    <a:pt x="1570" y="39"/>
                    <a:pt x="1570" y="39"/>
                  </a:cubicBezTo>
                  <a:cubicBezTo>
                    <a:pt x="1570" y="40"/>
                    <a:pt x="1570" y="40"/>
                    <a:pt x="1570" y="40"/>
                  </a:cubicBezTo>
                  <a:cubicBezTo>
                    <a:pt x="1569" y="40"/>
                    <a:pt x="1569" y="40"/>
                    <a:pt x="1569" y="41"/>
                  </a:cubicBezTo>
                  <a:cubicBezTo>
                    <a:pt x="1569" y="41"/>
                    <a:pt x="1569" y="41"/>
                    <a:pt x="1569" y="41"/>
                  </a:cubicBezTo>
                  <a:cubicBezTo>
                    <a:pt x="1569" y="41"/>
                    <a:pt x="1569" y="41"/>
                    <a:pt x="1569" y="42"/>
                  </a:cubicBezTo>
                  <a:cubicBezTo>
                    <a:pt x="1569" y="42"/>
                    <a:pt x="1569" y="42"/>
                    <a:pt x="1569" y="42"/>
                  </a:cubicBezTo>
                  <a:cubicBezTo>
                    <a:pt x="1569" y="42"/>
                    <a:pt x="1569" y="42"/>
                    <a:pt x="1569" y="42"/>
                  </a:cubicBezTo>
                  <a:cubicBezTo>
                    <a:pt x="1569" y="43"/>
                    <a:pt x="1569" y="43"/>
                    <a:pt x="1568" y="43"/>
                  </a:cubicBezTo>
                  <a:cubicBezTo>
                    <a:pt x="1568" y="43"/>
                    <a:pt x="1568" y="43"/>
                    <a:pt x="1568" y="43"/>
                  </a:cubicBezTo>
                  <a:cubicBezTo>
                    <a:pt x="1568" y="43"/>
                    <a:pt x="1568" y="43"/>
                    <a:pt x="1568" y="43"/>
                  </a:cubicBezTo>
                  <a:cubicBezTo>
                    <a:pt x="1568" y="44"/>
                    <a:pt x="1568" y="44"/>
                    <a:pt x="1568" y="44"/>
                  </a:cubicBezTo>
                  <a:cubicBezTo>
                    <a:pt x="1568" y="44"/>
                    <a:pt x="1568" y="44"/>
                    <a:pt x="1568" y="44"/>
                  </a:cubicBezTo>
                  <a:cubicBezTo>
                    <a:pt x="1568" y="44"/>
                    <a:pt x="1568" y="45"/>
                    <a:pt x="1567" y="45"/>
                  </a:cubicBezTo>
                  <a:cubicBezTo>
                    <a:pt x="1567" y="45"/>
                    <a:pt x="1567" y="45"/>
                    <a:pt x="1567" y="45"/>
                  </a:cubicBezTo>
                  <a:cubicBezTo>
                    <a:pt x="1567" y="45"/>
                    <a:pt x="1567" y="45"/>
                    <a:pt x="1567" y="45"/>
                  </a:cubicBezTo>
                  <a:cubicBezTo>
                    <a:pt x="1567" y="45"/>
                    <a:pt x="1567" y="45"/>
                    <a:pt x="1567" y="45"/>
                  </a:cubicBezTo>
                  <a:cubicBezTo>
                    <a:pt x="1567" y="45"/>
                    <a:pt x="1567" y="45"/>
                    <a:pt x="1567" y="45"/>
                  </a:cubicBezTo>
                  <a:cubicBezTo>
                    <a:pt x="1567" y="46"/>
                    <a:pt x="1567" y="46"/>
                    <a:pt x="1567" y="46"/>
                  </a:cubicBezTo>
                  <a:cubicBezTo>
                    <a:pt x="1567" y="46"/>
                    <a:pt x="1567" y="46"/>
                    <a:pt x="1567" y="46"/>
                  </a:cubicBezTo>
                  <a:cubicBezTo>
                    <a:pt x="1567" y="46"/>
                    <a:pt x="1567" y="46"/>
                    <a:pt x="1566" y="47"/>
                  </a:cubicBezTo>
                  <a:cubicBezTo>
                    <a:pt x="1566" y="47"/>
                    <a:pt x="1566" y="47"/>
                    <a:pt x="1566" y="47"/>
                  </a:cubicBezTo>
                  <a:cubicBezTo>
                    <a:pt x="1566" y="47"/>
                    <a:pt x="1566" y="47"/>
                    <a:pt x="1566" y="47"/>
                  </a:cubicBezTo>
                  <a:cubicBezTo>
                    <a:pt x="1566" y="47"/>
                    <a:pt x="1566" y="47"/>
                    <a:pt x="1566" y="47"/>
                  </a:cubicBezTo>
                  <a:cubicBezTo>
                    <a:pt x="1566" y="47"/>
                    <a:pt x="1566" y="47"/>
                    <a:pt x="1566" y="48"/>
                  </a:cubicBezTo>
                  <a:cubicBezTo>
                    <a:pt x="1566" y="48"/>
                    <a:pt x="1566" y="48"/>
                    <a:pt x="1566" y="48"/>
                  </a:cubicBezTo>
                  <a:cubicBezTo>
                    <a:pt x="1566" y="48"/>
                    <a:pt x="1565" y="48"/>
                    <a:pt x="1565" y="48"/>
                  </a:cubicBezTo>
                  <a:cubicBezTo>
                    <a:pt x="1565" y="48"/>
                    <a:pt x="1565" y="48"/>
                    <a:pt x="1565" y="48"/>
                  </a:cubicBezTo>
                  <a:cubicBezTo>
                    <a:pt x="1565" y="48"/>
                    <a:pt x="1565" y="48"/>
                    <a:pt x="1565" y="48"/>
                  </a:cubicBezTo>
                  <a:cubicBezTo>
                    <a:pt x="1565" y="48"/>
                    <a:pt x="1565" y="48"/>
                    <a:pt x="1565" y="48"/>
                  </a:cubicBezTo>
                  <a:cubicBezTo>
                    <a:pt x="1565" y="48"/>
                    <a:pt x="1565" y="49"/>
                    <a:pt x="1565" y="49"/>
                  </a:cubicBezTo>
                  <a:cubicBezTo>
                    <a:pt x="1565" y="49"/>
                    <a:pt x="1565" y="49"/>
                    <a:pt x="1565" y="49"/>
                  </a:cubicBezTo>
                  <a:cubicBezTo>
                    <a:pt x="1565" y="49"/>
                    <a:pt x="1564" y="49"/>
                    <a:pt x="1564" y="49"/>
                  </a:cubicBezTo>
                  <a:cubicBezTo>
                    <a:pt x="1564" y="49"/>
                    <a:pt x="1564" y="49"/>
                    <a:pt x="1564" y="49"/>
                  </a:cubicBezTo>
                  <a:cubicBezTo>
                    <a:pt x="1564" y="49"/>
                    <a:pt x="1564" y="50"/>
                    <a:pt x="1564" y="50"/>
                  </a:cubicBezTo>
                  <a:cubicBezTo>
                    <a:pt x="1564" y="50"/>
                    <a:pt x="1564" y="50"/>
                    <a:pt x="1564" y="50"/>
                  </a:cubicBezTo>
                  <a:cubicBezTo>
                    <a:pt x="1564" y="50"/>
                    <a:pt x="1564" y="50"/>
                    <a:pt x="1564" y="50"/>
                  </a:cubicBezTo>
                  <a:cubicBezTo>
                    <a:pt x="1564" y="50"/>
                    <a:pt x="1564" y="50"/>
                    <a:pt x="1564" y="50"/>
                  </a:cubicBezTo>
                  <a:cubicBezTo>
                    <a:pt x="1563" y="50"/>
                    <a:pt x="1563" y="50"/>
                    <a:pt x="1563" y="50"/>
                  </a:cubicBezTo>
                  <a:cubicBezTo>
                    <a:pt x="1563" y="50"/>
                    <a:pt x="1563" y="50"/>
                    <a:pt x="1563" y="50"/>
                  </a:cubicBezTo>
                  <a:cubicBezTo>
                    <a:pt x="1562" y="52"/>
                    <a:pt x="1561" y="53"/>
                    <a:pt x="1559" y="54"/>
                  </a:cubicBezTo>
                  <a:cubicBezTo>
                    <a:pt x="1560" y="54"/>
                    <a:pt x="1560" y="54"/>
                    <a:pt x="1560" y="54"/>
                  </a:cubicBezTo>
                  <a:cubicBezTo>
                    <a:pt x="1559" y="54"/>
                    <a:pt x="1559" y="54"/>
                    <a:pt x="1559" y="55"/>
                  </a:cubicBezTo>
                  <a:cubicBezTo>
                    <a:pt x="1559" y="55"/>
                    <a:pt x="1559" y="55"/>
                    <a:pt x="1559" y="55"/>
                  </a:cubicBezTo>
                  <a:cubicBezTo>
                    <a:pt x="1559" y="55"/>
                    <a:pt x="1559" y="55"/>
                    <a:pt x="1559" y="55"/>
                  </a:cubicBezTo>
                  <a:cubicBezTo>
                    <a:pt x="1559" y="55"/>
                    <a:pt x="1559" y="55"/>
                    <a:pt x="1559" y="55"/>
                  </a:cubicBezTo>
                  <a:cubicBezTo>
                    <a:pt x="1559" y="55"/>
                    <a:pt x="1558" y="55"/>
                    <a:pt x="1558" y="55"/>
                  </a:cubicBezTo>
                  <a:cubicBezTo>
                    <a:pt x="1558" y="55"/>
                    <a:pt x="1558" y="55"/>
                    <a:pt x="1558" y="55"/>
                  </a:cubicBezTo>
                  <a:cubicBezTo>
                    <a:pt x="1558" y="55"/>
                    <a:pt x="1558" y="55"/>
                    <a:pt x="1558" y="56"/>
                  </a:cubicBezTo>
                  <a:cubicBezTo>
                    <a:pt x="1558" y="56"/>
                    <a:pt x="1558" y="56"/>
                    <a:pt x="1558" y="56"/>
                  </a:cubicBezTo>
                  <a:cubicBezTo>
                    <a:pt x="1558" y="56"/>
                    <a:pt x="1557" y="56"/>
                    <a:pt x="1557" y="56"/>
                  </a:cubicBezTo>
                  <a:cubicBezTo>
                    <a:pt x="1557" y="56"/>
                    <a:pt x="1557" y="56"/>
                    <a:pt x="1557" y="56"/>
                  </a:cubicBezTo>
                  <a:cubicBezTo>
                    <a:pt x="1557" y="56"/>
                    <a:pt x="1557" y="56"/>
                    <a:pt x="1557" y="57"/>
                  </a:cubicBezTo>
                  <a:cubicBezTo>
                    <a:pt x="1557" y="57"/>
                    <a:pt x="1557" y="57"/>
                    <a:pt x="1557" y="57"/>
                  </a:cubicBezTo>
                  <a:cubicBezTo>
                    <a:pt x="1557" y="57"/>
                    <a:pt x="1556" y="57"/>
                    <a:pt x="1556" y="57"/>
                  </a:cubicBezTo>
                  <a:cubicBezTo>
                    <a:pt x="1556" y="57"/>
                    <a:pt x="1556" y="57"/>
                    <a:pt x="1556" y="57"/>
                  </a:cubicBezTo>
                  <a:cubicBezTo>
                    <a:pt x="1556" y="57"/>
                    <a:pt x="1556" y="57"/>
                    <a:pt x="1556" y="57"/>
                  </a:cubicBezTo>
                  <a:cubicBezTo>
                    <a:pt x="1556" y="57"/>
                    <a:pt x="1556" y="57"/>
                    <a:pt x="1556" y="57"/>
                  </a:cubicBezTo>
                  <a:cubicBezTo>
                    <a:pt x="1556" y="58"/>
                    <a:pt x="1555" y="57"/>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5" y="58"/>
                    <a:pt x="1555" y="58"/>
                    <a:pt x="1555" y="58"/>
                  </a:cubicBezTo>
                  <a:cubicBezTo>
                    <a:pt x="1554" y="59"/>
                    <a:pt x="1554" y="58"/>
                    <a:pt x="1554" y="59"/>
                  </a:cubicBezTo>
                  <a:cubicBezTo>
                    <a:pt x="1554" y="59"/>
                    <a:pt x="1554" y="59"/>
                    <a:pt x="1554" y="59"/>
                  </a:cubicBezTo>
                  <a:cubicBezTo>
                    <a:pt x="1554" y="59"/>
                    <a:pt x="1554" y="59"/>
                    <a:pt x="1554" y="59"/>
                  </a:cubicBezTo>
                  <a:cubicBezTo>
                    <a:pt x="1554" y="59"/>
                    <a:pt x="1554" y="59"/>
                    <a:pt x="1554" y="59"/>
                  </a:cubicBezTo>
                  <a:cubicBezTo>
                    <a:pt x="1553" y="59"/>
                    <a:pt x="1553" y="59"/>
                    <a:pt x="1553" y="59"/>
                  </a:cubicBezTo>
                  <a:cubicBezTo>
                    <a:pt x="1553" y="59"/>
                    <a:pt x="1553" y="59"/>
                    <a:pt x="1553" y="59"/>
                  </a:cubicBezTo>
                  <a:cubicBezTo>
                    <a:pt x="1553" y="60"/>
                    <a:pt x="1553" y="60"/>
                    <a:pt x="1553" y="60"/>
                  </a:cubicBezTo>
                  <a:cubicBezTo>
                    <a:pt x="1553" y="60"/>
                    <a:pt x="1553" y="60"/>
                    <a:pt x="1553" y="60"/>
                  </a:cubicBezTo>
                  <a:cubicBezTo>
                    <a:pt x="1552" y="60"/>
                    <a:pt x="1552" y="60"/>
                    <a:pt x="1552" y="60"/>
                  </a:cubicBezTo>
                  <a:cubicBezTo>
                    <a:pt x="1552" y="60"/>
                    <a:pt x="1552" y="60"/>
                    <a:pt x="1552" y="60"/>
                  </a:cubicBezTo>
                  <a:cubicBezTo>
                    <a:pt x="1552" y="60"/>
                    <a:pt x="1552" y="60"/>
                    <a:pt x="1552" y="60"/>
                  </a:cubicBezTo>
                  <a:cubicBezTo>
                    <a:pt x="1552" y="60"/>
                    <a:pt x="1552" y="60"/>
                    <a:pt x="1552" y="60"/>
                  </a:cubicBezTo>
                  <a:cubicBezTo>
                    <a:pt x="1552" y="61"/>
                    <a:pt x="1551" y="61"/>
                    <a:pt x="1551" y="61"/>
                  </a:cubicBezTo>
                  <a:cubicBezTo>
                    <a:pt x="1551" y="61"/>
                    <a:pt x="1551" y="61"/>
                    <a:pt x="1551" y="61"/>
                  </a:cubicBezTo>
                  <a:cubicBezTo>
                    <a:pt x="1551" y="61"/>
                    <a:pt x="1551" y="61"/>
                    <a:pt x="1551" y="61"/>
                  </a:cubicBezTo>
                  <a:cubicBezTo>
                    <a:pt x="1551" y="61"/>
                    <a:pt x="1551" y="61"/>
                    <a:pt x="1551" y="61"/>
                  </a:cubicBezTo>
                  <a:cubicBezTo>
                    <a:pt x="1550" y="61"/>
                    <a:pt x="1550" y="62"/>
                    <a:pt x="1550" y="62"/>
                  </a:cubicBezTo>
                  <a:cubicBezTo>
                    <a:pt x="1550" y="62"/>
                    <a:pt x="1550" y="62"/>
                    <a:pt x="1550" y="62"/>
                  </a:cubicBezTo>
                  <a:cubicBezTo>
                    <a:pt x="1550" y="62"/>
                    <a:pt x="1549" y="62"/>
                    <a:pt x="1549" y="62"/>
                  </a:cubicBezTo>
                  <a:cubicBezTo>
                    <a:pt x="1549" y="62"/>
                    <a:pt x="1549" y="62"/>
                    <a:pt x="1549" y="62"/>
                  </a:cubicBezTo>
                  <a:cubicBezTo>
                    <a:pt x="1549" y="62"/>
                    <a:pt x="1549" y="63"/>
                    <a:pt x="1548" y="63"/>
                  </a:cubicBezTo>
                  <a:cubicBezTo>
                    <a:pt x="1548" y="63"/>
                    <a:pt x="1548" y="63"/>
                    <a:pt x="1548" y="63"/>
                  </a:cubicBezTo>
                  <a:cubicBezTo>
                    <a:pt x="1548" y="63"/>
                    <a:pt x="1548" y="63"/>
                    <a:pt x="1548" y="63"/>
                  </a:cubicBezTo>
                  <a:cubicBezTo>
                    <a:pt x="1548" y="63"/>
                    <a:pt x="1548" y="63"/>
                    <a:pt x="1548" y="63"/>
                  </a:cubicBezTo>
                  <a:cubicBezTo>
                    <a:pt x="1548" y="64"/>
                    <a:pt x="1547" y="64"/>
                    <a:pt x="1547" y="64"/>
                  </a:cubicBezTo>
                  <a:cubicBezTo>
                    <a:pt x="1547" y="64"/>
                    <a:pt x="1547" y="64"/>
                    <a:pt x="1547" y="64"/>
                  </a:cubicBezTo>
                  <a:cubicBezTo>
                    <a:pt x="1547" y="64"/>
                    <a:pt x="1547" y="64"/>
                    <a:pt x="1547" y="64"/>
                  </a:cubicBezTo>
                  <a:cubicBezTo>
                    <a:pt x="1547" y="64"/>
                    <a:pt x="1547" y="64"/>
                    <a:pt x="1547" y="64"/>
                  </a:cubicBezTo>
                  <a:cubicBezTo>
                    <a:pt x="1546" y="64"/>
                    <a:pt x="1546" y="65"/>
                    <a:pt x="1546" y="65"/>
                  </a:cubicBezTo>
                  <a:cubicBezTo>
                    <a:pt x="1546" y="65"/>
                    <a:pt x="1546" y="65"/>
                    <a:pt x="1546" y="65"/>
                  </a:cubicBezTo>
                  <a:cubicBezTo>
                    <a:pt x="1546" y="65"/>
                    <a:pt x="1546" y="65"/>
                    <a:pt x="1546" y="65"/>
                  </a:cubicBezTo>
                  <a:cubicBezTo>
                    <a:pt x="1546" y="65"/>
                    <a:pt x="1546" y="65"/>
                    <a:pt x="1546" y="65"/>
                  </a:cubicBezTo>
                  <a:cubicBezTo>
                    <a:pt x="1545" y="65"/>
                    <a:pt x="1545" y="65"/>
                    <a:pt x="1545" y="65"/>
                  </a:cubicBezTo>
                  <a:cubicBezTo>
                    <a:pt x="1545" y="65"/>
                    <a:pt x="1545" y="65"/>
                    <a:pt x="1545" y="65"/>
                  </a:cubicBezTo>
                  <a:cubicBezTo>
                    <a:pt x="1545" y="65"/>
                    <a:pt x="1545" y="66"/>
                    <a:pt x="1545" y="66"/>
                  </a:cubicBezTo>
                  <a:cubicBezTo>
                    <a:pt x="1545" y="66"/>
                    <a:pt x="1545" y="66"/>
                    <a:pt x="1545" y="66"/>
                  </a:cubicBezTo>
                  <a:cubicBezTo>
                    <a:pt x="1545" y="66"/>
                    <a:pt x="1545" y="66"/>
                    <a:pt x="1544" y="66"/>
                  </a:cubicBezTo>
                  <a:cubicBezTo>
                    <a:pt x="1544" y="66"/>
                    <a:pt x="1544" y="66"/>
                    <a:pt x="1544" y="66"/>
                  </a:cubicBezTo>
                  <a:cubicBezTo>
                    <a:pt x="1544" y="66"/>
                    <a:pt x="1544" y="66"/>
                    <a:pt x="1544" y="66"/>
                  </a:cubicBezTo>
                  <a:cubicBezTo>
                    <a:pt x="1544" y="66"/>
                    <a:pt x="1544" y="66"/>
                    <a:pt x="1544" y="66"/>
                  </a:cubicBezTo>
                  <a:cubicBezTo>
                    <a:pt x="1544" y="66"/>
                    <a:pt x="1544"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3" y="67"/>
                    <a:pt x="1543" y="67"/>
                    <a:pt x="1543" y="67"/>
                  </a:cubicBezTo>
                  <a:cubicBezTo>
                    <a:pt x="1542" y="68"/>
                    <a:pt x="1542" y="68"/>
                    <a:pt x="1542" y="68"/>
                  </a:cubicBezTo>
                  <a:cubicBezTo>
                    <a:pt x="1542" y="68"/>
                    <a:pt x="1542" y="68"/>
                    <a:pt x="1542" y="68"/>
                  </a:cubicBezTo>
                  <a:cubicBezTo>
                    <a:pt x="1542" y="68"/>
                    <a:pt x="1541" y="68"/>
                    <a:pt x="1541" y="68"/>
                  </a:cubicBezTo>
                  <a:cubicBezTo>
                    <a:pt x="1541" y="68"/>
                    <a:pt x="1541" y="68"/>
                    <a:pt x="1541" y="68"/>
                  </a:cubicBezTo>
                  <a:cubicBezTo>
                    <a:pt x="1541" y="69"/>
                    <a:pt x="1541" y="69"/>
                    <a:pt x="1541" y="69"/>
                  </a:cubicBezTo>
                  <a:cubicBezTo>
                    <a:pt x="1541" y="69"/>
                    <a:pt x="1541" y="69"/>
                    <a:pt x="1541" y="69"/>
                  </a:cubicBezTo>
                  <a:cubicBezTo>
                    <a:pt x="1541" y="69"/>
                    <a:pt x="1541" y="69"/>
                    <a:pt x="1541" y="69"/>
                  </a:cubicBezTo>
                  <a:cubicBezTo>
                    <a:pt x="1541" y="69"/>
                    <a:pt x="1541" y="69"/>
                    <a:pt x="1541" y="69"/>
                  </a:cubicBezTo>
                  <a:cubicBezTo>
                    <a:pt x="1540" y="69"/>
                    <a:pt x="1540" y="70"/>
                    <a:pt x="1540" y="70"/>
                  </a:cubicBezTo>
                  <a:cubicBezTo>
                    <a:pt x="1540" y="70"/>
                    <a:pt x="1540" y="70"/>
                    <a:pt x="1540" y="70"/>
                  </a:cubicBezTo>
                  <a:cubicBezTo>
                    <a:pt x="1539" y="70"/>
                    <a:pt x="1539" y="70"/>
                    <a:pt x="1539" y="70"/>
                  </a:cubicBezTo>
                  <a:cubicBezTo>
                    <a:pt x="1539" y="70"/>
                    <a:pt x="1539" y="70"/>
                    <a:pt x="1539" y="70"/>
                  </a:cubicBezTo>
                  <a:cubicBezTo>
                    <a:pt x="1539" y="70"/>
                    <a:pt x="1539" y="70"/>
                    <a:pt x="1539" y="71"/>
                  </a:cubicBezTo>
                  <a:cubicBezTo>
                    <a:pt x="1539" y="71"/>
                    <a:pt x="1539" y="71"/>
                    <a:pt x="1539" y="71"/>
                  </a:cubicBezTo>
                  <a:cubicBezTo>
                    <a:pt x="1539" y="71"/>
                    <a:pt x="1539" y="71"/>
                    <a:pt x="1539" y="71"/>
                  </a:cubicBezTo>
                  <a:cubicBezTo>
                    <a:pt x="1539" y="71"/>
                    <a:pt x="1539" y="71"/>
                    <a:pt x="1539" y="71"/>
                  </a:cubicBezTo>
                  <a:cubicBezTo>
                    <a:pt x="1538" y="71"/>
                    <a:pt x="1538" y="71"/>
                    <a:pt x="1538" y="71"/>
                  </a:cubicBezTo>
                  <a:cubicBezTo>
                    <a:pt x="1538" y="71"/>
                    <a:pt x="1538" y="71"/>
                    <a:pt x="1538" y="71"/>
                  </a:cubicBezTo>
                  <a:cubicBezTo>
                    <a:pt x="1538" y="71"/>
                    <a:pt x="1538" y="71"/>
                    <a:pt x="1538" y="72"/>
                  </a:cubicBezTo>
                  <a:cubicBezTo>
                    <a:pt x="1538" y="72"/>
                    <a:pt x="1538" y="72"/>
                    <a:pt x="1538" y="72"/>
                  </a:cubicBezTo>
                  <a:cubicBezTo>
                    <a:pt x="1538" y="72"/>
                    <a:pt x="1538" y="72"/>
                    <a:pt x="1537" y="72"/>
                  </a:cubicBezTo>
                  <a:cubicBezTo>
                    <a:pt x="1538" y="72"/>
                    <a:pt x="1538" y="72"/>
                    <a:pt x="1538" y="72"/>
                  </a:cubicBezTo>
                  <a:cubicBezTo>
                    <a:pt x="1537" y="72"/>
                    <a:pt x="1537" y="72"/>
                    <a:pt x="1537" y="72"/>
                  </a:cubicBezTo>
                  <a:cubicBezTo>
                    <a:pt x="1537" y="72"/>
                    <a:pt x="1537" y="72"/>
                    <a:pt x="1537" y="72"/>
                  </a:cubicBezTo>
                  <a:cubicBezTo>
                    <a:pt x="1537" y="72"/>
                    <a:pt x="1537" y="73"/>
                    <a:pt x="1537" y="73"/>
                  </a:cubicBezTo>
                  <a:cubicBezTo>
                    <a:pt x="1537" y="73"/>
                    <a:pt x="1537" y="73"/>
                    <a:pt x="1537" y="73"/>
                  </a:cubicBezTo>
                  <a:cubicBezTo>
                    <a:pt x="1537" y="73"/>
                    <a:pt x="1537" y="73"/>
                    <a:pt x="1536" y="73"/>
                  </a:cubicBezTo>
                  <a:cubicBezTo>
                    <a:pt x="1536" y="73"/>
                    <a:pt x="1536" y="73"/>
                    <a:pt x="1536" y="73"/>
                  </a:cubicBezTo>
                  <a:cubicBezTo>
                    <a:pt x="1536" y="73"/>
                    <a:pt x="1536" y="73"/>
                    <a:pt x="1536" y="73"/>
                  </a:cubicBezTo>
                  <a:cubicBezTo>
                    <a:pt x="1536" y="73"/>
                    <a:pt x="1536" y="73"/>
                    <a:pt x="1536" y="73"/>
                  </a:cubicBezTo>
                  <a:cubicBezTo>
                    <a:pt x="1536" y="73"/>
                    <a:pt x="1536" y="74"/>
                    <a:pt x="1536" y="74"/>
                  </a:cubicBezTo>
                  <a:cubicBezTo>
                    <a:pt x="1536" y="74"/>
                    <a:pt x="1536" y="74"/>
                    <a:pt x="1536" y="74"/>
                  </a:cubicBezTo>
                  <a:cubicBezTo>
                    <a:pt x="1536" y="74"/>
                    <a:pt x="1536" y="74"/>
                    <a:pt x="1535" y="74"/>
                  </a:cubicBezTo>
                  <a:cubicBezTo>
                    <a:pt x="1535" y="74"/>
                    <a:pt x="1535" y="74"/>
                    <a:pt x="1535" y="74"/>
                  </a:cubicBezTo>
                  <a:cubicBezTo>
                    <a:pt x="1535" y="74"/>
                    <a:pt x="1535" y="74"/>
                    <a:pt x="1535" y="74"/>
                  </a:cubicBezTo>
                  <a:cubicBezTo>
                    <a:pt x="1535" y="74"/>
                    <a:pt x="1535" y="74"/>
                    <a:pt x="1535" y="74"/>
                  </a:cubicBezTo>
                  <a:cubicBezTo>
                    <a:pt x="1535" y="74"/>
                    <a:pt x="1535" y="75"/>
                    <a:pt x="1535" y="75"/>
                  </a:cubicBezTo>
                  <a:cubicBezTo>
                    <a:pt x="1535" y="75"/>
                    <a:pt x="1535" y="75"/>
                    <a:pt x="1535" y="75"/>
                  </a:cubicBezTo>
                  <a:cubicBezTo>
                    <a:pt x="1535" y="75"/>
                    <a:pt x="1534" y="75"/>
                    <a:pt x="1534" y="75"/>
                  </a:cubicBezTo>
                  <a:cubicBezTo>
                    <a:pt x="1534" y="75"/>
                    <a:pt x="1534" y="75"/>
                    <a:pt x="1534" y="75"/>
                  </a:cubicBezTo>
                  <a:cubicBezTo>
                    <a:pt x="1534" y="75"/>
                    <a:pt x="1534" y="76"/>
                    <a:pt x="1534" y="76"/>
                  </a:cubicBezTo>
                  <a:cubicBezTo>
                    <a:pt x="1534" y="76"/>
                    <a:pt x="1534" y="76"/>
                    <a:pt x="1534" y="76"/>
                  </a:cubicBezTo>
                  <a:cubicBezTo>
                    <a:pt x="1534" y="76"/>
                    <a:pt x="1533" y="76"/>
                    <a:pt x="1533" y="77"/>
                  </a:cubicBezTo>
                  <a:cubicBezTo>
                    <a:pt x="1533" y="76"/>
                    <a:pt x="1533" y="76"/>
                    <a:pt x="1533" y="76"/>
                  </a:cubicBezTo>
                  <a:cubicBezTo>
                    <a:pt x="1533" y="77"/>
                    <a:pt x="1533" y="77"/>
                    <a:pt x="1533" y="77"/>
                  </a:cubicBezTo>
                  <a:cubicBezTo>
                    <a:pt x="1533" y="77"/>
                    <a:pt x="1533" y="77"/>
                    <a:pt x="1533" y="77"/>
                  </a:cubicBezTo>
                  <a:cubicBezTo>
                    <a:pt x="1533" y="77"/>
                    <a:pt x="1533" y="77"/>
                    <a:pt x="1533" y="77"/>
                  </a:cubicBezTo>
                  <a:cubicBezTo>
                    <a:pt x="1533" y="77"/>
                    <a:pt x="1533" y="77"/>
                    <a:pt x="1533" y="77"/>
                  </a:cubicBezTo>
                  <a:cubicBezTo>
                    <a:pt x="1533" y="78"/>
                    <a:pt x="1532" y="78"/>
                    <a:pt x="1532" y="78"/>
                  </a:cubicBezTo>
                  <a:cubicBezTo>
                    <a:pt x="1532" y="78"/>
                    <a:pt x="1532" y="78"/>
                    <a:pt x="1532" y="78"/>
                  </a:cubicBezTo>
                  <a:cubicBezTo>
                    <a:pt x="1532" y="78"/>
                    <a:pt x="1532" y="78"/>
                    <a:pt x="1532" y="79"/>
                  </a:cubicBezTo>
                  <a:cubicBezTo>
                    <a:pt x="1532" y="79"/>
                    <a:pt x="1532" y="79"/>
                    <a:pt x="1532" y="79"/>
                  </a:cubicBezTo>
                  <a:cubicBezTo>
                    <a:pt x="1532" y="79"/>
                    <a:pt x="1532" y="79"/>
                    <a:pt x="1532" y="79"/>
                  </a:cubicBezTo>
                  <a:cubicBezTo>
                    <a:pt x="1532" y="79"/>
                    <a:pt x="1532" y="79"/>
                    <a:pt x="1532" y="79"/>
                  </a:cubicBezTo>
                  <a:cubicBezTo>
                    <a:pt x="1531" y="79"/>
                    <a:pt x="1531" y="79"/>
                    <a:pt x="1531" y="80"/>
                  </a:cubicBezTo>
                  <a:cubicBezTo>
                    <a:pt x="1531" y="80"/>
                    <a:pt x="1531" y="80"/>
                    <a:pt x="1531" y="80"/>
                  </a:cubicBezTo>
                  <a:cubicBezTo>
                    <a:pt x="1531" y="80"/>
                    <a:pt x="1531" y="80"/>
                    <a:pt x="1531" y="80"/>
                  </a:cubicBezTo>
                  <a:cubicBezTo>
                    <a:pt x="1531" y="80"/>
                    <a:pt x="1531" y="80"/>
                    <a:pt x="1531" y="80"/>
                  </a:cubicBezTo>
                  <a:cubicBezTo>
                    <a:pt x="1531" y="80"/>
                    <a:pt x="1531" y="80"/>
                    <a:pt x="1531" y="80"/>
                  </a:cubicBezTo>
                  <a:cubicBezTo>
                    <a:pt x="1531" y="80"/>
                    <a:pt x="1531" y="81"/>
                    <a:pt x="1531" y="81"/>
                  </a:cubicBezTo>
                  <a:cubicBezTo>
                    <a:pt x="1531" y="81"/>
                    <a:pt x="1531" y="81"/>
                    <a:pt x="1531" y="81"/>
                  </a:cubicBezTo>
                  <a:cubicBezTo>
                    <a:pt x="1530" y="81"/>
                    <a:pt x="1530" y="81"/>
                    <a:pt x="1530" y="81"/>
                  </a:cubicBezTo>
                  <a:cubicBezTo>
                    <a:pt x="1530" y="81"/>
                    <a:pt x="1530" y="81"/>
                    <a:pt x="1530" y="81"/>
                  </a:cubicBezTo>
                  <a:cubicBezTo>
                    <a:pt x="1530" y="82"/>
                    <a:pt x="1530" y="82"/>
                    <a:pt x="1530" y="82"/>
                  </a:cubicBezTo>
                  <a:cubicBezTo>
                    <a:pt x="1530" y="82"/>
                    <a:pt x="1530" y="82"/>
                    <a:pt x="1530" y="82"/>
                  </a:cubicBezTo>
                  <a:cubicBezTo>
                    <a:pt x="1530" y="82"/>
                    <a:pt x="1530" y="83"/>
                    <a:pt x="1530" y="83"/>
                  </a:cubicBezTo>
                  <a:cubicBezTo>
                    <a:pt x="1530" y="83"/>
                    <a:pt x="1530" y="83"/>
                    <a:pt x="1529" y="83"/>
                  </a:cubicBezTo>
                  <a:cubicBezTo>
                    <a:pt x="1529" y="83"/>
                    <a:pt x="1529" y="84"/>
                    <a:pt x="1529" y="84"/>
                  </a:cubicBezTo>
                  <a:cubicBezTo>
                    <a:pt x="1529" y="84"/>
                    <a:pt x="1529" y="84"/>
                    <a:pt x="1529" y="84"/>
                  </a:cubicBezTo>
                  <a:cubicBezTo>
                    <a:pt x="1529" y="84"/>
                    <a:pt x="1529" y="84"/>
                    <a:pt x="1529" y="85"/>
                  </a:cubicBezTo>
                  <a:cubicBezTo>
                    <a:pt x="1529" y="85"/>
                    <a:pt x="1529" y="85"/>
                    <a:pt x="1529" y="85"/>
                  </a:cubicBezTo>
                  <a:cubicBezTo>
                    <a:pt x="1529" y="85"/>
                    <a:pt x="1529" y="85"/>
                    <a:pt x="1528" y="86"/>
                  </a:cubicBezTo>
                  <a:cubicBezTo>
                    <a:pt x="1529" y="86"/>
                    <a:pt x="1529" y="86"/>
                    <a:pt x="1529" y="86"/>
                  </a:cubicBezTo>
                  <a:cubicBezTo>
                    <a:pt x="1528" y="86"/>
                    <a:pt x="1528" y="86"/>
                    <a:pt x="1528" y="86"/>
                  </a:cubicBezTo>
                  <a:cubicBezTo>
                    <a:pt x="1528" y="86"/>
                    <a:pt x="1528" y="87"/>
                    <a:pt x="1528" y="87"/>
                  </a:cubicBezTo>
                  <a:cubicBezTo>
                    <a:pt x="1528" y="87"/>
                    <a:pt x="1528" y="87"/>
                    <a:pt x="1528" y="87"/>
                  </a:cubicBezTo>
                  <a:cubicBezTo>
                    <a:pt x="1528" y="88"/>
                    <a:pt x="1528" y="88"/>
                    <a:pt x="1528" y="88"/>
                  </a:cubicBezTo>
                  <a:cubicBezTo>
                    <a:pt x="1528" y="88"/>
                    <a:pt x="1528" y="89"/>
                    <a:pt x="1528" y="89"/>
                  </a:cubicBezTo>
                  <a:cubicBezTo>
                    <a:pt x="1527" y="89"/>
                    <a:pt x="1528" y="90"/>
                    <a:pt x="1527" y="90"/>
                  </a:cubicBezTo>
                  <a:cubicBezTo>
                    <a:pt x="1527" y="91"/>
                    <a:pt x="1527" y="91"/>
                    <a:pt x="1527" y="91"/>
                  </a:cubicBezTo>
                  <a:cubicBezTo>
                    <a:pt x="1527" y="92"/>
                    <a:pt x="1527" y="93"/>
                    <a:pt x="1527" y="94"/>
                  </a:cubicBezTo>
                  <a:cubicBezTo>
                    <a:pt x="1527" y="96"/>
                    <a:pt x="1527" y="99"/>
                    <a:pt x="1527" y="101"/>
                  </a:cubicBezTo>
                  <a:cubicBezTo>
                    <a:pt x="1527" y="102"/>
                    <a:pt x="1528" y="102"/>
                    <a:pt x="1529" y="102"/>
                  </a:cubicBezTo>
                  <a:cubicBezTo>
                    <a:pt x="1547" y="102"/>
                    <a:pt x="1565" y="102"/>
                    <a:pt x="1584" y="102"/>
                  </a:cubicBezTo>
                  <a:cubicBezTo>
                    <a:pt x="1584" y="102"/>
                    <a:pt x="1585" y="102"/>
                    <a:pt x="1585" y="101"/>
                  </a:cubicBezTo>
                  <a:cubicBezTo>
                    <a:pt x="1585" y="101"/>
                    <a:pt x="1585" y="101"/>
                    <a:pt x="1585" y="101"/>
                  </a:cubicBezTo>
                  <a:cubicBezTo>
                    <a:pt x="1586" y="98"/>
                    <a:pt x="1586" y="95"/>
                    <a:pt x="1585" y="92"/>
                  </a:cubicBezTo>
                  <a:cubicBezTo>
                    <a:pt x="1585" y="92"/>
                    <a:pt x="1585" y="92"/>
                    <a:pt x="1585" y="92"/>
                  </a:cubicBezTo>
                  <a:cubicBezTo>
                    <a:pt x="1585" y="91"/>
                    <a:pt x="1584" y="92"/>
                    <a:pt x="1583" y="92"/>
                  </a:cubicBezTo>
                  <a:cubicBezTo>
                    <a:pt x="1569" y="92"/>
                    <a:pt x="1555" y="92"/>
                    <a:pt x="1540" y="92"/>
                  </a:cubicBezTo>
                  <a:cubicBezTo>
                    <a:pt x="1540" y="92"/>
                    <a:pt x="1539" y="92"/>
                    <a:pt x="1539" y="91"/>
                  </a:cubicBezTo>
                  <a:cubicBezTo>
                    <a:pt x="1538" y="91"/>
                    <a:pt x="1538" y="90"/>
                    <a:pt x="1539" y="90"/>
                  </a:cubicBezTo>
                  <a:cubicBezTo>
                    <a:pt x="1539" y="89"/>
                    <a:pt x="1539" y="88"/>
                    <a:pt x="1539" y="88"/>
                  </a:cubicBezTo>
                  <a:cubicBezTo>
                    <a:pt x="1539" y="88"/>
                    <a:pt x="1539" y="87"/>
                    <a:pt x="1539" y="87"/>
                  </a:cubicBezTo>
                  <a:cubicBezTo>
                    <a:pt x="1539" y="87"/>
                    <a:pt x="1539" y="86"/>
                    <a:pt x="1539" y="86"/>
                  </a:cubicBezTo>
                  <a:cubicBezTo>
                    <a:pt x="1539" y="86"/>
                    <a:pt x="1539" y="86"/>
                    <a:pt x="1539" y="86"/>
                  </a:cubicBezTo>
                  <a:cubicBezTo>
                    <a:pt x="1539" y="86"/>
                    <a:pt x="1539" y="85"/>
                    <a:pt x="1540" y="85"/>
                  </a:cubicBezTo>
                  <a:cubicBezTo>
                    <a:pt x="1539" y="85"/>
                    <a:pt x="1540" y="85"/>
                    <a:pt x="1540" y="85"/>
                  </a:cubicBezTo>
                  <a:cubicBezTo>
                    <a:pt x="1540" y="85"/>
                    <a:pt x="1540" y="84"/>
                    <a:pt x="1540" y="84"/>
                  </a:cubicBezTo>
                  <a:cubicBezTo>
                    <a:pt x="1540" y="84"/>
                    <a:pt x="1540" y="84"/>
                    <a:pt x="1540" y="84"/>
                  </a:cubicBezTo>
                  <a:cubicBezTo>
                    <a:pt x="1540" y="84"/>
                    <a:pt x="1540" y="84"/>
                    <a:pt x="1540" y="83"/>
                  </a:cubicBezTo>
                  <a:cubicBezTo>
                    <a:pt x="1540" y="83"/>
                    <a:pt x="1540" y="83"/>
                    <a:pt x="1540" y="83"/>
                  </a:cubicBezTo>
                  <a:cubicBezTo>
                    <a:pt x="1540" y="83"/>
                    <a:pt x="1540" y="83"/>
                    <a:pt x="1541" y="83"/>
                  </a:cubicBezTo>
                  <a:cubicBezTo>
                    <a:pt x="1541" y="83"/>
                    <a:pt x="1541" y="83"/>
                    <a:pt x="1541" y="83"/>
                  </a:cubicBezTo>
                  <a:cubicBezTo>
                    <a:pt x="1541" y="83"/>
                    <a:pt x="1541" y="82"/>
                    <a:pt x="1541" y="82"/>
                  </a:cubicBezTo>
                  <a:cubicBezTo>
                    <a:pt x="1541" y="82"/>
                    <a:pt x="1541" y="82"/>
                    <a:pt x="1541" y="82"/>
                  </a:cubicBezTo>
                  <a:cubicBezTo>
                    <a:pt x="1541" y="82"/>
                    <a:pt x="1541" y="82"/>
                    <a:pt x="1541" y="82"/>
                  </a:cubicBezTo>
                  <a:cubicBezTo>
                    <a:pt x="1541" y="82"/>
                    <a:pt x="1541" y="82"/>
                    <a:pt x="1541" y="82"/>
                  </a:cubicBezTo>
                  <a:cubicBezTo>
                    <a:pt x="1542" y="82"/>
                    <a:pt x="1541" y="81"/>
                    <a:pt x="1542" y="81"/>
                  </a:cubicBezTo>
                  <a:cubicBezTo>
                    <a:pt x="1542" y="81"/>
                    <a:pt x="1542" y="81"/>
                    <a:pt x="1542" y="81"/>
                  </a:cubicBezTo>
                  <a:cubicBezTo>
                    <a:pt x="1542" y="81"/>
                    <a:pt x="1542" y="81"/>
                    <a:pt x="1542" y="81"/>
                  </a:cubicBezTo>
                  <a:cubicBezTo>
                    <a:pt x="1542" y="81"/>
                    <a:pt x="1542" y="81"/>
                    <a:pt x="1542" y="81"/>
                  </a:cubicBezTo>
                  <a:cubicBezTo>
                    <a:pt x="1542" y="81"/>
                    <a:pt x="1542" y="80"/>
                    <a:pt x="1542" y="80"/>
                  </a:cubicBezTo>
                  <a:cubicBezTo>
                    <a:pt x="1542" y="80"/>
                    <a:pt x="1542" y="80"/>
                    <a:pt x="1542" y="80"/>
                  </a:cubicBezTo>
                  <a:cubicBezTo>
                    <a:pt x="1543" y="80"/>
                    <a:pt x="1543" y="80"/>
                    <a:pt x="1543" y="79"/>
                  </a:cubicBezTo>
                  <a:cubicBezTo>
                    <a:pt x="1543" y="79"/>
                    <a:pt x="1543" y="79"/>
                    <a:pt x="1543" y="79"/>
                  </a:cubicBezTo>
                  <a:cubicBezTo>
                    <a:pt x="1543" y="79"/>
                    <a:pt x="1543" y="79"/>
                    <a:pt x="1543" y="79"/>
                  </a:cubicBezTo>
                  <a:cubicBezTo>
                    <a:pt x="1543" y="79"/>
                    <a:pt x="1543" y="79"/>
                    <a:pt x="1543" y="79"/>
                  </a:cubicBezTo>
                  <a:cubicBezTo>
                    <a:pt x="1544" y="79"/>
                    <a:pt x="1544" y="79"/>
                    <a:pt x="1544" y="79"/>
                  </a:cubicBezTo>
                  <a:cubicBezTo>
                    <a:pt x="1544" y="79"/>
                    <a:pt x="1544" y="79"/>
                    <a:pt x="1544" y="79"/>
                  </a:cubicBezTo>
                  <a:cubicBezTo>
                    <a:pt x="1544" y="78"/>
                    <a:pt x="1544" y="78"/>
                    <a:pt x="1544" y="78"/>
                  </a:cubicBezTo>
                  <a:cubicBezTo>
                    <a:pt x="1544" y="78"/>
                    <a:pt x="1544" y="78"/>
                    <a:pt x="1544" y="78"/>
                  </a:cubicBezTo>
                  <a:cubicBezTo>
                    <a:pt x="1544" y="78"/>
                    <a:pt x="1544" y="78"/>
                    <a:pt x="1544" y="78"/>
                  </a:cubicBezTo>
                  <a:cubicBezTo>
                    <a:pt x="1544" y="78"/>
                    <a:pt x="1544" y="78"/>
                    <a:pt x="1544" y="78"/>
                  </a:cubicBezTo>
                  <a:cubicBezTo>
                    <a:pt x="1545" y="78"/>
                    <a:pt x="1545" y="78"/>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5" y="77"/>
                    <a:pt x="1545" y="77"/>
                    <a:pt x="1545" y="77"/>
                  </a:cubicBezTo>
                  <a:cubicBezTo>
                    <a:pt x="1546" y="77"/>
                    <a:pt x="1546" y="77"/>
                    <a:pt x="1546" y="76"/>
                  </a:cubicBezTo>
                  <a:cubicBezTo>
                    <a:pt x="1546" y="76"/>
                    <a:pt x="1546" y="76"/>
                    <a:pt x="1546" y="76"/>
                  </a:cubicBezTo>
                  <a:cubicBezTo>
                    <a:pt x="1546" y="76"/>
                    <a:pt x="1546" y="76"/>
                    <a:pt x="1546" y="76"/>
                  </a:cubicBezTo>
                  <a:cubicBezTo>
                    <a:pt x="1546" y="76"/>
                    <a:pt x="1546" y="76"/>
                    <a:pt x="1546" y="76"/>
                  </a:cubicBezTo>
                  <a:cubicBezTo>
                    <a:pt x="1547" y="76"/>
                    <a:pt x="1547" y="75"/>
                    <a:pt x="1548" y="75"/>
                  </a:cubicBezTo>
                  <a:cubicBezTo>
                    <a:pt x="1548" y="75"/>
                    <a:pt x="1548" y="75"/>
                    <a:pt x="1548" y="75"/>
                  </a:cubicBezTo>
                  <a:cubicBezTo>
                    <a:pt x="1548" y="75"/>
                    <a:pt x="1548" y="75"/>
                    <a:pt x="1548" y="75"/>
                  </a:cubicBezTo>
                  <a:cubicBezTo>
                    <a:pt x="1548" y="75"/>
                    <a:pt x="1548" y="75"/>
                    <a:pt x="1548" y="75"/>
                  </a:cubicBezTo>
                  <a:cubicBezTo>
                    <a:pt x="1548" y="75"/>
                    <a:pt x="1548" y="74"/>
                    <a:pt x="1548" y="74"/>
                  </a:cubicBezTo>
                  <a:cubicBezTo>
                    <a:pt x="1548" y="74"/>
                    <a:pt x="1548" y="74"/>
                    <a:pt x="1548" y="74"/>
                  </a:cubicBezTo>
                  <a:cubicBezTo>
                    <a:pt x="1549" y="74"/>
                    <a:pt x="1549" y="74"/>
                    <a:pt x="1549" y="74"/>
                  </a:cubicBezTo>
                  <a:cubicBezTo>
                    <a:pt x="1549" y="74"/>
                    <a:pt x="1549" y="74"/>
                    <a:pt x="1549" y="74"/>
                  </a:cubicBezTo>
                  <a:cubicBezTo>
                    <a:pt x="1549" y="74"/>
                    <a:pt x="1550" y="73"/>
                    <a:pt x="1550" y="73"/>
                  </a:cubicBezTo>
                  <a:cubicBezTo>
                    <a:pt x="1550" y="73"/>
                    <a:pt x="1550" y="73"/>
                    <a:pt x="1550" y="73"/>
                  </a:cubicBezTo>
                  <a:cubicBezTo>
                    <a:pt x="1550" y="73"/>
                    <a:pt x="1550" y="73"/>
                    <a:pt x="1550" y="73"/>
                  </a:cubicBezTo>
                  <a:cubicBezTo>
                    <a:pt x="1550" y="73"/>
                    <a:pt x="1550" y="73"/>
                    <a:pt x="1550" y="73"/>
                  </a:cubicBezTo>
                  <a:cubicBezTo>
                    <a:pt x="1550" y="73"/>
                    <a:pt x="1551" y="73"/>
                    <a:pt x="1551" y="72"/>
                  </a:cubicBezTo>
                  <a:cubicBezTo>
                    <a:pt x="1551" y="72"/>
                    <a:pt x="1551" y="72"/>
                    <a:pt x="1551" y="72"/>
                  </a:cubicBezTo>
                  <a:cubicBezTo>
                    <a:pt x="1551" y="72"/>
                    <a:pt x="1551" y="72"/>
                    <a:pt x="1551" y="72"/>
                  </a:cubicBezTo>
                  <a:cubicBezTo>
                    <a:pt x="1551" y="72"/>
                    <a:pt x="1551" y="72"/>
                    <a:pt x="1551" y="72"/>
                  </a:cubicBezTo>
                  <a:cubicBezTo>
                    <a:pt x="1552" y="72"/>
                    <a:pt x="1552" y="72"/>
                    <a:pt x="1552" y="72"/>
                  </a:cubicBezTo>
                  <a:cubicBezTo>
                    <a:pt x="1552" y="72"/>
                    <a:pt x="1552" y="72"/>
                    <a:pt x="1552" y="72"/>
                  </a:cubicBezTo>
                  <a:cubicBezTo>
                    <a:pt x="1552" y="71"/>
                    <a:pt x="1552" y="71"/>
                    <a:pt x="1552" y="71"/>
                  </a:cubicBezTo>
                  <a:cubicBezTo>
                    <a:pt x="1552" y="71"/>
                    <a:pt x="1552" y="71"/>
                    <a:pt x="1552" y="71"/>
                  </a:cubicBezTo>
                  <a:cubicBezTo>
                    <a:pt x="1553" y="71"/>
                    <a:pt x="1553" y="71"/>
                    <a:pt x="1553" y="71"/>
                  </a:cubicBezTo>
                  <a:cubicBezTo>
                    <a:pt x="1553" y="71"/>
                    <a:pt x="1553" y="71"/>
                    <a:pt x="1553" y="71"/>
                  </a:cubicBezTo>
                  <a:cubicBezTo>
                    <a:pt x="1553" y="71"/>
                    <a:pt x="1553" y="71"/>
                    <a:pt x="1553" y="71"/>
                  </a:cubicBezTo>
                  <a:cubicBezTo>
                    <a:pt x="1553" y="71"/>
                    <a:pt x="1553" y="71"/>
                    <a:pt x="1553" y="71"/>
                  </a:cubicBezTo>
                  <a:cubicBezTo>
                    <a:pt x="1553" y="70"/>
                    <a:pt x="1554" y="70"/>
                    <a:pt x="1554" y="70"/>
                  </a:cubicBezTo>
                  <a:cubicBezTo>
                    <a:pt x="1554" y="70"/>
                    <a:pt x="1554" y="70"/>
                    <a:pt x="1554" y="70"/>
                  </a:cubicBezTo>
                  <a:cubicBezTo>
                    <a:pt x="1554" y="70"/>
                    <a:pt x="1554" y="70"/>
                    <a:pt x="1554" y="70"/>
                  </a:cubicBezTo>
                  <a:cubicBezTo>
                    <a:pt x="1554" y="70"/>
                    <a:pt x="1554" y="70"/>
                    <a:pt x="1554" y="70"/>
                  </a:cubicBezTo>
                  <a:cubicBezTo>
                    <a:pt x="1554" y="70"/>
                    <a:pt x="1554" y="70"/>
                    <a:pt x="1555" y="70"/>
                  </a:cubicBezTo>
                  <a:cubicBezTo>
                    <a:pt x="1555" y="70"/>
                    <a:pt x="1555" y="70"/>
                    <a:pt x="1555" y="70"/>
                  </a:cubicBezTo>
                  <a:cubicBezTo>
                    <a:pt x="1555" y="69"/>
                    <a:pt x="1555" y="69"/>
                    <a:pt x="1555" y="69"/>
                  </a:cubicBezTo>
                  <a:cubicBezTo>
                    <a:pt x="1555" y="69"/>
                    <a:pt x="1555" y="69"/>
                    <a:pt x="1555" y="69"/>
                  </a:cubicBezTo>
                  <a:cubicBezTo>
                    <a:pt x="1555" y="69"/>
                    <a:pt x="1555" y="69"/>
                    <a:pt x="1556" y="69"/>
                  </a:cubicBezTo>
                  <a:cubicBezTo>
                    <a:pt x="1556" y="69"/>
                    <a:pt x="1556" y="69"/>
                    <a:pt x="1556" y="69"/>
                  </a:cubicBezTo>
                  <a:cubicBezTo>
                    <a:pt x="1556" y="69"/>
                    <a:pt x="1556" y="68"/>
                    <a:pt x="1557" y="68"/>
                  </a:cubicBezTo>
                  <a:cubicBezTo>
                    <a:pt x="1557" y="68"/>
                    <a:pt x="1557" y="68"/>
                    <a:pt x="1557" y="68"/>
                  </a:cubicBezTo>
                  <a:cubicBezTo>
                    <a:pt x="1557" y="68"/>
                    <a:pt x="1557" y="68"/>
                    <a:pt x="1557" y="68"/>
                  </a:cubicBezTo>
                  <a:cubicBezTo>
                    <a:pt x="1557" y="68"/>
                    <a:pt x="1557" y="68"/>
                    <a:pt x="1557" y="68"/>
                  </a:cubicBezTo>
                  <a:cubicBezTo>
                    <a:pt x="1557" y="68"/>
                    <a:pt x="1558" y="68"/>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8" y="67"/>
                    <a:pt x="1558" y="67"/>
                    <a:pt x="1558" y="67"/>
                  </a:cubicBezTo>
                  <a:cubicBezTo>
                    <a:pt x="1559" y="66"/>
                    <a:pt x="1559" y="67"/>
                    <a:pt x="1559" y="66"/>
                  </a:cubicBezTo>
                  <a:cubicBezTo>
                    <a:pt x="1559" y="66"/>
                    <a:pt x="1559" y="66"/>
                    <a:pt x="1559" y="66"/>
                  </a:cubicBezTo>
                  <a:cubicBezTo>
                    <a:pt x="1559" y="66"/>
                    <a:pt x="1559" y="66"/>
                    <a:pt x="1559" y="66"/>
                  </a:cubicBezTo>
                  <a:cubicBezTo>
                    <a:pt x="1559" y="66"/>
                    <a:pt x="1559" y="66"/>
                    <a:pt x="1559" y="66"/>
                  </a:cubicBezTo>
                  <a:cubicBezTo>
                    <a:pt x="1560" y="66"/>
                    <a:pt x="1560" y="66"/>
                    <a:pt x="1560" y="66"/>
                  </a:cubicBezTo>
                  <a:cubicBezTo>
                    <a:pt x="1560" y="66"/>
                    <a:pt x="1560" y="66"/>
                    <a:pt x="1560" y="66"/>
                  </a:cubicBezTo>
                  <a:cubicBezTo>
                    <a:pt x="1560" y="66"/>
                    <a:pt x="1560" y="65"/>
                    <a:pt x="1560" y="65"/>
                  </a:cubicBezTo>
                  <a:cubicBezTo>
                    <a:pt x="1560" y="65"/>
                    <a:pt x="1560" y="65"/>
                    <a:pt x="1560" y="65"/>
                  </a:cubicBezTo>
                  <a:cubicBezTo>
                    <a:pt x="1561" y="65"/>
                    <a:pt x="1561" y="65"/>
                    <a:pt x="1561" y="65"/>
                  </a:cubicBezTo>
                  <a:cubicBezTo>
                    <a:pt x="1561" y="65"/>
                    <a:pt x="1561" y="65"/>
                    <a:pt x="1561" y="65"/>
                  </a:cubicBezTo>
                  <a:cubicBezTo>
                    <a:pt x="1561" y="65"/>
                    <a:pt x="1561" y="65"/>
                    <a:pt x="1561" y="65"/>
                  </a:cubicBezTo>
                  <a:cubicBezTo>
                    <a:pt x="1561" y="65"/>
                    <a:pt x="1561" y="65"/>
                    <a:pt x="1561" y="65"/>
                  </a:cubicBezTo>
                  <a:cubicBezTo>
                    <a:pt x="1562" y="65"/>
                    <a:pt x="1562" y="64"/>
                    <a:pt x="1562" y="64"/>
                  </a:cubicBezTo>
                  <a:cubicBezTo>
                    <a:pt x="1562" y="64"/>
                    <a:pt x="1562" y="64"/>
                    <a:pt x="1562" y="64"/>
                  </a:cubicBezTo>
                  <a:cubicBezTo>
                    <a:pt x="1562" y="64"/>
                    <a:pt x="1562" y="64"/>
                    <a:pt x="1562" y="64"/>
                  </a:cubicBezTo>
                  <a:cubicBezTo>
                    <a:pt x="1562" y="64"/>
                    <a:pt x="1562" y="64"/>
                    <a:pt x="1562" y="64"/>
                  </a:cubicBezTo>
                  <a:cubicBezTo>
                    <a:pt x="1562" y="64"/>
                    <a:pt x="1563" y="64"/>
                    <a:pt x="1563" y="63"/>
                  </a:cubicBezTo>
                  <a:cubicBezTo>
                    <a:pt x="1563" y="64"/>
                    <a:pt x="1563" y="64"/>
                    <a:pt x="1563" y="64"/>
                  </a:cubicBezTo>
                  <a:cubicBezTo>
                    <a:pt x="1563" y="63"/>
                    <a:pt x="1563" y="63"/>
                    <a:pt x="1563" y="63"/>
                  </a:cubicBezTo>
                  <a:cubicBezTo>
                    <a:pt x="1563" y="63"/>
                    <a:pt x="1563" y="63"/>
                    <a:pt x="1563" y="63"/>
                  </a:cubicBezTo>
                  <a:cubicBezTo>
                    <a:pt x="1563" y="63"/>
                    <a:pt x="1563" y="63"/>
                    <a:pt x="1564" y="63"/>
                  </a:cubicBezTo>
                  <a:cubicBezTo>
                    <a:pt x="1564" y="63"/>
                    <a:pt x="1564" y="63"/>
                    <a:pt x="1564" y="63"/>
                  </a:cubicBezTo>
                  <a:cubicBezTo>
                    <a:pt x="1564" y="63"/>
                    <a:pt x="1564" y="63"/>
                    <a:pt x="1564" y="62"/>
                  </a:cubicBezTo>
                  <a:cubicBezTo>
                    <a:pt x="1564" y="62"/>
                    <a:pt x="1564" y="62"/>
                    <a:pt x="1564" y="62"/>
                  </a:cubicBezTo>
                  <a:cubicBezTo>
                    <a:pt x="1564" y="62"/>
                    <a:pt x="1565" y="62"/>
                    <a:pt x="1565" y="62"/>
                  </a:cubicBezTo>
                  <a:cubicBezTo>
                    <a:pt x="1565" y="62"/>
                    <a:pt x="1565" y="62"/>
                    <a:pt x="1565" y="62"/>
                  </a:cubicBezTo>
                  <a:cubicBezTo>
                    <a:pt x="1565" y="62"/>
                    <a:pt x="1565" y="62"/>
                    <a:pt x="1565" y="62"/>
                  </a:cubicBezTo>
                  <a:cubicBezTo>
                    <a:pt x="1565" y="62"/>
                    <a:pt x="1565" y="62"/>
                    <a:pt x="1565" y="62"/>
                  </a:cubicBezTo>
                  <a:cubicBezTo>
                    <a:pt x="1565" y="62"/>
                    <a:pt x="1566" y="61"/>
                    <a:pt x="1566" y="61"/>
                  </a:cubicBezTo>
                  <a:cubicBezTo>
                    <a:pt x="1566" y="61"/>
                    <a:pt x="1566" y="61"/>
                    <a:pt x="1566" y="61"/>
                  </a:cubicBezTo>
                  <a:cubicBezTo>
                    <a:pt x="1566" y="61"/>
                    <a:pt x="1566" y="61"/>
                    <a:pt x="1566" y="61"/>
                  </a:cubicBezTo>
                  <a:cubicBezTo>
                    <a:pt x="1566" y="61"/>
                    <a:pt x="1566" y="61"/>
                    <a:pt x="1566" y="61"/>
                  </a:cubicBezTo>
                  <a:cubicBezTo>
                    <a:pt x="1567" y="61"/>
                    <a:pt x="1567" y="61"/>
                    <a:pt x="1567" y="60"/>
                  </a:cubicBezTo>
                  <a:cubicBezTo>
                    <a:pt x="1567" y="60"/>
                    <a:pt x="1567" y="60"/>
                    <a:pt x="1567" y="60"/>
                  </a:cubicBezTo>
                  <a:cubicBezTo>
                    <a:pt x="1567" y="60"/>
                    <a:pt x="1567" y="60"/>
                    <a:pt x="1567" y="60"/>
                  </a:cubicBezTo>
                  <a:cubicBezTo>
                    <a:pt x="1567" y="60"/>
                    <a:pt x="1567" y="60"/>
                    <a:pt x="1567" y="60"/>
                  </a:cubicBezTo>
                  <a:cubicBezTo>
                    <a:pt x="1568" y="60"/>
                    <a:pt x="1568" y="59"/>
                    <a:pt x="1568" y="59"/>
                  </a:cubicBezTo>
                  <a:cubicBezTo>
                    <a:pt x="1568" y="59"/>
                    <a:pt x="1568" y="59"/>
                    <a:pt x="1568" y="59"/>
                  </a:cubicBezTo>
                  <a:cubicBezTo>
                    <a:pt x="1569" y="59"/>
                    <a:pt x="1569" y="59"/>
                    <a:pt x="1569" y="59"/>
                  </a:cubicBezTo>
                  <a:cubicBezTo>
                    <a:pt x="1569" y="59"/>
                    <a:pt x="1569" y="59"/>
                    <a:pt x="1569" y="59"/>
                  </a:cubicBezTo>
                  <a:cubicBezTo>
                    <a:pt x="1569" y="59"/>
                    <a:pt x="1569" y="58"/>
                    <a:pt x="1569" y="58"/>
                  </a:cubicBezTo>
                  <a:cubicBezTo>
                    <a:pt x="1569" y="58"/>
                    <a:pt x="1569" y="58"/>
                    <a:pt x="1569" y="58"/>
                  </a:cubicBezTo>
                  <a:cubicBezTo>
                    <a:pt x="1569" y="58"/>
                    <a:pt x="1569" y="58"/>
                    <a:pt x="1569" y="58"/>
                  </a:cubicBezTo>
                  <a:cubicBezTo>
                    <a:pt x="1569" y="58"/>
                    <a:pt x="1569" y="58"/>
                    <a:pt x="1569" y="58"/>
                  </a:cubicBezTo>
                  <a:cubicBezTo>
                    <a:pt x="1570" y="58"/>
                    <a:pt x="1570" y="58"/>
                    <a:pt x="1570" y="58"/>
                  </a:cubicBezTo>
                  <a:cubicBezTo>
                    <a:pt x="1570" y="58"/>
                    <a:pt x="1570" y="58"/>
                    <a:pt x="1570" y="58"/>
                  </a:cubicBezTo>
                  <a:cubicBezTo>
                    <a:pt x="1570" y="58"/>
                    <a:pt x="1570" y="57"/>
                    <a:pt x="1570" y="57"/>
                  </a:cubicBezTo>
                  <a:cubicBezTo>
                    <a:pt x="1570" y="57"/>
                    <a:pt x="1570" y="57"/>
                    <a:pt x="1570" y="57"/>
                  </a:cubicBezTo>
                  <a:cubicBezTo>
                    <a:pt x="1570" y="57"/>
                    <a:pt x="1570" y="57"/>
                    <a:pt x="1571" y="57"/>
                  </a:cubicBezTo>
                  <a:cubicBezTo>
                    <a:pt x="1571" y="57"/>
                    <a:pt x="1571" y="57"/>
                    <a:pt x="1571" y="57"/>
                  </a:cubicBezTo>
                  <a:cubicBezTo>
                    <a:pt x="1571" y="57"/>
                    <a:pt x="1571" y="57"/>
                    <a:pt x="1571" y="57"/>
                  </a:cubicBezTo>
                  <a:cubicBezTo>
                    <a:pt x="1571" y="57"/>
                    <a:pt x="1571" y="57"/>
                    <a:pt x="1571" y="57"/>
                  </a:cubicBezTo>
                  <a:cubicBezTo>
                    <a:pt x="1571" y="56"/>
                    <a:pt x="1571" y="56"/>
                    <a:pt x="1571" y="56"/>
                  </a:cubicBezTo>
                  <a:cubicBezTo>
                    <a:pt x="1571" y="56"/>
                    <a:pt x="1571" y="56"/>
                    <a:pt x="1571" y="56"/>
                  </a:cubicBezTo>
                  <a:cubicBezTo>
                    <a:pt x="1571" y="56"/>
                    <a:pt x="1572" y="56"/>
                    <a:pt x="1572" y="56"/>
                  </a:cubicBezTo>
                  <a:cubicBezTo>
                    <a:pt x="1572" y="56"/>
                    <a:pt x="1572" y="56"/>
                    <a:pt x="1572" y="56"/>
                  </a:cubicBezTo>
                  <a:cubicBezTo>
                    <a:pt x="1572" y="56"/>
                    <a:pt x="1572" y="56"/>
                    <a:pt x="1572" y="56"/>
                  </a:cubicBezTo>
                  <a:cubicBezTo>
                    <a:pt x="1572" y="56"/>
                    <a:pt x="1572" y="56"/>
                    <a:pt x="1572" y="56"/>
                  </a:cubicBezTo>
                  <a:cubicBezTo>
                    <a:pt x="1572" y="55"/>
                    <a:pt x="1572" y="55"/>
                    <a:pt x="1572" y="55"/>
                  </a:cubicBezTo>
                  <a:cubicBezTo>
                    <a:pt x="1572" y="55"/>
                    <a:pt x="1572" y="55"/>
                    <a:pt x="1572" y="55"/>
                  </a:cubicBezTo>
                  <a:cubicBezTo>
                    <a:pt x="1572" y="55"/>
                    <a:pt x="1573" y="55"/>
                    <a:pt x="1573" y="55"/>
                  </a:cubicBezTo>
                  <a:cubicBezTo>
                    <a:pt x="1573" y="55"/>
                    <a:pt x="1573" y="55"/>
                    <a:pt x="1573" y="55"/>
                  </a:cubicBezTo>
                  <a:cubicBezTo>
                    <a:pt x="1573" y="55"/>
                    <a:pt x="1573" y="55"/>
                    <a:pt x="1573" y="54"/>
                  </a:cubicBezTo>
                  <a:cubicBezTo>
                    <a:pt x="1573" y="54"/>
                    <a:pt x="1573" y="54"/>
                    <a:pt x="1573" y="54"/>
                  </a:cubicBezTo>
                  <a:cubicBezTo>
                    <a:pt x="1573" y="54"/>
                    <a:pt x="1573" y="54"/>
                    <a:pt x="1573" y="54"/>
                  </a:cubicBezTo>
                  <a:cubicBezTo>
                    <a:pt x="1573" y="54"/>
                    <a:pt x="1573" y="54"/>
                    <a:pt x="1573" y="54"/>
                  </a:cubicBezTo>
                  <a:cubicBezTo>
                    <a:pt x="1574" y="54"/>
                    <a:pt x="1574" y="53"/>
                    <a:pt x="1574" y="53"/>
                  </a:cubicBezTo>
                  <a:cubicBezTo>
                    <a:pt x="1574" y="53"/>
                    <a:pt x="1574" y="53"/>
                    <a:pt x="1574" y="53"/>
                  </a:cubicBezTo>
                  <a:cubicBezTo>
                    <a:pt x="1574" y="53"/>
                    <a:pt x="1574" y="53"/>
                    <a:pt x="1574" y="53"/>
                  </a:cubicBezTo>
                  <a:cubicBezTo>
                    <a:pt x="1574" y="53"/>
                    <a:pt x="1574" y="53"/>
                    <a:pt x="1574" y="53"/>
                  </a:cubicBezTo>
                  <a:cubicBezTo>
                    <a:pt x="1575" y="53"/>
                    <a:pt x="1575" y="53"/>
                    <a:pt x="1575" y="52"/>
                  </a:cubicBezTo>
                  <a:cubicBezTo>
                    <a:pt x="1575" y="52"/>
                    <a:pt x="1575" y="52"/>
                    <a:pt x="1575" y="52"/>
                  </a:cubicBezTo>
                  <a:cubicBezTo>
                    <a:pt x="1575" y="52"/>
                    <a:pt x="1575" y="52"/>
                    <a:pt x="1575" y="52"/>
                  </a:cubicBezTo>
                  <a:cubicBezTo>
                    <a:pt x="1575" y="52"/>
                    <a:pt x="1575" y="52"/>
                    <a:pt x="1575" y="52"/>
                  </a:cubicBezTo>
                  <a:cubicBezTo>
                    <a:pt x="1575" y="52"/>
                    <a:pt x="1575" y="52"/>
                    <a:pt x="1575" y="51"/>
                  </a:cubicBezTo>
                  <a:cubicBezTo>
                    <a:pt x="1575" y="51"/>
                    <a:pt x="1575" y="51"/>
                    <a:pt x="1575" y="51"/>
                  </a:cubicBezTo>
                  <a:cubicBezTo>
                    <a:pt x="1576" y="51"/>
                    <a:pt x="1576" y="51"/>
                    <a:pt x="1576" y="51"/>
                  </a:cubicBezTo>
                  <a:cubicBezTo>
                    <a:pt x="1576" y="51"/>
                    <a:pt x="1576" y="51"/>
                    <a:pt x="1576" y="51"/>
                  </a:cubicBezTo>
                  <a:cubicBezTo>
                    <a:pt x="1576" y="51"/>
                    <a:pt x="1576" y="51"/>
                    <a:pt x="1576" y="50"/>
                  </a:cubicBezTo>
                  <a:cubicBezTo>
                    <a:pt x="1576" y="50"/>
                    <a:pt x="1576" y="50"/>
                    <a:pt x="1576" y="50"/>
                  </a:cubicBezTo>
                  <a:cubicBezTo>
                    <a:pt x="1576" y="50"/>
                    <a:pt x="1576" y="50"/>
                    <a:pt x="1576" y="50"/>
                  </a:cubicBezTo>
                  <a:cubicBezTo>
                    <a:pt x="1576" y="50"/>
                    <a:pt x="1576" y="50"/>
                    <a:pt x="1576" y="50"/>
                  </a:cubicBezTo>
                  <a:cubicBezTo>
                    <a:pt x="1577" y="50"/>
                    <a:pt x="1577" y="49"/>
                    <a:pt x="1577" y="49"/>
                  </a:cubicBezTo>
                  <a:cubicBezTo>
                    <a:pt x="1577" y="49"/>
                    <a:pt x="1577" y="49"/>
                    <a:pt x="1577" y="49"/>
                  </a:cubicBezTo>
                  <a:cubicBezTo>
                    <a:pt x="1577" y="49"/>
                    <a:pt x="1577" y="49"/>
                    <a:pt x="1577" y="49"/>
                  </a:cubicBezTo>
                  <a:cubicBezTo>
                    <a:pt x="1577" y="49"/>
                    <a:pt x="1577" y="49"/>
                    <a:pt x="1577" y="49"/>
                  </a:cubicBezTo>
                  <a:cubicBezTo>
                    <a:pt x="1577" y="49"/>
                    <a:pt x="1577" y="48"/>
                    <a:pt x="1578" y="48"/>
                  </a:cubicBezTo>
                  <a:cubicBezTo>
                    <a:pt x="1577" y="48"/>
                    <a:pt x="1577" y="48"/>
                    <a:pt x="1577" y="48"/>
                  </a:cubicBezTo>
                  <a:cubicBezTo>
                    <a:pt x="1578" y="48"/>
                    <a:pt x="1578" y="48"/>
                    <a:pt x="1578" y="48"/>
                  </a:cubicBezTo>
                  <a:cubicBezTo>
                    <a:pt x="1578" y="48"/>
                    <a:pt x="1578" y="48"/>
                    <a:pt x="1578" y="48"/>
                  </a:cubicBezTo>
                  <a:cubicBezTo>
                    <a:pt x="1578" y="47"/>
                    <a:pt x="1578" y="47"/>
                    <a:pt x="1578" y="47"/>
                  </a:cubicBezTo>
                  <a:cubicBezTo>
                    <a:pt x="1578" y="47"/>
                    <a:pt x="1578" y="47"/>
                    <a:pt x="1578" y="47"/>
                  </a:cubicBezTo>
                  <a:cubicBezTo>
                    <a:pt x="1578" y="47"/>
                    <a:pt x="1578" y="46"/>
                    <a:pt x="1579" y="46"/>
                  </a:cubicBezTo>
                  <a:cubicBezTo>
                    <a:pt x="1579" y="46"/>
                    <a:pt x="1579" y="46"/>
                    <a:pt x="1579" y="46"/>
                  </a:cubicBezTo>
                  <a:cubicBezTo>
                    <a:pt x="1579" y="46"/>
                    <a:pt x="1579" y="46"/>
                    <a:pt x="1579" y="45"/>
                  </a:cubicBezTo>
                  <a:cubicBezTo>
                    <a:pt x="1579" y="45"/>
                    <a:pt x="1579" y="45"/>
                    <a:pt x="1579" y="45"/>
                  </a:cubicBezTo>
                  <a:cubicBezTo>
                    <a:pt x="1579" y="45"/>
                    <a:pt x="1579" y="45"/>
                    <a:pt x="1579" y="45"/>
                  </a:cubicBezTo>
                  <a:cubicBezTo>
                    <a:pt x="1579" y="45"/>
                    <a:pt x="1579" y="45"/>
                    <a:pt x="1579" y="45"/>
                  </a:cubicBezTo>
                  <a:cubicBezTo>
                    <a:pt x="1580" y="45"/>
                    <a:pt x="1579" y="44"/>
                    <a:pt x="1580" y="44"/>
                  </a:cubicBezTo>
                  <a:cubicBezTo>
                    <a:pt x="1580" y="44"/>
                    <a:pt x="1580" y="44"/>
                    <a:pt x="1580" y="44"/>
                  </a:cubicBezTo>
                  <a:cubicBezTo>
                    <a:pt x="1580" y="43"/>
                    <a:pt x="1580" y="43"/>
                    <a:pt x="1580" y="43"/>
                  </a:cubicBezTo>
                  <a:cubicBezTo>
                    <a:pt x="1580" y="43"/>
                    <a:pt x="1580" y="43"/>
                    <a:pt x="1580" y="43"/>
                  </a:cubicBezTo>
                  <a:cubicBezTo>
                    <a:pt x="1580" y="43"/>
                    <a:pt x="1580" y="43"/>
                    <a:pt x="1580" y="43"/>
                  </a:cubicBezTo>
                  <a:cubicBezTo>
                    <a:pt x="1580" y="42"/>
                    <a:pt x="1580" y="42"/>
                    <a:pt x="1580" y="42"/>
                  </a:cubicBezTo>
                  <a:cubicBezTo>
                    <a:pt x="1580" y="42"/>
                    <a:pt x="1580" y="42"/>
                    <a:pt x="1580" y="42"/>
                  </a:cubicBezTo>
                  <a:cubicBezTo>
                    <a:pt x="1581" y="41"/>
                    <a:pt x="1580" y="41"/>
                    <a:pt x="1581" y="40"/>
                  </a:cubicBezTo>
                  <a:cubicBezTo>
                    <a:pt x="1581" y="40"/>
                    <a:pt x="1581" y="40"/>
                    <a:pt x="1581" y="40"/>
                  </a:cubicBezTo>
                  <a:cubicBezTo>
                    <a:pt x="1581" y="40"/>
                    <a:pt x="1581" y="40"/>
                    <a:pt x="1581" y="40"/>
                  </a:cubicBezTo>
                  <a:cubicBezTo>
                    <a:pt x="1581" y="40"/>
                    <a:pt x="1581" y="39"/>
                    <a:pt x="1581" y="39"/>
                  </a:cubicBezTo>
                  <a:cubicBezTo>
                    <a:pt x="1581" y="39"/>
                    <a:pt x="1581" y="39"/>
                    <a:pt x="1581" y="39"/>
                  </a:cubicBezTo>
                  <a:cubicBezTo>
                    <a:pt x="1581" y="38"/>
                    <a:pt x="1581" y="37"/>
                    <a:pt x="1581" y="37"/>
                  </a:cubicBezTo>
                  <a:cubicBezTo>
                    <a:pt x="1581" y="37"/>
                    <a:pt x="1581" y="37"/>
                    <a:pt x="1581" y="36"/>
                  </a:cubicBezTo>
                  <a:cubicBezTo>
                    <a:pt x="1582" y="35"/>
                    <a:pt x="1581" y="34"/>
                    <a:pt x="1582" y="33"/>
                  </a:cubicBezTo>
                  <a:cubicBezTo>
                    <a:pt x="1582" y="32"/>
                    <a:pt x="1582" y="31"/>
                    <a:pt x="1582" y="29"/>
                  </a:cubicBezTo>
                  <a:cubicBezTo>
                    <a:pt x="1581" y="28"/>
                    <a:pt x="1582" y="27"/>
                    <a:pt x="1581" y="26"/>
                  </a:cubicBezTo>
                  <a:cubicBezTo>
                    <a:pt x="1581" y="26"/>
                    <a:pt x="1581" y="26"/>
                    <a:pt x="1581" y="26"/>
                  </a:cubicBezTo>
                  <a:cubicBezTo>
                    <a:pt x="1581" y="26"/>
                    <a:pt x="1581" y="25"/>
                    <a:pt x="1581" y="25"/>
                  </a:cubicBezTo>
                  <a:cubicBezTo>
                    <a:pt x="1581" y="25"/>
                    <a:pt x="1581" y="24"/>
                    <a:pt x="1581" y="24"/>
                  </a:cubicBezTo>
                  <a:cubicBezTo>
                    <a:pt x="1581" y="24"/>
                    <a:pt x="1581" y="24"/>
                    <a:pt x="1581" y="23"/>
                  </a:cubicBezTo>
                  <a:cubicBezTo>
                    <a:pt x="1581" y="23"/>
                    <a:pt x="1581" y="23"/>
                    <a:pt x="1581" y="23"/>
                  </a:cubicBezTo>
                  <a:cubicBezTo>
                    <a:pt x="1580" y="23"/>
                    <a:pt x="1581" y="22"/>
                    <a:pt x="1580" y="22"/>
                  </a:cubicBezTo>
                  <a:close/>
                  <a:moveTo>
                    <a:pt x="1749" y="37"/>
                  </a:moveTo>
                  <a:cubicBezTo>
                    <a:pt x="1749" y="37"/>
                    <a:pt x="1749" y="37"/>
                    <a:pt x="1749" y="36"/>
                  </a:cubicBezTo>
                  <a:cubicBezTo>
                    <a:pt x="1750" y="35"/>
                    <a:pt x="1749" y="34"/>
                    <a:pt x="1750" y="33"/>
                  </a:cubicBezTo>
                  <a:cubicBezTo>
                    <a:pt x="1750" y="32"/>
                    <a:pt x="1750" y="31"/>
                    <a:pt x="1750" y="29"/>
                  </a:cubicBezTo>
                  <a:cubicBezTo>
                    <a:pt x="1749" y="28"/>
                    <a:pt x="1750" y="28"/>
                    <a:pt x="1750" y="27"/>
                  </a:cubicBezTo>
                  <a:cubicBezTo>
                    <a:pt x="1749" y="26"/>
                    <a:pt x="1749" y="26"/>
                    <a:pt x="1749" y="26"/>
                  </a:cubicBezTo>
                  <a:cubicBezTo>
                    <a:pt x="1749" y="26"/>
                    <a:pt x="1749" y="25"/>
                    <a:pt x="1749" y="25"/>
                  </a:cubicBezTo>
                  <a:cubicBezTo>
                    <a:pt x="1749" y="25"/>
                    <a:pt x="1749" y="24"/>
                    <a:pt x="1749" y="24"/>
                  </a:cubicBezTo>
                  <a:cubicBezTo>
                    <a:pt x="1749" y="24"/>
                    <a:pt x="1749" y="24"/>
                    <a:pt x="1749" y="23"/>
                  </a:cubicBezTo>
                  <a:cubicBezTo>
                    <a:pt x="1749" y="23"/>
                    <a:pt x="1749" y="23"/>
                    <a:pt x="1749" y="23"/>
                  </a:cubicBezTo>
                  <a:cubicBezTo>
                    <a:pt x="1749" y="23"/>
                    <a:pt x="1749" y="22"/>
                    <a:pt x="1748" y="22"/>
                  </a:cubicBezTo>
                  <a:cubicBezTo>
                    <a:pt x="1748" y="22"/>
                    <a:pt x="1748" y="22"/>
                    <a:pt x="1748" y="22"/>
                  </a:cubicBezTo>
                  <a:cubicBezTo>
                    <a:pt x="1748" y="22"/>
                    <a:pt x="1748" y="21"/>
                    <a:pt x="1748" y="21"/>
                  </a:cubicBezTo>
                  <a:cubicBezTo>
                    <a:pt x="1748" y="21"/>
                    <a:pt x="1748" y="21"/>
                    <a:pt x="1748" y="21"/>
                  </a:cubicBezTo>
                  <a:cubicBezTo>
                    <a:pt x="1748" y="21"/>
                    <a:pt x="1748" y="21"/>
                    <a:pt x="1748" y="21"/>
                  </a:cubicBezTo>
                  <a:cubicBezTo>
                    <a:pt x="1748" y="21"/>
                    <a:pt x="1748" y="20"/>
                    <a:pt x="1748" y="20"/>
                  </a:cubicBezTo>
                  <a:cubicBezTo>
                    <a:pt x="1748" y="20"/>
                    <a:pt x="1748" y="20"/>
                    <a:pt x="1748" y="20"/>
                  </a:cubicBezTo>
                  <a:cubicBezTo>
                    <a:pt x="1748" y="20"/>
                    <a:pt x="1748" y="20"/>
                    <a:pt x="1747" y="19"/>
                  </a:cubicBezTo>
                  <a:cubicBezTo>
                    <a:pt x="1747" y="19"/>
                    <a:pt x="1747" y="19"/>
                    <a:pt x="1747" y="19"/>
                  </a:cubicBezTo>
                  <a:cubicBezTo>
                    <a:pt x="1747" y="19"/>
                    <a:pt x="1747" y="19"/>
                    <a:pt x="1747" y="19"/>
                  </a:cubicBezTo>
                  <a:cubicBezTo>
                    <a:pt x="1747" y="19"/>
                    <a:pt x="1747" y="19"/>
                    <a:pt x="1747" y="19"/>
                  </a:cubicBezTo>
                  <a:cubicBezTo>
                    <a:pt x="1747" y="18"/>
                    <a:pt x="1747" y="18"/>
                    <a:pt x="1747" y="18"/>
                  </a:cubicBezTo>
                  <a:cubicBezTo>
                    <a:pt x="1747" y="18"/>
                    <a:pt x="1747" y="18"/>
                    <a:pt x="1747" y="18"/>
                  </a:cubicBezTo>
                  <a:cubicBezTo>
                    <a:pt x="1746" y="18"/>
                    <a:pt x="1747" y="17"/>
                    <a:pt x="1746" y="17"/>
                  </a:cubicBezTo>
                  <a:cubicBezTo>
                    <a:pt x="1746" y="17"/>
                    <a:pt x="1746" y="17"/>
                    <a:pt x="1746" y="17"/>
                  </a:cubicBezTo>
                  <a:cubicBezTo>
                    <a:pt x="1746" y="17"/>
                    <a:pt x="1746" y="17"/>
                    <a:pt x="1746" y="17"/>
                  </a:cubicBezTo>
                  <a:cubicBezTo>
                    <a:pt x="1746" y="17"/>
                    <a:pt x="1746" y="17"/>
                    <a:pt x="1746" y="17"/>
                  </a:cubicBezTo>
                  <a:cubicBezTo>
                    <a:pt x="1746" y="17"/>
                    <a:pt x="1746" y="16"/>
                    <a:pt x="1746" y="16"/>
                  </a:cubicBezTo>
                  <a:cubicBezTo>
                    <a:pt x="1746" y="16"/>
                    <a:pt x="1746" y="16"/>
                    <a:pt x="1746" y="16"/>
                  </a:cubicBezTo>
                  <a:cubicBezTo>
                    <a:pt x="1746" y="16"/>
                    <a:pt x="1745" y="16"/>
                    <a:pt x="1745" y="16"/>
                  </a:cubicBezTo>
                  <a:cubicBezTo>
                    <a:pt x="1745" y="16"/>
                    <a:pt x="1745" y="16"/>
                    <a:pt x="1745" y="16"/>
                  </a:cubicBezTo>
                  <a:cubicBezTo>
                    <a:pt x="1745" y="16"/>
                    <a:pt x="1745" y="15"/>
                    <a:pt x="1745" y="15"/>
                  </a:cubicBezTo>
                  <a:cubicBezTo>
                    <a:pt x="1745" y="15"/>
                    <a:pt x="1745" y="15"/>
                    <a:pt x="1745" y="15"/>
                  </a:cubicBezTo>
                  <a:cubicBezTo>
                    <a:pt x="1745" y="15"/>
                    <a:pt x="1744" y="15"/>
                    <a:pt x="1744" y="15"/>
                  </a:cubicBezTo>
                  <a:cubicBezTo>
                    <a:pt x="1744" y="15"/>
                    <a:pt x="1744" y="15"/>
                    <a:pt x="1744" y="15"/>
                  </a:cubicBezTo>
                  <a:cubicBezTo>
                    <a:pt x="1744" y="14"/>
                    <a:pt x="1744" y="14"/>
                    <a:pt x="1744" y="14"/>
                  </a:cubicBezTo>
                  <a:cubicBezTo>
                    <a:pt x="1744" y="14"/>
                    <a:pt x="1744" y="14"/>
                    <a:pt x="1744" y="14"/>
                  </a:cubicBezTo>
                  <a:cubicBezTo>
                    <a:pt x="1744" y="14"/>
                    <a:pt x="1744" y="14"/>
                    <a:pt x="1744" y="14"/>
                  </a:cubicBezTo>
                  <a:cubicBezTo>
                    <a:pt x="1744" y="14"/>
                    <a:pt x="1744" y="14"/>
                    <a:pt x="1744" y="14"/>
                  </a:cubicBezTo>
                  <a:cubicBezTo>
                    <a:pt x="1743" y="14"/>
                    <a:pt x="1743" y="14"/>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3" y="13"/>
                    <a:pt x="1743" y="13"/>
                    <a:pt x="1743" y="13"/>
                  </a:cubicBezTo>
                  <a:cubicBezTo>
                    <a:pt x="1742" y="13"/>
                    <a:pt x="1742" y="13"/>
                    <a:pt x="1742" y="12"/>
                  </a:cubicBezTo>
                  <a:cubicBezTo>
                    <a:pt x="1742" y="12"/>
                    <a:pt x="1742" y="12"/>
                    <a:pt x="1742" y="12"/>
                  </a:cubicBezTo>
                  <a:cubicBezTo>
                    <a:pt x="1742" y="12"/>
                    <a:pt x="1742" y="12"/>
                    <a:pt x="1742" y="12"/>
                  </a:cubicBezTo>
                  <a:cubicBezTo>
                    <a:pt x="1742" y="12"/>
                    <a:pt x="1742" y="12"/>
                    <a:pt x="1742" y="12"/>
                  </a:cubicBezTo>
                  <a:cubicBezTo>
                    <a:pt x="1742" y="12"/>
                    <a:pt x="1742" y="12"/>
                    <a:pt x="1741" y="12"/>
                  </a:cubicBezTo>
                  <a:cubicBezTo>
                    <a:pt x="1741" y="12"/>
                    <a:pt x="1741" y="12"/>
                    <a:pt x="1741" y="12"/>
                  </a:cubicBezTo>
                  <a:cubicBezTo>
                    <a:pt x="1741" y="11"/>
                    <a:pt x="1741" y="11"/>
                    <a:pt x="1740" y="11"/>
                  </a:cubicBezTo>
                  <a:cubicBezTo>
                    <a:pt x="1740" y="11"/>
                    <a:pt x="1740" y="11"/>
                    <a:pt x="1740" y="11"/>
                  </a:cubicBezTo>
                  <a:cubicBezTo>
                    <a:pt x="1740" y="11"/>
                    <a:pt x="1740" y="11"/>
                    <a:pt x="1740" y="11"/>
                  </a:cubicBezTo>
                  <a:cubicBezTo>
                    <a:pt x="1740" y="11"/>
                    <a:pt x="1740" y="11"/>
                    <a:pt x="1740" y="11"/>
                  </a:cubicBezTo>
                  <a:cubicBezTo>
                    <a:pt x="1740" y="10"/>
                    <a:pt x="1740" y="11"/>
                    <a:pt x="1739" y="10"/>
                  </a:cubicBezTo>
                  <a:cubicBezTo>
                    <a:pt x="1739" y="10"/>
                    <a:pt x="1739" y="10"/>
                    <a:pt x="1739" y="10"/>
                  </a:cubicBezTo>
                  <a:cubicBezTo>
                    <a:pt x="1739" y="10"/>
                    <a:pt x="1739" y="10"/>
                    <a:pt x="1739" y="10"/>
                  </a:cubicBezTo>
                  <a:cubicBezTo>
                    <a:pt x="1739" y="10"/>
                    <a:pt x="1739" y="10"/>
                    <a:pt x="1739" y="10"/>
                  </a:cubicBezTo>
                  <a:cubicBezTo>
                    <a:pt x="1739" y="10"/>
                    <a:pt x="1739" y="10"/>
                    <a:pt x="1738" y="10"/>
                  </a:cubicBezTo>
                  <a:cubicBezTo>
                    <a:pt x="1738" y="10"/>
                    <a:pt x="1738" y="10"/>
                    <a:pt x="1738" y="10"/>
                  </a:cubicBezTo>
                  <a:cubicBezTo>
                    <a:pt x="1738" y="9"/>
                    <a:pt x="1738" y="9"/>
                    <a:pt x="1738" y="9"/>
                  </a:cubicBezTo>
                  <a:cubicBezTo>
                    <a:pt x="1738" y="9"/>
                    <a:pt x="1738" y="9"/>
                    <a:pt x="1738" y="9"/>
                  </a:cubicBezTo>
                  <a:cubicBezTo>
                    <a:pt x="1738" y="9"/>
                    <a:pt x="1737" y="9"/>
                    <a:pt x="1737" y="9"/>
                  </a:cubicBezTo>
                  <a:cubicBezTo>
                    <a:pt x="1737" y="9"/>
                    <a:pt x="1737" y="9"/>
                    <a:pt x="1737" y="9"/>
                  </a:cubicBezTo>
                  <a:cubicBezTo>
                    <a:pt x="1737" y="9"/>
                    <a:pt x="1737" y="9"/>
                    <a:pt x="1737" y="9"/>
                  </a:cubicBezTo>
                  <a:cubicBezTo>
                    <a:pt x="1737" y="9"/>
                    <a:pt x="1737" y="9"/>
                    <a:pt x="1737" y="9"/>
                  </a:cubicBezTo>
                  <a:cubicBezTo>
                    <a:pt x="1736" y="8"/>
                    <a:pt x="1736" y="8"/>
                    <a:pt x="1736" y="8"/>
                  </a:cubicBezTo>
                  <a:cubicBezTo>
                    <a:pt x="1736" y="8"/>
                    <a:pt x="1736" y="8"/>
                    <a:pt x="1736" y="8"/>
                  </a:cubicBezTo>
                  <a:cubicBezTo>
                    <a:pt x="1736" y="8"/>
                    <a:pt x="1735" y="8"/>
                    <a:pt x="1735" y="8"/>
                  </a:cubicBezTo>
                  <a:cubicBezTo>
                    <a:pt x="1735" y="8"/>
                    <a:pt x="1735" y="8"/>
                    <a:pt x="1735" y="8"/>
                  </a:cubicBezTo>
                  <a:cubicBezTo>
                    <a:pt x="1735" y="8"/>
                    <a:pt x="1734" y="8"/>
                    <a:pt x="1734" y="8"/>
                  </a:cubicBezTo>
                  <a:cubicBezTo>
                    <a:pt x="1734" y="8"/>
                    <a:pt x="1734" y="8"/>
                    <a:pt x="1734" y="7"/>
                  </a:cubicBezTo>
                  <a:cubicBezTo>
                    <a:pt x="1734" y="7"/>
                    <a:pt x="1733" y="7"/>
                    <a:pt x="1733" y="7"/>
                  </a:cubicBezTo>
                  <a:cubicBezTo>
                    <a:pt x="1733" y="7"/>
                    <a:pt x="1733" y="7"/>
                    <a:pt x="1733" y="7"/>
                  </a:cubicBezTo>
                  <a:cubicBezTo>
                    <a:pt x="1733" y="7"/>
                    <a:pt x="1732" y="7"/>
                    <a:pt x="1732" y="7"/>
                  </a:cubicBezTo>
                  <a:cubicBezTo>
                    <a:pt x="1732" y="7"/>
                    <a:pt x="1732" y="7"/>
                    <a:pt x="1732" y="7"/>
                  </a:cubicBezTo>
                  <a:cubicBezTo>
                    <a:pt x="1732" y="7"/>
                    <a:pt x="1732" y="7"/>
                    <a:pt x="1732" y="7"/>
                  </a:cubicBezTo>
                  <a:cubicBezTo>
                    <a:pt x="1731" y="7"/>
                    <a:pt x="1731" y="7"/>
                    <a:pt x="1731" y="7"/>
                  </a:cubicBezTo>
                  <a:cubicBezTo>
                    <a:pt x="1730" y="7"/>
                    <a:pt x="1730" y="7"/>
                    <a:pt x="1730" y="7"/>
                  </a:cubicBezTo>
                  <a:cubicBezTo>
                    <a:pt x="1730" y="6"/>
                    <a:pt x="1730" y="6"/>
                    <a:pt x="1730" y="6"/>
                  </a:cubicBezTo>
                  <a:cubicBezTo>
                    <a:pt x="1730" y="6"/>
                    <a:pt x="1729" y="7"/>
                    <a:pt x="1729" y="6"/>
                  </a:cubicBezTo>
                  <a:cubicBezTo>
                    <a:pt x="1728" y="6"/>
                    <a:pt x="1728" y="6"/>
                    <a:pt x="1728" y="6"/>
                  </a:cubicBezTo>
                  <a:cubicBezTo>
                    <a:pt x="1727" y="6"/>
                    <a:pt x="1726" y="6"/>
                    <a:pt x="1726" y="6"/>
                  </a:cubicBezTo>
                  <a:cubicBezTo>
                    <a:pt x="1725" y="6"/>
                    <a:pt x="1724" y="6"/>
                    <a:pt x="1724" y="6"/>
                  </a:cubicBezTo>
                  <a:cubicBezTo>
                    <a:pt x="1723" y="6"/>
                    <a:pt x="1722" y="6"/>
                    <a:pt x="1722" y="6"/>
                  </a:cubicBezTo>
                  <a:cubicBezTo>
                    <a:pt x="1721" y="6"/>
                    <a:pt x="1720" y="6"/>
                    <a:pt x="1719" y="6"/>
                  </a:cubicBezTo>
                  <a:cubicBezTo>
                    <a:pt x="1719" y="6"/>
                    <a:pt x="1718" y="6"/>
                    <a:pt x="1717" y="6"/>
                  </a:cubicBezTo>
                  <a:cubicBezTo>
                    <a:pt x="1717" y="6"/>
                    <a:pt x="1716" y="6"/>
                    <a:pt x="1716" y="6"/>
                  </a:cubicBezTo>
                  <a:cubicBezTo>
                    <a:pt x="1716" y="7"/>
                    <a:pt x="1715" y="6"/>
                    <a:pt x="1714" y="6"/>
                  </a:cubicBezTo>
                  <a:cubicBezTo>
                    <a:pt x="1714" y="7"/>
                    <a:pt x="1714" y="7"/>
                    <a:pt x="1714" y="7"/>
                  </a:cubicBezTo>
                  <a:cubicBezTo>
                    <a:pt x="1714" y="7"/>
                    <a:pt x="1714" y="7"/>
                    <a:pt x="1714" y="7"/>
                  </a:cubicBezTo>
                  <a:cubicBezTo>
                    <a:pt x="1714" y="7"/>
                    <a:pt x="1713" y="7"/>
                    <a:pt x="1713" y="7"/>
                  </a:cubicBezTo>
                  <a:cubicBezTo>
                    <a:pt x="1713" y="7"/>
                    <a:pt x="1713" y="7"/>
                    <a:pt x="1713" y="7"/>
                  </a:cubicBezTo>
                  <a:cubicBezTo>
                    <a:pt x="1712" y="7"/>
                    <a:pt x="1712" y="7"/>
                    <a:pt x="1712" y="7"/>
                  </a:cubicBezTo>
                  <a:cubicBezTo>
                    <a:pt x="1711" y="7"/>
                    <a:pt x="1711" y="7"/>
                    <a:pt x="1711" y="7"/>
                  </a:cubicBezTo>
                  <a:cubicBezTo>
                    <a:pt x="1711" y="7"/>
                    <a:pt x="1711" y="7"/>
                    <a:pt x="1711" y="7"/>
                  </a:cubicBezTo>
                  <a:cubicBezTo>
                    <a:pt x="1711" y="7"/>
                    <a:pt x="1711" y="7"/>
                    <a:pt x="1710" y="8"/>
                  </a:cubicBezTo>
                  <a:cubicBezTo>
                    <a:pt x="1710" y="8"/>
                    <a:pt x="1710" y="8"/>
                    <a:pt x="1710" y="8"/>
                  </a:cubicBezTo>
                  <a:cubicBezTo>
                    <a:pt x="1710" y="8"/>
                    <a:pt x="1710" y="8"/>
                    <a:pt x="1710" y="8"/>
                  </a:cubicBezTo>
                  <a:cubicBezTo>
                    <a:pt x="1710" y="8"/>
                    <a:pt x="1710" y="8"/>
                    <a:pt x="1709" y="8"/>
                  </a:cubicBezTo>
                  <a:cubicBezTo>
                    <a:pt x="1709" y="8"/>
                    <a:pt x="1709" y="8"/>
                    <a:pt x="1709" y="8"/>
                  </a:cubicBezTo>
                  <a:cubicBezTo>
                    <a:pt x="1709" y="8"/>
                    <a:pt x="1709" y="8"/>
                    <a:pt x="1709" y="8"/>
                  </a:cubicBezTo>
                  <a:cubicBezTo>
                    <a:pt x="1709" y="8"/>
                    <a:pt x="1709" y="8"/>
                    <a:pt x="1709" y="8"/>
                  </a:cubicBezTo>
                  <a:cubicBezTo>
                    <a:pt x="1709" y="8"/>
                    <a:pt x="1709" y="8"/>
                    <a:pt x="1709" y="8"/>
                  </a:cubicBezTo>
                  <a:cubicBezTo>
                    <a:pt x="1708" y="8"/>
                    <a:pt x="1708" y="8"/>
                    <a:pt x="1708" y="9"/>
                  </a:cubicBezTo>
                  <a:cubicBezTo>
                    <a:pt x="1708" y="9"/>
                    <a:pt x="1708" y="9"/>
                    <a:pt x="1708" y="9"/>
                  </a:cubicBezTo>
                  <a:cubicBezTo>
                    <a:pt x="1708" y="9"/>
                    <a:pt x="1707" y="9"/>
                    <a:pt x="1707" y="9"/>
                  </a:cubicBezTo>
                  <a:cubicBezTo>
                    <a:pt x="1707" y="9"/>
                    <a:pt x="1707" y="9"/>
                    <a:pt x="1707" y="9"/>
                  </a:cubicBezTo>
                  <a:cubicBezTo>
                    <a:pt x="1707" y="9"/>
                    <a:pt x="1707" y="9"/>
                    <a:pt x="1706" y="9"/>
                  </a:cubicBezTo>
                  <a:cubicBezTo>
                    <a:pt x="1706" y="9"/>
                    <a:pt x="1706" y="9"/>
                    <a:pt x="1706" y="9"/>
                  </a:cubicBezTo>
                  <a:cubicBezTo>
                    <a:pt x="1706" y="9"/>
                    <a:pt x="1706" y="9"/>
                    <a:pt x="1706" y="10"/>
                  </a:cubicBezTo>
                  <a:cubicBezTo>
                    <a:pt x="1706" y="10"/>
                    <a:pt x="1706" y="10"/>
                    <a:pt x="1706" y="10"/>
                  </a:cubicBezTo>
                  <a:cubicBezTo>
                    <a:pt x="1706" y="10"/>
                    <a:pt x="1705" y="10"/>
                    <a:pt x="1705" y="10"/>
                  </a:cubicBezTo>
                  <a:cubicBezTo>
                    <a:pt x="1705" y="10"/>
                    <a:pt x="1705" y="10"/>
                    <a:pt x="1705" y="10"/>
                  </a:cubicBezTo>
                  <a:cubicBezTo>
                    <a:pt x="1705" y="10"/>
                    <a:pt x="1705" y="10"/>
                    <a:pt x="1705" y="10"/>
                  </a:cubicBezTo>
                  <a:cubicBezTo>
                    <a:pt x="1705" y="10"/>
                    <a:pt x="1705" y="10"/>
                    <a:pt x="1705" y="10"/>
                  </a:cubicBezTo>
                  <a:cubicBezTo>
                    <a:pt x="1704" y="11"/>
                    <a:pt x="1704" y="10"/>
                    <a:pt x="1704" y="11"/>
                  </a:cubicBezTo>
                  <a:cubicBezTo>
                    <a:pt x="1704" y="11"/>
                    <a:pt x="1704" y="11"/>
                    <a:pt x="1704" y="11"/>
                  </a:cubicBezTo>
                  <a:cubicBezTo>
                    <a:pt x="1704" y="11"/>
                    <a:pt x="1704" y="11"/>
                    <a:pt x="1704" y="11"/>
                  </a:cubicBezTo>
                  <a:cubicBezTo>
                    <a:pt x="1704" y="11"/>
                    <a:pt x="1704" y="11"/>
                    <a:pt x="1704" y="11"/>
                  </a:cubicBezTo>
                  <a:cubicBezTo>
                    <a:pt x="1703" y="11"/>
                    <a:pt x="1703" y="11"/>
                    <a:pt x="1703" y="11"/>
                  </a:cubicBezTo>
                  <a:cubicBezTo>
                    <a:pt x="1703" y="11"/>
                    <a:pt x="1703" y="11"/>
                    <a:pt x="1703" y="11"/>
                  </a:cubicBezTo>
                  <a:cubicBezTo>
                    <a:pt x="1703" y="11"/>
                    <a:pt x="1703" y="12"/>
                    <a:pt x="1703" y="12"/>
                  </a:cubicBezTo>
                  <a:cubicBezTo>
                    <a:pt x="1703" y="12"/>
                    <a:pt x="1703" y="12"/>
                    <a:pt x="1703" y="12"/>
                  </a:cubicBezTo>
                  <a:cubicBezTo>
                    <a:pt x="1702" y="12"/>
                    <a:pt x="1702" y="12"/>
                    <a:pt x="1702" y="12"/>
                  </a:cubicBezTo>
                  <a:cubicBezTo>
                    <a:pt x="1702" y="12"/>
                    <a:pt x="1702" y="12"/>
                    <a:pt x="1702" y="12"/>
                  </a:cubicBezTo>
                  <a:cubicBezTo>
                    <a:pt x="1702" y="12"/>
                    <a:pt x="1702" y="12"/>
                    <a:pt x="1702" y="12"/>
                  </a:cubicBezTo>
                  <a:cubicBezTo>
                    <a:pt x="1702" y="12"/>
                    <a:pt x="1702" y="12"/>
                    <a:pt x="1702" y="12"/>
                  </a:cubicBezTo>
                  <a:cubicBezTo>
                    <a:pt x="1701" y="12"/>
                    <a:pt x="1701" y="13"/>
                    <a:pt x="1701" y="13"/>
                  </a:cubicBezTo>
                  <a:cubicBezTo>
                    <a:pt x="1701" y="13"/>
                    <a:pt x="1701" y="13"/>
                    <a:pt x="1701" y="13"/>
                  </a:cubicBezTo>
                  <a:cubicBezTo>
                    <a:pt x="1701" y="13"/>
                    <a:pt x="1701" y="13"/>
                    <a:pt x="1701" y="13"/>
                  </a:cubicBezTo>
                  <a:cubicBezTo>
                    <a:pt x="1701" y="13"/>
                    <a:pt x="1701" y="13"/>
                    <a:pt x="1701" y="13"/>
                  </a:cubicBezTo>
                  <a:cubicBezTo>
                    <a:pt x="1701" y="13"/>
                    <a:pt x="1701" y="13"/>
                    <a:pt x="1700" y="13"/>
                  </a:cubicBezTo>
                  <a:cubicBezTo>
                    <a:pt x="1700" y="13"/>
                    <a:pt x="1700" y="13"/>
                    <a:pt x="1700" y="13"/>
                  </a:cubicBezTo>
                  <a:cubicBezTo>
                    <a:pt x="1700" y="14"/>
                    <a:pt x="1699" y="14"/>
                    <a:pt x="1699" y="15"/>
                  </a:cubicBezTo>
                  <a:cubicBezTo>
                    <a:pt x="1699" y="15"/>
                    <a:pt x="1699" y="15"/>
                    <a:pt x="1699" y="15"/>
                  </a:cubicBezTo>
                  <a:cubicBezTo>
                    <a:pt x="1699" y="15"/>
                    <a:pt x="1699" y="15"/>
                    <a:pt x="1699" y="15"/>
                  </a:cubicBezTo>
                  <a:cubicBezTo>
                    <a:pt x="1699" y="19"/>
                    <a:pt x="1699" y="22"/>
                    <a:pt x="1699" y="26"/>
                  </a:cubicBezTo>
                  <a:cubicBezTo>
                    <a:pt x="1699" y="26"/>
                    <a:pt x="1699" y="26"/>
                    <a:pt x="1699" y="26"/>
                  </a:cubicBezTo>
                  <a:cubicBezTo>
                    <a:pt x="1699" y="26"/>
                    <a:pt x="1699" y="26"/>
                    <a:pt x="1699" y="26"/>
                  </a:cubicBezTo>
                  <a:cubicBezTo>
                    <a:pt x="1699" y="26"/>
                    <a:pt x="1700" y="26"/>
                    <a:pt x="1700" y="26"/>
                  </a:cubicBezTo>
                  <a:cubicBezTo>
                    <a:pt x="1700" y="26"/>
                    <a:pt x="1700" y="26"/>
                    <a:pt x="1700" y="26"/>
                  </a:cubicBezTo>
                  <a:cubicBezTo>
                    <a:pt x="1700" y="26"/>
                    <a:pt x="1700" y="26"/>
                    <a:pt x="1700" y="26"/>
                  </a:cubicBezTo>
                  <a:cubicBezTo>
                    <a:pt x="1700" y="26"/>
                    <a:pt x="1700" y="26"/>
                    <a:pt x="1700" y="26"/>
                  </a:cubicBezTo>
                  <a:cubicBezTo>
                    <a:pt x="1700" y="26"/>
                    <a:pt x="1700" y="25"/>
                    <a:pt x="1700" y="25"/>
                  </a:cubicBezTo>
                  <a:cubicBezTo>
                    <a:pt x="1700" y="25"/>
                    <a:pt x="1700" y="25"/>
                    <a:pt x="1700" y="25"/>
                  </a:cubicBezTo>
                  <a:cubicBezTo>
                    <a:pt x="1701" y="25"/>
                    <a:pt x="1701" y="25"/>
                    <a:pt x="1701" y="25"/>
                  </a:cubicBezTo>
                  <a:cubicBezTo>
                    <a:pt x="1701" y="25"/>
                    <a:pt x="1701" y="25"/>
                    <a:pt x="1701" y="25"/>
                  </a:cubicBezTo>
                  <a:cubicBezTo>
                    <a:pt x="1701" y="25"/>
                    <a:pt x="1701" y="25"/>
                    <a:pt x="1701" y="24"/>
                  </a:cubicBezTo>
                  <a:cubicBezTo>
                    <a:pt x="1701" y="25"/>
                    <a:pt x="1701" y="25"/>
                    <a:pt x="1701" y="25"/>
                  </a:cubicBezTo>
                  <a:cubicBezTo>
                    <a:pt x="1701" y="24"/>
                    <a:pt x="1701" y="24"/>
                    <a:pt x="1701" y="24"/>
                  </a:cubicBezTo>
                  <a:cubicBezTo>
                    <a:pt x="1701" y="24"/>
                    <a:pt x="1701" y="24"/>
                    <a:pt x="1701" y="24"/>
                  </a:cubicBezTo>
                  <a:cubicBezTo>
                    <a:pt x="1702" y="24"/>
                    <a:pt x="1702" y="24"/>
                    <a:pt x="1702" y="24"/>
                  </a:cubicBezTo>
                  <a:cubicBezTo>
                    <a:pt x="1702" y="24"/>
                    <a:pt x="1702" y="24"/>
                    <a:pt x="1702" y="24"/>
                  </a:cubicBezTo>
                  <a:cubicBezTo>
                    <a:pt x="1702" y="24"/>
                    <a:pt x="1702" y="24"/>
                    <a:pt x="1702" y="23"/>
                  </a:cubicBezTo>
                  <a:cubicBezTo>
                    <a:pt x="1702" y="24"/>
                    <a:pt x="1702" y="24"/>
                    <a:pt x="1702" y="24"/>
                  </a:cubicBezTo>
                  <a:cubicBezTo>
                    <a:pt x="1702" y="23"/>
                    <a:pt x="1702" y="23"/>
                    <a:pt x="1702" y="23"/>
                  </a:cubicBezTo>
                  <a:cubicBezTo>
                    <a:pt x="1702" y="23"/>
                    <a:pt x="1702" y="23"/>
                    <a:pt x="1702" y="23"/>
                  </a:cubicBezTo>
                  <a:cubicBezTo>
                    <a:pt x="1703" y="23"/>
                    <a:pt x="1703" y="23"/>
                    <a:pt x="1703" y="23"/>
                  </a:cubicBezTo>
                  <a:cubicBezTo>
                    <a:pt x="1703" y="23"/>
                    <a:pt x="1703" y="23"/>
                    <a:pt x="1703" y="23"/>
                  </a:cubicBezTo>
                  <a:cubicBezTo>
                    <a:pt x="1703" y="23"/>
                    <a:pt x="1703" y="23"/>
                    <a:pt x="1703" y="23"/>
                  </a:cubicBezTo>
                  <a:cubicBezTo>
                    <a:pt x="1703" y="23"/>
                    <a:pt x="1703" y="23"/>
                    <a:pt x="1703" y="23"/>
                  </a:cubicBezTo>
                  <a:cubicBezTo>
                    <a:pt x="1703" y="22"/>
                    <a:pt x="1704" y="22"/>
                    <a:pt x="1704" y="22"/>
                  </a:cubicBezTo>
                  <a:cubicBezTo>
                    <a:pt x="1704" y="22"/>
                    <a:pt x="1704" y="22"/>
                    <a:pt x="1704" y="22"/>
                  </a:cubicBezTo>
                  <a:cubicBezTo>
                    <a:pt x="1704" y="22"/>
                    <a:pt x="1704" y="22"/>
                    <a:pt x="1704" y="22"/>
                  </a:cubicBezTo>
                  <a:cubicBezTo>
                    <a:pt x="1704" y="22"/>
                    <a:pt x="1704" y="22"/>
                    <a:pt x="1704" y="22"/>
                  </a:cubicBezTo>
                  <a:cubicBezTo>
                    <a:pt x="1704" y="22"/>
                    <a:pt x="1704" y="22"/>
                    <a:pt x="1705" y="21"/>
                  </a:cubicBezTo>
                  <a:cubicBezTo>
                    <a:pt x="1705" y="21"/>
                    <a:pt x="1705" y="21"/>
                    <a:pt x="1705" y="21"/>
                  </a:cubicBezTo>
                  <a:cubicBezTo>
                    <a:pt x="1705" y="21"/>
                    <a:pt x="1705" y="21"/>
                    <a:pt x="1706" y="21"/>
                  </a:cubicBezTo>
                  <a:cubicBezTo>
                    <a:pt x="1706" y="21"/>
                    <a:pt x="1706" y="21"/>
                    <a:pt x="1706" y="21"/>
                  </a:cubicBezTo>
                  <a:cubicBezTo>
                    <a:pt x="1706" y="21"/>
                    <a:pt x="1706" y="21"/>
                    <a:pt x="1706" y="20"/>
                  </a:cubicBezTo>
                  <a:cubicBezTo>
                    <a:pt x="1706" y="20"/>
                    <a:pt x="1706" y="20"/>
                    <a:pt x="1706" y="20"/>
                  </a:cubicBezTo>
                  <a:cubicBezTo>
                    <a:pt x="1706" y="20"/>
                    <a:pt x="1707" y="20"/>
                    <a:pt x="1707" y="20"/>
                  </a:cubicBezTo>
                  <a:cubicBezTo>
                    <a:pt x="1707" y="20"/>
                    <a:pt x="1707" y="20"/>
                    <a:pt x="1707" y="20"/>
                  </a:cubicBezTo>
                  <a:cubicBezTo>
                    <a:pt x="1707" y="20"/>
                    <a:pt x="1707" y="20"/>
                    <a:pt x="1707" y="20"/>
                  </a:cubicBezTo>
                  <a:cubicBezTo>
                    <a:pt x="1707" y="20"/>
                    <a:pt x="1707" y="20"/>
                    <a:pt x="1707" y="20"/>
                  </a:cubicBezTo>
                  <a:cubicBezTo>
                    <a:pt x="1707" y="19"/>
                    <a:pt x="1708" y="20"/>
                    <a:pt x="1708" y="19"/>
                  </a:cubicBezTo>
                  <a:cubicBezTo>
                    <a:pt x="1708" y="19"/>
                    <a:pt x="1708" y="19"/>
                    <a:pt x="1708" y="19"/>
                  </a:cubicBezTo>
                  <a:cubicBezTo>
                    <a:pt x="1708" y="19"/>
                    <a:pt x="1708" y="19"/>
                    <a:pt x="1708" y="19"/>
                  </a:cubicBezTo>
                  <a:cubicBezTo>
                    <a:pt x="1708" y="19"/>
                    <a:pt x="1708" y="19"/>
                    <a:pt x="1708" y="19"/>
                  </a:cubicBezTo>
                  <a:cubicBezTo>
                    <a:pt x="1709" y="19"/>
                    <a:pt x="1709" y="19"/>
                    <a:pt x="1709" y="19"/>
                  </a:cubicBezTo>
                  <a:cubicBezTo>
                    <a:pt x="1709" y="19"/>
                    <a:pt x="1709" y="19"/>
                    <a:pt x="1709" y="19"/>
                  </a:cubicBezTo>
                  <a:cubicBezTo>
                    <a:pt x="1709" y="18"/>
                    <a:pt x="1709" y="19"/>
                    <a:pt x="1709" y="18"/>
                  </a:cubicBezTo>
                  <a:cubicBezTo>
                    <a:pt x="1709" y="18"/>
                    <a:pt x="1709" y="18"/>
                    <a:pt x="1709" y="18"/>
                  </a:cubicBezTo>
                  <a:cubicBezTo>
                    <a:pt x="1710" y="18"/>
                    <a:pt x="1710" y="18"/>
                    <a:pt x="1710" y="18"/>
                  </a:cubicBezTo>
                  <a:cubicBezTo>
                    <a:pt x="1710" y="18"/>
                    <a:pt x="1710" y="18"/>
                    <a:pt x="1710" y="18"/>
                  </a:cubicBezTo>
                  <a:cubicBezTo>
                    <a:pt x="1710" y="18"/>
                    <a:pt x="1711" y="18"/>
                    <a:pt x="1711" y="18"/>
                  </a:cubicBezTo>
                  <a:cubicBezTo>
                    <a:pt x="1711" y="18"/>
                    <a:pt x="1711" y="18"/>
                    <a:pt x="1711" y="18"/>
                  </a:cubicBezTo>
                  <a:cubicBezTo>
                    <a:pt x="1711" y="17"/>
                    <a:pt x="1711" y="17"/>
                    <a:pt x="1712" y="17"/>
                  </a:cubicBezTo>
                  <a:cubicBezTo>
                    <a:pt x="1712" y="17"/>
                    <a:pt x="1712" y="17"/>
                    <a:pt x="1712" y="17"/>
                  </a:cubicBezTo>
                  <a:cubicBezTo>
                    <a:pt x="1712" y="17"/>
                    <a:pt x="1712" y="17"/>
                    <a:pt x="1712" y="17"/>
                  </a:cubicBezTo>
                  <a:cubicBezTo>
                    <a:pt x="1712" y="17"/>
                    <a:pt x="1712" y="17"/>
                    <a:pt x="1713" y="17"/>
                  </a:cubicBezTo>
                  <a:cubicBezTo>
                    <a:pt x="1713" y="17"/>
                    <a:pt x="1713" y="17"/>
                    <a:pt x="1713" y="17"/>
                  </a:cubicBezTo>
                  <a:cubicBezTo>
                    <a:pt x="1713" y="17"/>
                    <a:pt x="1713" y="17"/>
                    <a:pt x="1713" y="17"/>
                  </a:cubicBezTo>
                  <a:cubicBezTo>
                    <a:pt x="1713" y="17"/>
                    <a:pt x="1713" y="17"/>
                    <a:pt x="1713" y="17"/>
                  </a:cubicBezTo>
                  <a:cubicBezTo>
                    <a:pt x="1713" y="17"/>
                    <a:pt x="1713" y="17"/>
                    <a:pt x="1713" y="17"/>
                  </a:cubicBezTo>
                  <a:cubicBezTo>
                    <a:pt x="1714" y="16"/>
                    <a:pt x="1714" y="16"/>
                    <a:pt x="1714" y="16"/>
                  </a:cubicBezTo>
                  <a:cubicBezTo>
                    <a:pt x="1714" y="16"/>
                    <a:pt x="1714" y="16"/>
                    <a:pt x="1714" y="16"/>
                  </a:cubicBezTo>
                  <a:cubicBezTo>
                    <a:pt x="1715" y="16"/>
                    <a:pt x="1715" y="16"/>
                    <a:pt x="1715" y="16"/>
                  </a:cubicBezTo>
                  <a:cubicBezTo>
                    <a:pt x="1715" y="16"/>
                    <a:pt x="1715" y="16"/>
                    <a:pt x="1716" y="16"/>
                  </a:cubicBezTo>
                  <a:cubicBezTo>
                    <a:pt x="1716" y="16"/>
                    <a:pt x="1716" y="16"/>
                    <a:pt x="1716" y="16"/>
                  </a:cubicBezTo>
                  <a:cubicBezTo>
                    <a:pt x="1716" y="16"/>
                    <a:pt x="1717" y="16"/>
                    <a:pt x="1717" y="16"/>
                  </a:cubicBezTo>
                  <a:cubicBezTo>
                    <a:pt x="1717" y="15"/>
                    <a:pt x="1717" y="15"/>
                    <a:pt x="1717" y="15"/>
                  </a:cubicBezTo>
                  <a:cubicBezTo>
                    <a:pt x="1717" y="15"/>
                    <a:pt x="1717" y="15"/>
                    <a:pt x="1717" y="15"/>
                  </a:cubicBezTo>
                  <a:cubicBezTo>
                    <a:pt x="1718" y="15"/>
                    <a:pt x="1719" y="16"/>
                    <a:pt x="1719" y="15"/>
                  </a:cubicBezTo>
                  <a:cubicBezTo>
                    <a:pt x="1720" y="15"/>
                    <a:pt x="1720" y="15"/>
                    <a:pt x="1720" y="15"/>
                  </a:cubicBezTo>
                  <a:cubicBezTo>
                    <a:pt x="1721" y="15"/>
                    <a:pt x="1722" y="15"/>
                    <a:pt x="1723" y="15"/>
                  </a:cubicBezTo>
                  <a:cubicBezTo>
                    <a:pt x="1723" y="15"/>
                    <a:pt x="1723" y="15"/>
                    <a:pt x="1724" y="15"/>
                  </a:cubicBezTo>
                  <a:cubicBezTo>
                    <a:pt x="1724" y="16"/>
                    <a:pt x="1725" y="15"/>
                    <a:pt x="1726" y="16"/>
                  </a:cubicBezTo>
                  <a:cubicBezTo>
                    <a:pt x="1726" y="15"/>
                    <a:pt x="1726" y="15"/>
                    <a:pt x="1726" y="15"/>
                  </a:cubicBezTo>
                  <a:cubicBezTo>
                    <a:pt x="1726" y="16"/>
                    <a:pt x="1726" y="16"/>
                    <a:pt x="1726" y="16"/>
                  </a:cubicBezTo>
                  <a:cubicBezTo>
                    <a:pt x="1726" y="16"/>
                    <a:pt x="1727" y="16"/>
                    <a:pt x="1727" y="16"/>
                  </a:cubicBezTo>
                  <a:cubicBezTo>
                    <a:pt x="1727" y="16"/>
                    <a:pt x="1727" y="16"/>
                    <a:pt x="1727" y="16"/>
                  </a:cubicBezTo>
                  <a:cubicBezTo>
                    <a:pt x="1728" y="16"/>
                    <a:pt x="1728" y="16"/>
                    <a:pt x="1728" y="16"/>
                  </a:cubicBezTo>
                  <a:cubicBezTo>
                    <a:pt x="1728" y="16"/>
                    <a:pt x="1728" y="16"/>
                    <a:pt x="1728" y="16"/>
                  </a:cubicBezTo>
                  <a:cubicBezTo>
                    <a:pt x="1729" y="16"/>
                    <a:pt x="1729" y="16"/>
                    <a:pt x="1729" y="16"/>
                  </a:cubicBezTo>
                  <a:cubicBezTo>
                    <a:pt x="1729" y="16"/>
                    <a:pt x="1729" y="16"/>
                    <a:pt x="1729" y="16"/>
                  </a:cubicBezTo>
                  <a:cubicBezTo>
                    <a:pt x="1729" y="16"/>
                    <a:pt x="1729" y="16"/>
                    <a:pt x="1729" y="17"/>
                  </a:cubicBezTo>
                  <a:cubicBezTo>
                    <a:pt x="1729" y="17"/>
                    <a:pt x="1729" y="17"/>
                    <a:pt x="1729" y="17"/>
                  </a:cubicBezTo>
                  <a:cubicBezTo>
                    <a:pt x="1729" y="17"/>
                    <a:pt x="1730" y="17"/>
                    <a:pt x="1730" y="17"/>
                  </a:cubicBezTo>
                  <a:cubicBezTo>
                    <a:pt x="1730" y="17"/>
                    <a:pt x="1730" y="17"/>
                    <a:pt x="1730" y="17"/>
                  </a:cubicBezTo>
                  <a:cubicBezTo>
                    <a:pt x="1730" y="17"/>
                    <a:pt x="1731" y="17"/>
                    <a:pt x="1731" y="17"/>
                  </a:cubicBezTo>
                  <a:cubicBezTo>
                    <a:pt x="1731" y="17"/>
                    <a:pt x="1731" y="17"/>
                    <a:pt x="1731" y="17"/>
                  </a:cubicBezTo>
                  <a:cubicBezTo>
                    <a:pt x="1731" y="17"/>
                    <a:pt x="1731" y="17"/>
                    <a:pt x="1731" y="18"/>
                  </a:cubicBezTo>
                  <a:cubicBezTo>
                    <a:pt x="1731" y="18"/>
                    <a:pt x="1731" y="18"/>
                    <a:pt x="1731" y="18"/>
                  </a:cubicBezTo>
                  <a:cubicBezTo>
                    <a:pt x="1732" y="18"/>
                    <a:pt x="1732" y="18"/>
                    <a:pt x="1732" y="18"/>
                  </a:cubicBezTo>
                  <a:cubicBezTo>
                    <a:pt x="1732" y="18"/>
                    <a:pt x="1732" y="18"/>
                    <a:pt x="1732" y="18"/>
                  </a:cubicBezTo>
                  <a:cubicBezTo>
                    <a:pt x="1732" y="18"/>
                    <a:pt x="1732" y="18"/>
                    <a:pt x="1732" y="18"/>
                  </a:cubicBezTo>
                  <a:cubicBezTo>
                    <a:pt x="1732" y="18"/>
                    <a:pt x="1732" y="18"/>
                    <a:pt x="1732" y="18"/>
                  </a:cubicBezTo>
                  <a:cubicBezTo>
                    <a:pt x="1733" y="18"/>
                    <a:pt x="1733" y="19"/>
                    <a:pt x="1733" y="19"/>
                  </a:cubicBezTo>
                  <a:cubicBezTo>
                    <a:pt x="1733" y="19"/>
                    <a:pt x="1733" y="19"/>
                    <a:pt x="1733" y="19"/>
                  </a:cubicBezTo>
                  <a:cubicBezTo>
                    <a:pt x="1733" y="19"/>
                    <a:pt x="1733" y="19"/>
                    <a:pt x="1733" y="19"/>
                  </a:cubicBezTo>
                  <a:cubicBezTo>
                    <a:pt x="1733" y="19"/>
                    <a:pt x="1733" y="19"/>
                    <a:pt x="1733" y="19"/>
                  </a:cubicBezTo>
                  <a:cubicBezTo>
                    <a:pt x="1734" y="20"/>
                    <a:pt x="1734" y="20"/>
                    <a:pt x="1735" y="21"/>
                  </a:cubicBezTo>
                  <a:cubicBezTo>
                    <a:pt x="1735" y="21"/>
                    <a:pt x="1735" y="21"/>
                    <a:pt x="1735" y="21"/>
                  </a:cubicBezTo>
                  <a:cubicBezTo>
                    <a:pt x="1735" y="21"/>
                    <a:pt x="1735" y="21"/>
                    <a:pt x="1735" y="21"/>
                  </a:cubicBezTo>
                  <a:cubicBezTo>
                    <a:pt x="1735" y="21"/>
                    <a:pt x="1735" y="21"/>
                    <a:pt x="1735" y="21"/>
                  </a:cubicBezTo>
                  <a:cubicBezTo>
                    <a:pt x="1735" y="21"/>
                    <a:pt x="1735" y="21"/>
                    <a:pt x="1736" y="21"/>
                  </a:cubicBezTo>
                  <a:cubicBezTo>
                    <a:pt x="1736" y="21"/>
                    <a:pt x="1736" y="21"/>
                    <a:pt x="1736" y="21"/>
                  </a:cubicBezTo>
                  <a:cubicBezTo>
                    <a:pt x="1736" y="22"/>
                    <a:pt x="1736" y="22"/>
                    <a:pt x="1736" y="22"/>
                  </a:cubicBezTo>
                  <a:cubicBezTo>
                    <a:pt x="1736" y="22"/>
                    <a:pt x="1736" y="22"/>
                    <a:pt x="1736" y="22"/>
                  </a:cubicBezTo>
                  <a:cubicBezTo>
                    <a:pt x="1736" y="22"/>
                    <a:pt x="1736" y="22"/>
                    <a:pt x="1736" y="23"/>
                  </a:cubicBezTo>
                  <a:cubicBezTo>
                    <a:pt x="1736" y="23"/>
                    <a:pt x="1736" y="23"/>
                    <a:pt x="1736" y="23"/>
                  </a:cubicBezTo>
                  <a:cubicBezTo>
                    <a:pt x="1736" y="23"/>
                    <a:pt x="1736" y="23"/>
                    <a:pt x="1737" y="23"/>
                  </a:cubicBezTo>
                  <a:cubicBezTo>
                    <a:pt x="1737" y="23"/>
                    <a:pt x="1737" y="23"/>
                    <a:pt x="1737" y="23"/>
                  </a:cubicBezTo>
                  <a:cubicBezTo>
                    <a:pt x="1737" y="23"/>
                    <a:pt x="1737" y="24"/>
                    <a:pt x="1737" y="24"/>
                  </a:cubicBezTo>
                  <a:cubicBezTo>
                    <a:pt x="1737" y="24"/>
                    <a:pt x="1737" y="24"/>
                    <a:pt x="1737" y="24"/>
                  </a:cubicBezTo>
                  <a:cubicBezTo>
                    <a:pt x="1737" y="24"/>
                    <a:pt x="1737" y="24"/>
                    <a:pt x="1737" y="25"/>
                  </a:cubicBezTo>
                  <a:cubicBezTo>
                    <a:pt x="1737" y="25"/>
                    <a:pt x="1737" y="25"/>
                    <a:pt x="1737" y="25"/>
                  </a:cubicBezTo>
                  <a:cubicBezTo>
                    <a:pt x="1737" y="25"/>
                    <a:pt x="1737" y="25"/>
                    <a:pt x="1737" y="25"/>
                  </a:cubicBezTo>
                  <a:cubicBezTo>
                    <a:pt x="1737" y="25"/>
                    <a:pt x="1737" y="25"/>
                    <a:pt x="1738" y="26"/>
                  </a:cubicBezTo>
                  <a:cubicBezTo>
                    <a:pt x="1738" y="26"/>
                    <a:pt x="1738" y="26"/>
                    <a:pt x="1738" y="26"/>
                  </a:cubicBezTo>
                  <a:cubicBezTo>
                    <a:pt x="1738" y="26"/>
                    <a:pt x="1738" y="26"/>
                    <a:pt x="1738" y="27"/>
                  </a:cubicBezTo>
                  <a:cubicBezTo>
                    <a:pt x="1738" y="27"/>
                    <a:pt x="1738" y="27"/>
                    <a:pt x="1738" y="27"/>
                  </a:cubicBezTo>
                  <a:cubicBezTo>
                    <a:pt x="1738" y="27"/>
                    <a:pt x="1738" y="28"/>
                    <a:pt x="1738" y="28"/>
                  </a:cubicBezTo>
                  <a:cubicBezTo>
                    <a:pt x="1738" y="28"/>
                    <a:pt x="1738" y="29"/>
                    <a:pt x="1738" y="29"/>
                  </a:cubicBezTo>
                  <a:cubicBezTo>
                    <a:pt x="1739" y="31"/>
                    <a:pt x="1739" y="33"/>
                    <a:pt x="1738" y="36"/>
                  </a:cubicBezTo>
                  <a:cubicBezTo>
                    <a:pt x="1738" y="36"/>
                    <a:pt x="1738" y="36"/>
                    <a:pt x="1738" y="36"/>
                  </a:cubicBezTo>
                  <a:cubicBezTo>
                    <a:pt x="1738" y="37"/>
                    <a:pt x="1738" y="37"/>
                    <a:pt x="1738" y="38"/>
                  </a:cubicBezTo>
                  <a:cubicBezTo>
                    <a:pt x="1738" y="38"/>
                    <a:pt x="1738" y="38"/>
                    <a:pt x="1738" y="38"/>
                  </a:cubicBezTo>
                  <a:cubicBezTo>
                    <a:pt x="1738" y="39"/>
                    <a:pt x="1738" y="39"/>
                    <a:pt x="1738" y="39"/>
                  </a:cubicBezTo>
                  <a:cubicBezTo>
                    <a:pt x="1738" y="39"/>
                    <a:pt x="1738" y="39"/>
                    <a:pt x="1738" y="39"/>
                  </a:cubicBezTo>
                  <a:cubicBezTo>
                    <a:pt x="1738" y="40"/>
                    <a:pt x="1738" y="40"/>
                    <a:pt x="1738" y="40"/>
                  </a:cubicBezTo>
                  <a:cubicBezTo>
                    <a:pt x="1737" y="40"/>
                    <a:pt x="1738" y="40"/>
                    <a:pt x="1737" y="41"/>
                  </a:cubicBezTo>
                  <a:cubicBezTo>
                    <a:pt x="1737" y="41"/>
                    <a:pt x="1737" y="41"/>
                    <a:pt x="1737" y="41"/>
                  </a:cubicBezTo>
                  <a:cubicBezTo>
                    <a:pt x="1737" y="41"/>
                    <a:pt x="1737" y="41"/>
                    <a:pt x="1737" y="42"/>
                  </a:cubicBezTo>
                  <a:cubicBezTo>
                    <a:pt x="1737" y="42"/>
                    <a:pt x="1737" y="42"/>
                    <a:pt x="1737" y="42"/>
                  </a:cubicBezTo>
                  <a:cubicBezTo>
                    <a:pt x="1737" y="42"/>
                    <a:pt x="1737" y="42"/>
                    <a:pt x="1737" y="42"/>
                  </a:cubicBezTo>
                  <a:cubicBezTo>
                    <a:pt x="1737" y="43"/>
                    <a:pt x="1737" y="43"/>
                    <a:pt x="1737" y="43"/>
                  </a:cubicBezTo>
                  <a:cubicBezTo>
                    <a:pt x="1736" y="43"/>
                    <a:pt x="1736" y="43"/>
                    <a:pt x="1736" y="43"/>
                  </a:cubicBezTo>
                  <a:cubicBezTo>
                    <a:pt x="1736" y="43"/>
                    <a:pt x="1736" y="43"/>
                    <a:pt x="1736" y="43"/>
                  </a:cubicBezTo>
                  <a:cubicBezTo>
                    <a:pt x="1736" y="44"/>
                    <a:pt x="1736" y="44"/>
                    <a:pt x="1736" y="44"/>
                  </a:cubicBezTo>
                  <a:cubicBezTo>
                    <a:pt x="1736" y="44"/>
                    <a:pt x="1736" y="44"/>
                    <a:pt x="1736" y="44"/>
                  </a:cubicBezTo>
                  <a:cubicBezTo>
                    <a:pt x="1736" y="44"/>
                    <a:pt x="1736" y="45"/>
                    <a:pt x="1736" y="45"/>
                  </a:cubicBezTo>
                  <a:cubicBezTo>
                    <a:pt x="1736" y="45"/>
                    <a:pt x="1736" y="45"/>
                    <a:pt x="1736" y="45"/>
                  </a:cubicBezTo>
                  <a:cubicBezTo>
                    <a:pt x="1735" y="45"/>
                    <a:pt x="1735" y="45"/>
                    <a:pt x="1735" y="45"/>
                  </a:cubicBezTo>
                  <a:cubicBezTo>
                    <a:pt x="1735" y="45"/>
                    <a:pt x="1735" y="45"/>
                    <a:pt x="1735" y="45"/>
                  </a:cubicBezTo>
                  <a:cubicBezTo>
                    <a:pt x="1735" y="45"/>
                    <a:pt x="1735" y="45"/>
                    <a:pt x="1735" y="45"/>
                  </a:cubicBezTo>
                  <a:cubicBezTo>
                    <a:pt x="1735" y="46"/>
                    <a:pt x="1735" y="46"/>
                    <a:pt x="1735" y="46"/>
                  </a:cubicBezTo>
                  <a:cubicBezTo>
                    <a:pt x="1735" y="46"/>
                    <a:pt x="1735" y="46"/>
                    <a:pt x="1735" y="46"/>
                  </a:cubicBezTo>
                  <a:cubicBezTo>
                    <a:pt x="1735" y="46"/>
                    <a:pt x="1735" y="46"/>
                    <a:pt x="1735" y="47"/>
                  </a:cubicBezTo>
                  <a:cubicBezTo>
                    <a:pt x="1735" y="47"/>
                    <a:pt x="1735" y="47"/>
                    <a:pt x="1735" y="47"/>
                  </a:cubicBezTo>
                  <a:cubicBezTo>
                    <a:pt x="1734" y="47"/>
                    <a:pt x="1734" y="47"/>
                    <a:pt x="1734" y="47"/>
                  </a:cubicBezTo>
                  <a:cubicBezTo>
                    <a:pt x="1734" y="47"/>
                    <a:pt x="1734" y="47"/>
                    <a:pt x="1734" y="47"/>
                  </a:cubicBezTo>
                  <a:cubicBezTo>
                    <a:pt x="1734" y="47"/>
                    <a:pt x="1734" y="47"/>
                    <a:pt x="1734" y="48"/>
                  </a:cubicBezTo>
                  <a:cubicBezTo>
                    <a:pt x="1734" y="48"/>
                    <a:pt x="1734" y="48"/>
                    <a:pt x="1734" y="48"/>
                  </a:cubicBezTo>
                  <a:cubicBezTo>
                    <a:pt x="1734" y="48"/>
                    <a:pt x="1734" y="48"/>
                    <a:pt x="1734" y="48"/>
                  </a:cubicBezTo>
                  <a:cubicBezTo>
                    <a:pt x="1734" y="48"/>
                    <a:pt x="1734" y="48"/>
                    <a:pt x="1734" y="48"/>
                  </a:cubicBezTo>
                  <a:cubicBezTo>
                    <a:pt x="1733" y="48"/>
                    <a:pt x="1733" y="48"/>
                    <a:pt x="1733" y="48"/>
                  </a:cubicBezTo>
                  <a:cubicBezTo>
                    <a:pt x="1733" y="48"/>
                    <a:pt x="1733" y="48"/>
                    <a:pt x="1733" y="48"/>
                  </a:cubicBezTo>
                  <a:cubicBezTo>
                    <a:pt x="1733" y="48"/>
                    <a:pt x="1733" y="49"/>
                    <a:pt x="1733" y="49"/>
                  </a:cubicBezTo>
                  <a:cubicBezTo>
                    <a:pt x="1733" y="49"/>
                    <a:pt x="1733" y="49"/>
                    <a:pt x="1733" y="49"/>
                  </a:cubicBezTo>
                  <a:cubicBezTo>
                    <a:pt x="1733" y="49"/>
                    <a:pt x="1733" y="49"/>
                    <a:pt x="1732" y="49"/>
                  </a:cubicBezTo>
                  <a:cubicBezTo>
                    <a:pt x="1732" y="49"/>
                    <a:pt x="1732" y="49"/>
                    <a:pt x="1732" y="49"/>
                  </a:cubicBezTo>
                  <a:cubicBezTo>
                    <a:pt x="1732" y="49"/>
                    <a:pt x="1732" y="50"/>
                    <a:pt x="1732" y="50"/>
                  </a:cubicBezTo>
                  <a:cubicBezTo>
                    <a:pt x="1732" y="50"/>
                    <a:pt x="1732" y="50"/>
                    <a:pt x="1732" y="50"/>
                  </a:cubicBezTo>
                  <a:cubicBezTo>
                    <a:pt x="1732" y="50"/>
                    <a:pt x="1732" y="50"/>
                    <a:pt x="1732" y="50"/>
                  </a:cubicBezTo>
                  <a:cubicBezTo>
                    <a:pt x="1732" y="50"/>
                    <a:pt x="1732" y="50"/>
                    <a:pt x="1732" y="50"/>
                  </a:cubicBezTo>
                  <a:cubicBezTo>
                    <a:pt x="1732" y="50"/>
                    <a:pt x="1731" y="50"/>
                    <a:pt x="1731" y="50"/>
                  </a:cubicBezTo>
                  <a:cubicBezTo>
                    <a:pt x="1731" y="50"/>
                    <a:pt x="1731" y="50"/>
                    <a:pt x="1731" y="50"/>
                  </a:cubicBezTo>
                  <a:cubicBezTo>
                    <a:pt x="1730" y="52"/>
                    <a:pt x="1729" y="53"/>
                    <a:pt x="1728" y="54"/>
                  </a:cubicBezTo>
                  <a:cubicBezTo>
                    <a:pt x="1728" y="54"/>
                    <a:pt x="1728" y="54"/>
                    <a:pt x="1728" y="54"/>
                  </a:cubicBezTo>
                  <a:cubicBezTo>
                    <a:pt x="1727" y="54"/>
                    <a:pt x="1727" y="54"/>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7" y="55"/>
                    <a:pt x="1727" y="55"/>
                    <a:pt x="1727" y="55"/>
                  </a:cubicBezTo>
                  <a:cubicBezTo>
                    <a:pt x="1726" y="55"/>
                    <a:pt x="1726" y="55"/>
                    <a:pt x="1726" y="56"/>
                  </a:cubicBezTo>
                  <a:cubicBezTo>
                    <a:pt x="1726" y="56"/>
                    <a:pt x="1726" y="56"/>
                    <a:pt x="1726" y="56"/>
                  </a:cubicBezTo>
                  <a:cubicBezTo>
                    <a:pt x="1726" y="56"/>
                    <a:pt x="1725" y="56"/>
                    <a:pt x="1725" y="56"/>
                  </a:cubicBezTo>
                  <a:cubicBezTo>
                    <a:pt x="1725" y="56"/>
                    <a:pt x="1725" y="56"/>
                    <a:pt x="1725" y="56"/>
                  </a:cubicBezTo>
                  <a:cubicBezTo>
                    <a:pt x="1725" y="56"/>
                    <a:pt x="1725" y="56"/>
                    <a:pt x="1725" y="57"/>
                  </a:cubicBezTo>
                  <a:cubicBezTo>
                    <a:pt x="1725" y="57"/>
                    <a:pt x="1725" y="57"/>
                    <a:pt x="1725" y="57"/>
                  </a:cubicBezTo>
                  <a:cubicBezTo>
                    <a:pt x="1725" y="57"/>
                    <a:pt x="1725" y="57"/>
                    <a:pt x="1724" y="57"/>
                  </a:cubicBezTo>
                  <a:cubicBezTo>
                    <a:pt x="1724" y="57"/>
                    <a:pt x="1724" y="57"/>
                    <a:pt x="1724" y="57"/>
                  </a:cubicBezTo>
                  <a:cubicBezTo>
                    <a:pt x="1724" y="57"/>
                    <a:pt x="1724" y="57"/>
                    <a:pt x="1724" y="57"/>
                  </a:cubicBezTo>
                  <a:cubicBezTo>
                    <a:pt x="1724" y="57"/>
                    <a:pt x="1724" y="57"/>
                    <a:pt x="1724" y="57"/>
                  </a:cubicBezTo>
                  <a:cubicBezTo>
                    <a:pt x="1724" y="58"/>
                    <a:pt x="1724" y="57"/>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8"/>
                    <a:pt x="1723" y="58"/>
                    <a:pt x="1723" y="58"/>
                  </a:cubicBezTo>
                  <a:cubicBezTo>
                    <a:pt x="1723" y="59"/>
                    <a:pt x="1722" y="58"/>
                    <a:pt x="1722" y="59"/>
                  </a:cubicBezTo>
                  <a:cubicBezTo>
                    <a:pt x="1722" y="59"/>
                    <a:pt x="1722" y="59"/>
                    <a:pt x="1722" y="59"/>
                  </a:cubicBezTo>
                  <a:cubicBezTo>
                    <a:pt x="1722" y="59"/>
                    <a:pt x="1722" y="59"/>
                    <a:pt x="1722" y="59"/>
                  </a:cubicBezTo>
                  <a:cubicBezTo>
                    <a:pt x="1722" y="59"/>
                    <a:pt x="1722" y="59"/>
                    <a:pt x="1722" y="59"/>
                  </a:cubicBezTo>
                  <a:cubicBezTo>
                    <a:pt x="1722" y="59"/>
                    <a:pt x="1721" y="59"/>
                    <a:pt x="1721" y="59"/>
                  </a:cubicBezTo>
                  <a:cubicBezTo>
                    <a:pt x="1721" y="59"/>
                    <a:pt x="1721" y="59"/>
                    <a:pt x="1721" y="59"/>
                  </a:cubicBezTo>
                  <a:cubicBezTo>
                    <a:pt x="1721" y="60"/>
                    <a:pt x="1721" y="60"/>
                    <a:pt x="1721" y="60"/>
                  </a:cubicBezTo>
                  <a:cubicBezTo>
                    <a:pt x="1721" y="60"/>
                    <a:pt x="1721" y="60"/>
                    <a:pt x="1721" y="60"/>
                  </a:cubicBezTo>
                  <a:cubicBezTo>
                    <a:pt x="1720" y="60"/>
                    <a:pt x="1720" y="60"/>
                    <a:pt x="1720" y="60"/>
                  </a:cubicBezTo>
                  <a:cubicBezTo>
                    <a:pt x="1720" y="60"/>
                    <a:pt x="1720" y="60"/>
                    <a:pt x="1720" y="60"/>
                  </a:cubicBezTo>
                  <a:cubicBezTo>
                    <a:pt x="1720" y="60"/>
                    <a:pt x="1719" y="60"/>
                    <a:pt x="1719" y="61"/>
                  </a:cubicBezTo>
                  <a:cubicBezTo>
                    <a:pt x="1719" y="61"/>
                    <a:pt x="1719" y="61"/>
                    <a:pt x="1719" y="61"/>
                  </a:cubicBezTo>
                  <a:cubicBezTo>
                    <a:pt x="1719" y="61"/>
                    <a:pt x="1719" y="61"/>
                    <a:pt x="1719" y="61"/>
                  </a:cubicBezTo>
                  <a:cubicBezTo>
                    <a:pt x="1719" y="61"/>
                    <a:pt x="1719" y="61"/>
                    <a:pt x="1719" y="61"/>
                  </a:cubicBezTo>
                  <a:cubicBezTo>
                    <a:pt x="1719" y="61"/>
                    <a:pt x="1718" y="62"/>
                    <a:pt x="1718" y="62"/>
                  </a:cubicBezTo>
                  <a:cubicBezTo>
                    <a:pt x="1718" y="62"/>
                    <a:pt x="1718" y="62"/>
                    <a:pt x="1718" y="62"/>
                  </a:cubicBezTo>
                  <a:cubicBezTo>
                    <a:pt x="1718" y="62"/>
                    <a:pt x="1718" y="62"/>
                    <a:pt x="1717" y="62"/>
                  </a:cubicBezTo>
                  <a:cubicBezTo>
                    <a:pt x="1717" y="62"/>
                    <a:pt x="1717" y="62"/>
                    <a:pt x="1717" y="62"/>
                  </a:cubicBezTo>
                  <a:cubicBezTo>
                    <a:pt x="1717" y="62"/>
                    <a:pt x="1717" y="63"/>
                    <a:pt x="1716" y="63"/>
                  </a:cubicBezTo>
                  <a:cubicBezTo>
                    <a:pt x="1716" y="63"/>
                    <a:pt x="1716" y="63"/>
                    <a:pt x="1716" y="63"/>
                  </a:cubicBezTo>
                  <a:cubicBezTo>
                    <a:pt x="1716" y="63"/>
                    <a:pt x="1716" y="63"/>
                    <a:pt x="1716" y="63"/>
                  </a:cubicBezTo>
                  <a:cubicBezTo>
                    <a:pt x="1716" y="63"/>
                    <a:pt x="1716" y="63"/>
                    <a:pt x="1716" y="63"/>
                  </a:cubicBezTo>
                  <a:cubicBezTo>
                    <a:pt x="1716" y="64"/>
                    <a:pt x="1715" y="64"/>
                    <a:pt x="1715" y="64"/>
                  </a:cubicBezTo>
                  <a:cubicBezTo>
                    <a:pt x="1715" y="64"/>
                    <a:pt x="1715" y="64"/>
                    <a:pt x="1715" y="64"/>
                  </a:cubicBezTo>
                  <a:cubicBezTo>
                    <a:pt x="1715" y="64"/>
                    <a:pt x="1715" y="64"/>
                    <a:pt x="1715" y="64"/>
                  </a:cubicBezTo>
                  <a:cubicBezTo>
                    <a:pt x="1715" y="64"/>
                    <a:pt x="1715" y="64"/>
                    <a:pt x="1715" y="64"/>
                  </a:cubicBezTo>
                  <a:cubicBezTo>
                    <a:pt x="1715" y="64"/>
                    <a:pt x="1714" y="65"/>
                    <a:pt x="1714" y="65"/>
                  </a:cubicBezTo>
                  <a:cubicBezTo>
                    <a:pt x="1714" y="65"/>
                    <a:pt x="1714" y="65"/>
                    <a:pt x="1714" y="65"/>
                  </a:cubicBezTo>
                  <a:cubicBezTo>
                    <a:pt x="1714" y="65"/>
                    <a:pt x="1714" y="65"/>
                    <a:pt x="1714" y="65"/>
                  </a:cubicBezTo>
                  <a:cubicBezTo>
                    <a:pt x="1714" y="65"/>
                    <a:pt x="1714" y="65"/>
                    <a:pt x="1714" y="65"/>
                  </a:cubicBezTo>
                  <a:cubicBezTo>
                    <a:pt x="1714" y="65"/>
                    <a:pt x="1713" y="65"/>
                    <a:pt x="1713" y="65"/>
                  </a:cubicBezTo>
                  <a:cubicBezTo>
                    <a:pt x="1713" y="65"/>
                    <a:pt x="1713" y="65"/>
                    <a:pt x="1713" y="65"/>
                  </a:cubicBezTo>
                  <a:cubicBezTo>
                    <a:pt x="1713" y="65"/>
                    <a:pt x="1713" y="66"/>
                    <a:pt x="1713" y="66"/>
                  </a:cubicBezTo>
                  <a:cubicBezTo>
                    <a:pt x="1713" y="66"/>
                    <a:pt x="1713" y="66"/>
                    <a:pt x="1713" y="66"/>
                  </a:cubicBezTo>
                  <a:cubicBezTo>
                    <a:pt x="1713" y="66"/>
                    <a:pt x="1712" y="66"/>
                    <a:pt x="1712" y="66"/>
                  </a:cubicBezTo>
                  <a:cubicBezTo>
                    <a:pt x="1712" y="66"/>
                    <a:pt x="1712" y="66"/>
                    <a:pt x="1712" y="66"/>
                  </a:cubicBezTo>
                  <a:cubicBezTo>
                    <a:pt x="1712" y="66"/>
                    <a:pt x="1712" y="67"/>
                    <a:pt x="1712" y="67"/>
                  </a:cubicBezTo>
                  <a:cubicBezTo>
                    <a:pt x="1712" y="67"/>
                    <a:pt x="1712" y="67"/>
                    <a:pt x="1712" y="67"/>
                  </a:cubicBezTo>
                  <a:cubicBezTo>
                    <a:pt x="1711" y="67"/>
                    <a:pt x="1711" y="67"/>
                    <a:pt x="1711" y="67"/>
                  </a:cubicBezTo>
                  <a:cubicBezTo>
                    <a:pt x="1711" y="67"/>
                    <a:pt x="1711" y="67"/>
                    <a:pt x="1711" y="67"/>
                  </a:cubicBezTo>
                  <a:cubicBezTo>
                    <a:pt x="1711" y="67"/>
                    <a:pt x="1711" y="67"/>
                    <a:pt x="1711" y="67"/>
                  </a:cubicBezTo>
                  <a:cubicBezTo>
                    <a:pt x="1711" y="67"/>
                    <a:pt x="1711" y="67"/>
                    <a:pt x="1711" y="67"/>
                  </a:cubicBezTo>
                  <a:cubicBezTo>
                    <a:pt x="1711" y="68"/>
                    <a:pt x="1710" y="68"/>
                    <a:pt x="1710" y="68"/>
                  </a:cubicBezTo>
                  <a:cubicBezTo>
                    <a:pt x="1710" y="68"/>
                    <a:pt x="1710" y="68"/>
                    <a:pt x="1710" y="68"/>
                  </a:cubicBezTo>
                  <a:cubicBezTo>
                    <a:pt x="1710" y="68"/>
                    <a:pt x="1710" y="68"/>
                    <a:pt x="1710" y="68"/>
                  </a:cubicBezTo>
                  <a:cubicBezTo>
                    <a:pt x="1710" y="68"/>
                    <a:pt x="1710" y="68"/>
                    <a:pt x="1710" y="68"/>
                  </a:cubicBezTo>
                  <a:cubicBezTo>
                    <a:pt x="1710" y="68"/>
                    <a:pt x="1710" y="68"/>
                    <a:pt x="1709" y="68"/>
                  </a:cubicBezTo>
                  <a:cubicBezTo>
                    <a:pt x="1710" y="68"/>
                    <a:pt x="1710" y="68"/>
                    <a:pt x="1710" y="68"/>
                  </a:cubicBezTo>
                  <a:cubicBezTo>
                    <a:pt x="1709" y="69"/>
                    <a:pt x="1709" y="69"/>
                    <a:pt x="1709" y="69"/>
                  </a:cubicBezTo>
                  <a:cubicBezTo>
                    <a:pt x="1709" y="69"/>
                    <a:pt x="1709" y="69"/>
                    <a:pt x="1709" y="69"/>
                  </a:cubicBezTo>
                  <a:cubicBezTo>
                    <a:pt x="1709" y="69"/>
                    <a:pt x="1709" y="69"/>
                    <a:pt x="1709" y="69"/>
                  </a:cubicBezTo>
                  <a:cubicBezTo>
                    <a:pt x="1709" y="69"/>
                    <a:pt x="1709" y="69"/>
                    <a:pt x="1709" y="69"/>
                  </a:cubicBezTo>
                  <a:cubicBezTo>
                    <a:pt x="1708" y="69"/>
                    <a:pt x="1708" y="70"/>
                    <a:pt x="1708" y="70"/>
                  </a:cubicBezTo>
                  <a:cubicBezTo>
                    <a:pt x="1708" y="70"/>
                    <a:pt x="1708" y="70"/>
                    <a:pt x="1708" y="70"/>
                  </a:cubicBezTo>
                  <a:cubicBezTo>
                    <a:pt x="1708" y="70"/>
                    <a:pt x="1707" y="70"/>
                    <a:pt x="1707" y="70"/>
                  </a:cubicBezTo>
                  <a:cubicBezTo>
                    <a:pt x="1707" y="70"/>
                    <a:pt x="1707" y="70"/>
                    <a:pt x="1707" y="70"/>
                  </a:cubicBezTo>
                  <a:cubicBezTo>
                    <a:pt x="1707" y="70"/>
                    <a:pt x="1707" y="70"/>
                    <a:pt x="1707" y="71"/>
                  </a:cubicBezTo>
                  <a:cubicBezTo>
                    <a:pt x="1707" y="71"/>
                    <a:pt x="1707" y="71"/>
                    <a:pt x="1707" y="71"/>
                  </a:cubicBezTo>
                  <a:cubicBezTo>
                    <a:pt x="1707" y="71"/>
                    <a:pt x="1707" y="71"/>
                    <a:pt x="1707" y="71"/>
                  </a:cubicBezTo>
                  <a:cubicBezTo>
                    <a:pt x="1707" y="71"/>
                    <a:pt x="1707" y="71"/>
                    <a:pt x="1707" y="71"/>
                  </a:cubicBezTo>
                  <a:cubicBezTo>
                    <a:pt x="1707" y="71"/>
                    <a:pt x="1706" y="71"/>
                    <a:pt x="1706" y="71"/>
                  </a:cubicBezTo>
                  <a:cubicBezTo>
                    <a:pt x="1706" y="71"/>
                    <a:pt x="1706" y="71"/>
                    <a:pt x="1706" y="71"/>
                  </a:cubicBezTo>
                  <a:cubicBezTo>
                    <a:pt x="1706" y="71"/>
                    <a:pt x="1706" y="71"/>
                    <a:pt x="1706" y="72"/>
                  </a:cubicBezTo>
                  <a:cubicBezTo>
                    <a:pt x="1706" y="72"/>
                    <a:pt x="1706" y="72"/>
                    <a:pt x="1706" y="72"/>
                  </a:cubicBezTo>
                  <a:cubicBezTo>
                    <a:pt x="1706" y="72"/>
                    <a:pt x="1706" y="72"/>
                    <a:pt x="1706" y="72"/>
                  </a:cubicBezTo>
                  <a:cubicBezTo>
                    <a:pt x="1706" y="72"/>
                    <a:pt x="1706" y="72"/>
                    <a:pt x="1706" y="72"/>
                  </a:cubicBezTo>
                  <a:cubicBezTo>
                    <a:pt x="1706" y="72"/>
                    <a:pt x="1705" y="72"/>
                    <a:pt x="1705" y="72"/>
                  </a:cubicBezTo>
                  <a:cubicBezTo>
                    <a:pt x="1705" y="72"/>
                    <a:pt x="1705" y="72"/>
                    <a:pt x="1705" y="72"/>
                  </a:cubicBezTo>
                  <a:cubicBezTo>
                    <a:pt x="1705" y="72"/>
                    <a:pt x="1705" y="73"/>
                    <a:pt x="1705" y="73"/>
                  </a:cubicBezTo>
                  <a:cubicBezTo>
                    <a:pt x="1705" y="73"/>
                    <a:pt x="1705" y="73"/>
                    <a:pt x="1705" y="73"/>
                  </a:cubicBezTo>
                  <a:cubicBezTo>
                    <a:pt x="1705" y="73"/>
                    <a:pt x="1705" y="73"/>
                    <a:pt x="1705" y="73"/>
                  </a:cubicBezTo>
                  <a:cubicBezTo>
                    <a:pt x="1705" y="73"/>
                    <a:pt x="1705" y="73"/>
                    <a:pt x="1705" y="73"/>
                  </a:cubicBezTo>
                  <a:cubicBezTo>
                    <a:pt x="1704" y="73"/>
                    <a:pt x="1704" y="73"/>
                    <a:pt x="1704" y="73"/>
                  </a:cubicBezTo>
                  <a:cubicBezTo>
                    <a:pt x="1704" y="73"/>
                    <a:pt x="1704" y="73"/>
                    <a:pt x="1704" y="73"/>
                  </a:cubicBezTo>
                  <a:cubicBezTo>
                    <a:pt x="1704" y="73"/>
                    <a:pt x="1704" y="74"/>
                    <a:pt x="1704" y="74"/>
                  </a:cubicBezTo>
                  <a:cubicBezTo>
                    <a:pt x="1704" y="74"/>
                    <a:pt x="1704" y="74"/>
                    <a:pt x="1704" y="74"/>
                  </a:cubicBezTo>
                  <a:cubicBezTo>
                    <a:pt x="1704" y="74"/>
                    <a:pt x="1704" y="74"/>
                    <a:pt x="1704" y="74"/>
                  </a:cubicBezTo>
                  <a:cubicBezTo>
                    <a:pt x="1704" y="74"/>
                    <a:pt x="1704" y="74"/>
                    <a:pt x="1704" y="74"/>
                  </a:cubicBezTo>
                  <a:cubicBezTo>
                    <a:pt x="1703" y="74"/>
                    <a:pt x="1703" y="74"/>
                    <a:pt x="1703" y="74"/>
                  </a:cubicBezTo>
                  <a:cubicBezTo>
                    <a:pt x="1703" y="74"/>
                    <a:pt x="1703" y="74"/>
                    <a:pt x="1703" y="74"/>
                  </a:cubicBezTo>
                  <a:cubicBezTo>
                    <a:pt x="1703" y="74"/>
                    <a:pt x="1703" y="75"/>
                    <a:pt x="1703" y="75"/>
                  </a:cubicBezTo>
                  <a:cubicBezTo>
                    <a:pt x="1703" y="75"/>
                    <a:pt x="1703" y="75"/>
                    <a:pt x="1703" y="75"/>
                  </a:cubicBezTo>
                  <a:cubicBezTo>
                    <a:pt x="1703" y="75"/>
                    <a:pt x="1703" y="75"/>
                    <a:pt x="1703" y="75"/>
                  </a:cubicBezTo>
                  <a:cubicBezTo>
                    <a:pt x="1703" y="75"/>
                    <a:pt x="1703" y="75"/>
                    <a:pt x="1703" y="75"/>
                  </a:cubicBezTo>
                  <a:cubicBezTo>
                    <a:pt x="1702" y="75"/>
                    <a:pt x="1702" y="76"/>
                    <a:pt x="1702" y="76"/>
                  </a:cubicBezTo>
                  <a:cubicBezTo>
                    <a:pt x="1702" y="76"/>
                    <a:pt x="1702" y="76"/>
                    <a:pt x="1702" y="76"/>
                  </a:cubicBezTo>
                  <a:cubicBezTo>
                    <a:pt x="1702" y="76"/>
                    <a:pt x="1702" y="76"/>
                    <a:pt x="1701" y="77"/>
                  </a:cubicBezTo>
                  <a:cubicBezTo>
                    <a:pt x="1701" y="76"/>
                    <a:pt x="1701" y="76"/>
                    <a:pt x="1701" y="76"/>
                  </a:cubicBezTo>
                  <a:cubicBezTo>
                    <a:pt x="1701" y="77"/>
                    <a:pt x="1701" y="77"/>
                    <a:pt x="1701" y="77"/>
                  </a:cubicBezTo>
                  <a:cubicBezTo>
                    <a:pt x="1701" y="77"/>
                    <a:pt x="1701" y="77"/>
                    <a:pt x="1701" y="77"/>
                  </a:cubicBezTo>
                  <a:cubicBezTo>
                    <a:pt x="1701" y="77"/>
                    <a:pt x="1701" y="77"/>
                    <a:pt x="1701" y="77"/>
                  </a:cubicBezTo>
                  <a:cubicBezTo>
                    <a:pt x="1701" y="77"/>
                    <a:pt x="1701" y="77"/>
                    <a:pt x="1701" y="77"/>
                  </a:cubicBezTo>
                  <a:cubicBezTo>
                    <a:pt x="1701" y="78"/>
                    <a:pt x="1700" y="78"/>
                    <a:pt x="1700" y="78"/>
                  </a:cubicBezTo>
                  <a:cubicBezTo>
                    <a:pt x="1700" y="78"/>
                    <a:pt x="1700" y="78"/>
                    <a:pt x="1700" y="78"/>
                  </a:cubicBezTo>
                  <a:cubicBezTo>
                    <a:pt x="1700" y="78"/>
                    <a:pt x="1700" y="78"/>
                    <a:pt x="1700" y="79"/>
                  </a:cubicBezTo>
                  <a:cubicBezTo>
                    <a:pt x="1700" y="79"/>
                    <a:pt x="1700" y="79"/>
                    <a:pt x="1700" y="79"/>
                  </a:cubicBezTo>
                  <a:cubicBezTo>
                    <a:pt x="1700" y="79"/>
                    <a:pt x="1700" y="79"/>
                    <a:pt x="1700" y="79"/>
                  </a:cubicBezTo>
                  <a:cubicBezTo>
                    <a:pt x="1700" y="79"/>
                    <a:pt x="1700" y="79"/>
                    <a:pt x="1700" y="79"/>
                  </a:cubicBezTo>
                  <a:cubicBezTo>
                    <a:pt x="1699" y="79"/>
                    <a:pt x="1700" y="79"/>
                    <a:pt x="1699" y="80"/>
                  </a:cubicBezTo>
                  <a:cubicBezTo>
                    <a:pt x="1699" y="80"/>
                    <a:pt x="1699" y="80"/>
                    <a:pt x="1699" y="80"/>
                  </a:cubicBezTo>
                  <a:cubicBezTo>
                    <a:pt x="1699" y="80"/>
                    <a:pt x="1699" y="80"/>
                    <a:pt x="1699" y="80"/>
                  </a:cubicBezTo>
                  <a:cubicBezTo>
                    <a:pt x="1699" y="80"/>
                    <a:pt x="1699" y="80"/>
                    <a:pt x="1699" y="80"/>
                  </a:cubicBezTo>
                  <a:cubicBezTo>
                    <a:pt x="1699" y="80"/>
                    <a:pt x="1699" y="80"/>
                    <a:pt x="1699" y="80"/>
                  </a:cubicBezTo>
                  <a:cubicBezTo>
                    <a:pt x="1699" y="80"/>
                    <a:pt x="1699" y="81"/>
                    <a:pt x="1699" y="81"/>
                  </a:cubicBezTo>
                  <a:cubicBezTo>
                    <a:pt x="1699" y="81"/>
                    <a:pt x="1699" y="81"/>
                    <a:pt x="1699" y="81"/>
                  </a:cubicBezTo>
                  <a:cubicBezTo>
                    <a:pt x="1698" y="81"/>
                    <a:pt x="1699" y="81"/>
                    <a:pt x="1698" y="81"/>
                  </a:cubicBezTo>
                  <a:cubicBezTo>
                    <a:pt x="1698" y="81"/>
                    <a:pt x="1698" y="81"/>
                    <a:pt x="1698" y="81"/>
                  </a:cubicBezTo>
                  <a:cubicBezTo>
                    <a:pt x="1698" y="82"/>
                    <a:pt x="1698" y="82"/>
                    <a:pt x="1698" y="82"/>
                  </a:cubicBezTo>
                  <a:cubicBezTo>
                    <a:pt x="1698" y="82"/>
                    <a:pt x="1698" y="82"/>
                    <a:pt x="1698" y="82"/>
                  </a:cubicBezTo>
                  <a:cubicBezTo>
                    <a:pt x="1698" y="82"/>
                    <a:pt x="1698" y="83"/>
                    <a:pt x="1698" y="83"/>
                  </a:cubicBezTo>
                  <a:cubicBezTo>
                    <a:pt x="1698" y="83"/>
                    <a:pt x="1698" y="83"/>
                    <a:pt x="1698" y="83"/>
                  </a:cubicBezTo>
                  <a:cubicBezTo>
                    <a:pt x="1697" y="83"/>
                    <a:pt x="1697" y="84"/>
                    <a:pt x="1697" y="84"/>
                  </a:cubicBezTo>
                  <a:cubicBezTo>
                    <a:pt x="1697" y="84"/>
                    <a:pt x="1697" y="84"/>
                    <a:pt x="1697" y="84"/>
                  </a:cubicBezTo>
                  <a:cubicBezTo>
                    <a:pt x="1697" y="84"/>
                    <a:pt x="1697" y="84"/>
                    <a:pt x="1697" y="85"/>
                  </a:cubicBezTo>
                  <a:cubicBezTo>
                    <a:pt x="1697" y="85"/>
                    <a:pt x="1697" y="85"/>
                    <a:pt x="1697" y="85"/>
                  </a:cubicBezTo>
                  <a:cubicBezTo>
                    <a:pt x="1697" y="85"/>
                    <a:pt x="1697" y="85"/>
                    <a:pt x="1697" y="86"/>
                  </a:cubicBezTo>
                  <a:cubicBezTo>
                    <a:pt x="1697" y="86"/>
                    <a:pt x="1697" y="86"/>
                    <a:pt x="1697" y="86"/>
                  </a:cubicBezTo>
                  <a:cubicBezTo>
                    <a:pt x="1696" y="86"/>
                    <a:pt x="1697" y="87"/>
                    <a:pt x="1696" y="87"/>
                  </a:cubicBezTo>
                  <a:cubicBezTo>
                    <a:pt x="1696" y="87"/>
                    <a:pt x="1696" y="87"/>
                    <a:pt x="1696" y="87"/>
                  </a:cubicBezTo>
                  <a:cubicBezTo>
                    <a:pt x="1696" y="88"/>
                    <a:pt x="1696" y="88"/>
                    <a:pt x="1696" y="88"/>
                  </a:cubicBezTo>
                  <a:cubicBezTo>
                    <a:pt x="1696" y="88"/>
                    <a:pt x="1696" y="89"/>
                    <a:pt x="1696" y="89"/>
                  </a:cubicBezTo>
                  <a:cubicBezTo>
                    <a:pt x="1695" y="89"/>
                    <a:pt x="1696" y="90"/>
                    <a:pt x="1696" y="90"/>
                  </a:cubicBezTo>
                  <a:cubicBezTo>
                    <a:pt x="1696" y="91"/>
                    <a:pt x="1696" y="91"/>
                    <a:pt x="1696" y="91"/>
                  </a:cubicBezTo>
                  <a:cubicBezTo>
                    <a:pt x="1695" y="92"/>
                    <a:pt x="1696" y="93"/>
                    <a:pt x="1695" y="94"/>
                  </a:cubicBezTo>
                  <a:cubicBezTo>
                    <a:pt x="1695" y="96"/>
                    <a:pt x="1695" y="99"/>
                    <a:pt x="1695" y="101"/>
                  </a:cubicBezTo>
                  <a:cubicBezTo>
                    <a:pt x="1696" y="102"/>
                    <a:pt x="1696" y="102"/>
                    <a:pt x="1697" y="102"/>
                  </a:cubicBezTo>
                  <a:cubicBezTo>
                    <a:pt x="1715" y="102"/>
                    <a:pt x="1733" y="102"/>
                    <a:pt x="1752" y="102"/>
                  </a:cubicBezTo>
                  <a:cubicBezTo>
                    <a:pt x="1752" y="102"/>
                    <a:pt x="1753" y="102"/>
                    <a:pt x="1753" y="101"/>
                  </a:cubicBezTo>
                  <a:cubicBezTo>
                    <a:pt x="1753" y="101"/>
                    <a:pt x="1753" y="101"/>
                    <a:pt x="1753" y="101"/>
                  </a:cubicBezTo>
                  <a:cubicBezTo>
                    <a:pt x="1754" y="98"/>
                    <a:pt x="1754" y="95"/>
                    <a:pt x="1753" y="92"/>
                  </a:cubicBezTo>
                  <a:cubicBezTo>
                    <a:pt x="1753" y="92"/>
                    <a:pt x="1753" y="92"/>
                    <a:pt x="1753" y="92"/>
                  </a:cubicBezTo>
                  <a:cubicBezTo>
                    <a:pt x="1753" y="91"/>
                    <a:pt x="1752" y="92"/>
                    <a:pt x="1751" y="92"/>
                  </a:cubicBezTo>
                  <a:cubicBezTo>
                    <a:pt x="1737" y="92"/>
                    <a:pt x="1723" y="92"/>
                    <a:pt x="1709" y="92"/>
                  </a:cubicBezTo>
                  <a:cubicBezTo>
                    <a:pt x="1708" y="92"/>
                    <a:pt x="1707" y="92"/>
                    <a:pt x="1707" y="91"/>
                  </a:cubicBezTo>
                  <a:cubicBezTo>
                    <a:pt x="1706" y="91"/>
                    <a:pt x="1707" y="90"/>
                    <a:pt x="1707" y="90"/>
                  </a:cubicBezTo>
                  <a:cubicBezTo>
                    <a:pt x="1707" y="89"/>
                    <a:pt x="1707" y="88"/>
                    <a:pt x="1707" y="88"/>
                  </a:cubicBezTo>
                  <a:cubicBezTo>
                    <a:pt x="1707" y="87"/>
                    <a:pt x="1707" y="87"/>
                    <a:pt x="1707" y="87"/>
                  </a:cubicBezTo>
                  <a:cubicBezTo>
                    <a:pt x="1707" y="87"/>
                    <a:pt x="1707" y="86"/>
                    <a:pt x="1707" y="86"/>
                  </a:cubicBezTo>
                  <a:cubicBezTo>
                    <a:pt x="1707" y="86"/>
                    <a:pt x="1707" y="86"/>
                    <a:pt x="1707" y="86"/>
                  </a:cubicBezTo>
                  <a:cubicBezTo>
                    <a:pt x="1708" y="86"/>
                    <a:pt x="1708" y="85"/>
                    <a:pt x="1708" y="85"/>
                  </a:cubicBezTo>
                  <a:cubicBezTo>
                    <a:pt x="1708" y="85"/>
                    <a:pt x="1708" y="85"/>
                    <a:pt x="1708" y="85"/>
                  </a:cubicBezTo>
                  <a:cubicBezTo>
                    <a:pt x="1708" y="85"/>
                    <a:pt x="1708" y="85"/>
                    <a:pt x="1708" y="85"/>
                  </a:cubicBezTo>
                  <a:cubicBezTo>
                    <a:pt x="1708" y="85"/>
                    <a:pt x="1708" y="84"/>
                    <a:pt x="1708" y="84"/>
                  </a:cubicBezTo>
                  <a:cubicBezTo>
                    <a:pt x="1708" y="84"/>
                    <a:pt x="1708" y="84"/>
                    <a:pt x="1708" y="84"/>
                  </a:cubicBezTo>
                  <a:cubicBezTo>
                    <a:pt x="1708" y="84"/>
                    <a:pt x="1708" y="84"/>
                    <a:pt x="1708" y="83"/>
                  </a:cubicBezTo>
                  <a:cubicBezTo>
                    <a:pt x="1708" y="83"/>
                    <a:pt x="1708" y="83"/>
                    <a:pt x="1708" y="83"/>
                  </a:cubicBezTo>
                  <a:cubicBezTo>
                    <a:pt x="1709" y="83"/>
                    <a:pt x="1709" y="83"/>
                    <a:pt x="1709" y="83"/>
                  </a:cubicBezTo>
                  <a:cubicBezTo>
                    <a:pt x="1709" y="83"/>
                    <a:pt x="1709" y="83"/>
                    <a:pt x="1709" y="83"/>
                  </a:cubicBezTo>
                  <a:cubicBezTo>
                    <a:pt x="1709" y="83"/>
                    <a:pt x="1709" y="82"/>
                    <a:pt x="1709" y="82"/>
                  </a:cubicBezTo>
                  <a:cubicBezTo>
                    <a:pt x="1709" y="82"/>
                    <a:pt x="1709" y="82"/>
                    <a:pt x="1709" y="82"/>
                  </a:cubicBezTo>
                  <a:cubicBezTo>
                    <a:pt x="1709" y="82"/>
                    <a:pt x="1709" y="82"/>
                    <a:pt x="1709" y="82"/>
                  </a:cubicBezTo>
                  <a:cubicBezTo>
                    <a:pt x="1709" y="82"/>
                    <a:pt x="1709" y="82"/>
                    <a:pt x="1709" y="82"/>
                  </a:cubicBezTo>
                  <a:cubicBezTo>
                    <a:pt x="1710" y="82"/>
                    <a:pt x="1710" y="81"/>
                    <a:pt x="1710" y="81"/>
                  </a:cubicBezTo>
                  <a:cubicBezTo>
                    <a:pt x="1710" y="81"/>
                    <a:pt x="1710" y="81"/>
                    <a:pt x="1710" y="81"/>
                  </a:cubicBezTo>
                  <a:cubicBezTo>
                    <a:pt x="1710" y="81"/>
                    <a:pt x="1710" y="81"/>
                    <a:pt x="1710" y="81"/>
                  </a:cubicBezTo>
                  <a:cubicBezTo>
                    <a:pt x="1710" y="81"/>
                    <a:pt x="1710" y="81"/>
                    <a:pt x="1710" y="81"/>
                  </a:cubicBezTo>
                  <a:cubicBezTo>
                    <a:pt x="1710" y="81"/>
                    <a:pt x="1710" y="80"/>
                    <a:pt x="1710" y="80"/>
                  </a:cubicBezTo>
                  <a:cubicBezTo>
                    <a:pt x="1710" y="80"/>
                    <a:pt x="1710" y="80"/>
                    <a:pt x="1710" y="80"/>
                  </a:cubicBezTo>
                  <a:cubicBezTo>
                    <a:pt x="1711" y="80"/>
                    <a:pt x="1711" y="80"/>
                    <a:pt x="1711" y="79"/>
                  </a:cubicBezTo>
                  <a:cubicBezTo>
                    <a:pt x="1711" y="79"/>
                    <a:pt x="1711" y="79"/>
                    <a:pt x="1711" y="79"/>
                  </a:cubicBezTo>
                  <a:cubicBezTo>
                    <a:pt x="1711" y="79"/>
                    <a:pt x="1711" y="79"/>
                    <a:pt x="1712" y="79"/>
                  </a:cubicBezTo>
                  <a:cubicBezTo>
                    <a:pt x="1712" y="79"/>
                    <a:pt x="1712" y="79"/>
                    <a:pt x="1712" y="79"/>
                  </a:cubicBezTo>
                  <a:cubicBezTo>
                    <a:pt x="1712" y="79"/>
                    <a:pt x="1712" y="79"/>
                    <a:pt x="1712" y="79"/>
                  </a:cubicBezTo>
                  <a:cubicBezTo>
                    <a:pt x="1712" y="79"/>
                    <a:pt x="1712" y="79"/>
                    <a:pt x="1712" y="79"/>
                  </a:cubicBezTo>
                  <a:cubicBezTo>
                    <a:pt x="1712" y="78"/>
                    <a:pt x="1712" y="78"/>
                    <a:pt x="1712" y="78"/>
                  </a:cubicBezTo>
                  <a:cubicBezTo>
                    <a:pt x="1712" y="78"/>
                    <a:pt x="1712" y="78"/>
                    <a:pt x="1712" y="78"/>
                  </a:cubicBezTo>
                  <a:cubicBezTo>
                    <a:pt x="1712" y="78"/>
                    <a:pt x="1712" y="78"/>
                    <a:pt x="1713" y="78"/>
                  </a:cubicBezTo>
                  <a:cubicBezTo>
                    <a:pt x="1713" y="78"/>
                    <a:pt x="1713" y="78"/>
                    <a:pt x="1713" y="78"/>
                  </a:cubicBezTo>
                  <a:cubicBezTo>
                    <a:pt x="1713" y="78"/>
                    <a:pt x="1713" y="78"/>
                    <a:pt x="1713" y="77"/>
                  </a:cubicBezTo>
                  <a:cubicBezTo>
                    <a:pt x="1713" y="77"/>
                    <a:pt x="1713" y="77"/>
                    <a:pt x="1713" y="77"/>
                  </a:cubicBezTo>
                  <a:cubicBezTo>
                    <a:pt x="1713" y="77"/>
                    <a:pt x="1713" y="77"/>
                    <a:pt x="1713" y="77"/>
                  </a:cubicBezTo>
                  <a:cubicBezTo>
                    <a:pt x="1713" y="77"/>
                    <a:pt x="1713" y="77"/>
                    <a:pt x="1713" y="77"/>
                  </a:cubicBezTo>
                  <a:cubicBezTo>
                    <a:pt x="1713" y="77"/>
                    <a:pt x="1714" y="77"/>
                    <a:pt x="1714" y="77"/>
                  </a:cubicBezTo>
                  <a:cubicBezTo>
                    <a:pt x="1714" y="77"/>
                    <a:pt x="1714" y="77"/>
                    <a:pt x="1714" y="77"/>
                  </a:cubicBezTo>
                  <a:cubicBezTo>
                    <a:pt x="1714" y="77"/>
                    <a:pt x="1714" y="77"/>
                    <a:pt x="1714" y="76"/>
                  </a:cubicBezTo>
                  <a:cubicBezTo>
                    <a:pt x="1714" y="76"/>
                    <a:pt x="1714" y="76"/>
                    <a:pt x="1714" y="76"/>
                  </a:cubicBezTo>
                  <a:cubicBezTo>
                    <a:pt x="1714" y="76"/>
                    <a:pt x="1714" y="76"/>
                    <a:pt x="1714" y="76"/>
                  </a:cubicBezTo>
                  <a:cubicBezTo>
                    <a:pt x="1714" y="76"/>
                    <a:pt x="1714" y="76"/>
                    <a:pt x="1714" y="76"/>
                  </a:cubicBezTo>
                  <a:cubicBezTo>
                    <a:pt x="1715" y="76"/>
                    <a:pt x="1715" y="75"/>
                    <a:pt x="1716" y="75"/>
                  </a:cubicBezTo>
                  <a:cubicBezTo>
                    <a:pt x="1716" y="75"/>
                    <a:pt x="1716" y="75"/>
                    <a:pt x="1716" y="75"/>
                  </a:cubicBezTo>
                  <a:cubicBezTo>
                    <a:pt x="1716" y="75"/>
                    <a:pt x="1716" y="75"/>
                    <a:pt x="1716" y="75"/>
                  </a:cubicBezTo>
                  <a:cubicBezTo>
                    <a:pt x="1716" y="75"/>
                    <a:pt x="1716" y="75"/>
                    <a:pt x="1716" y="75"/>
                  </a:cubicBezTo>
                  <a:cubicBezTo>
                    <a:pt x="1716" y="75"/>
                    <a:pt x="1716" y="74"/>
                    <a:pt x="1716" y="74"/>
                  </a:cubicBezTo>
                  <a:cubicBezTo>
                    <a:pt x="1716" y="74"/>
                    <a:pt x="1716" y="74"/>
                    <a:pt x="1716" y="74"/>
                  </a:cubicBezTo>
                  <a:cubicBezTo>
                    <a:pt x="1717" y="74"/>
                    <a:pt x="1717" y="74"/>
                    <a:pt x="1717" y="74"/>
                  </a:cubicBezTo>
                  <a:cubicBezTo>
                    <a:pt x="1717" y="74"/>
                    <a:pt x="1717" y="74"/>
                    <a:pt x="1717" y="74"/>
                  </a:cubicBezTo>
                  <a:cubicBezTo>
                    <a:pt x="1717" y="74"/>
                    <a:pt x="1717" y="74"/>
                    <a:pt x="1717" y="74"/>
                  </a:cubicBezTo>
                  <a:cubicBezTo>
                    <a:pt x="1717" y="74"/>
                    <a:pt x="1717" y="74"/>
                    <a:pt x="1717" y="74"/>
                  </a:cubicBezTo>
                  <a:cubicBezTo>
                    <a:pt x="1718" y="74"/>
                    <a:pt x="1718" y="73"/>
                    <a:pt x="1718" y="73"/>
                  </a:cubicBezTo>
                  <a:cubicBezTo>
                    <a:pt x="1718" y="73"/>
                    <a:pt x="1718" y="73"/>
                    <a:pt x="1718" y="73"/>
                  </a:cubicBezTo>
                  <a:cubicBezTo>
                    <a:pt x="1718" y="73"/>
                    <a:pt x="1718" y="73"/>
                    <a:pt x="1718" y="73"/>
                  </a:cubicBezTo>
                  <a:cubicBezTo>
                    <a:pt x="1718" y="73"/>
                    <a:pt x="1718" y="73"/>
                    <a:pt x="1718" y="73"/>
                  </a:cubicBezTo>
                  <a:cubicBezTo>
                    <a:pt x="1718" y="73"/>
                    <a:pt x="1719" y="73"/>
                    <a:pt x="1719" y="72"/>
                  </a:cubicBezTo>
                  <a:cubicBezTo>
                    <a:pt x="1719" y="72"/>
                    <a:pt x="1719" y="72"/>
                    <a:pt x="1719" y="72"/>
                  </a:cubicBezTo>
                  <a:cubicBezTo>
                    <a:pt x="1719" y="72"/>
                    <a:pt x="1719" y="72"/>
                    <a:pt x="1720" y="72"/>
                  </a:cubicBezTo>
                  <a:cubicBezTo>
                    <a:pt x="1720" y="72"/>
                    <a:pt x="1720" y="72"/>
                    <a:pt x="1720" y="72"/>
                  </a:cubicBezTo>
                  <a:cubicBezTo>
                    <a:pt x="1720" y="72"/>
                    <a:pt x="1720" y="72"/>
                    <a:pt x="1720" y="72"/>
                  </a:cubicBezTo>
                  <a:cubicBezTo>
                    <a:pt x="1720" y="72"/>
                    <a:pt x="1720" y="72"/>
                    <a:pt x="1720" y="72"/>
                  </a:cubicBezTo>
                  <a:cubicBezTo>
                    <a:pt x="1720" y="71"/>
                    <a:pt x="1720" y="71"/>
                    <a:pt x="1721" y="71"/>
                  </a:cubicBezTo>
                  <a:cubicBezTo>
                    <a:pt x="1720" y="71"/>
                    <a:pt x="1720" y="71"/>
                    <a:pt x="1720" y="71"/>
                  </a:cubicBezTo>
                  <a:cubicBezTo>
                    <a:pt x="1721" y="71"/>
                    <a:pt x="1721" y="71"/>
                    <a:pt x="1721" y="71"/>
                  </a:cubicBezTo>
                  <a:cubicBezTo>
                    <a:pt x="1721" y="71"/>
                    <a:pt x="1721" y="71"/>
                    <a:pt x="1721" y="71"/>
                  </a:cubicBezTo>
                  <a:cubicBezTo>
                    <a:pt x="1721" y="71"/>
                    <a:pt x="1721" y="71"/>
                    <a:pt x="1721" y="71"/>
                  </a:cubicBezTo>
                  <a:cubicBezTo>
                    <a:pt x="1721" y="71"/>
                    <a:pt x="1721" y="71"/>
                    <a:pt x="1721" y="71"/>
                  </a:cubicBezTo>
                  <a:cubicBezTo>
                    <a:pt x="1721" y="70"/>
                    <a:pt x="1722" y="70"/>
                    <a:pt x="1722" y="70"/>
                  </a:cubicBezTo>
                  <a:cubicBezTo>
                    <a:pt x="1722" y="70"/>
                    <a:pt x="1722" y="70"/>
                    <a:pt x="1722" y="70"/>
                  </a:cubicBezTo>
                  <a:cubicBezTo>
                    <a:pt x="1722" y="70"/>
                    <a:pt x="1722" y="70"/>
                    <a:pt x="1722" y="70"/>
                  </a:cubicBezTo>
                  <a:cubicBezTo>
                    <a:pt x="1722" y="70"/>
                    <a:pt x="1722" y="70"/>
                    <a:pt x="1722" y="70"/>
                  </a:cubicBezTo>
                  <a:cubicBezTo>
                    <a:pt x="1722" y="70"/>
                    <a:pt x="1723" y="70"/>
                    <a:pt x="1723" y="70"/>
                  </a:cubicBezTo>
                  <a:cubicBezTo>
                    <a:pt x="1723" y="70"/>
                    <a:pt x="1723" y="70"/>
                    <a:pt x="1723" y="70"/>
                  </a:cubicBezTo>
                  <a:cubicBezTo>
                    <a:pt x="1723" y="69"/>
                    <a:pt x="1723" y="69"/>
                    <a:pt x="1723" y="69"/>
                  </a:cubicBezTo>
                  <a:cubicBezTo>
                    <a:pt x="1723" y="69"/>
                    <a:pt x="1723" y="69"/>
                    <a:pt x="1723" y="69"/>
                  </a:cubicBezTo>
                  <a:cubicBezTo>
                    <a:pt x="1723" y="69"/>
                    <a:pt x="1724" y="69"/>
                    <a:pt x="1724" y="69"/>
                  </a:cubicBezTo>
                  <a:cubicBezTo>
                    <a:pt x="1724" y="69"/>
                    <a:pt x="1724" y="69"/>
                    <a:pt x="1724" y="69"/>
                  </a:cubicBezTo>
                  <a:cubicBezTo>
                    <a:pt x="1724" y="69"/>
                    <a:pt x="1724" y="69"/>
                    <a:pt x="1724" y="68"/>
                  </a:cubicBezTo>
                  <a:cubicBezTo>
                    <a:pt x="1724" y="68"/>
                    <a:pt x="1724" y="68"/>
                    <a:pt x="1724" y="68"/>
                  </a:cubicBezTo>
                  <a:cubicBezTo>
                    <a:pt x="1724" y="68"/>
                    <a:pt x="1725" y="68"/>
                    <a:pt x="1725" y="68"/>
                  </a:cubicBezTo>
                  <a:cubicBezTo>
                    <a:pt x="1725" y="68"/>
                    <a:pt x="1725" y="68"/>
                    <a:pt x="1725" y="68"/>
                  </a:cubicBezTo>
                  <a:cubicBezTo>
                    <a:pt x="1725" y="68"/>
                    <a:pt x="1725" y="68"/>
                    <a:pt x="1725" y="68"/>
                  </a:cubicBezTo>
                  <a:cubicBezTo>
                    <a:pt x="1725" y="68"/>
                    <a:pt x="1725" y="68"/>
                    <a:pt x="1725" y="68"/>
                  </a:cubicBezTo>
                  <a:cubicBezTo>
                    <a:pt x="1725" y="68"/>
                    <a:pt x="1726" y="68"/>
                    <a:pt x="1726" y="67"/>
                  </a:cubicBezTo>
                  <a:cubicBezTo>
                    <a:pt x="1726" y="67"/>
                    <a:pt x="1726" y="67"/>
                    <a:pt x="1726" y="67"/>
                  </a:cubicBezTo>
                  <a:cubicBezTo>
                    <a:pt x="1726" y="67"/>
                    <a:pt x="1726" y="67"/>
                    <a:pt x="1726" y="67"/>
                  </a:cubicBezTo>
                  <a:cubicBezTo>
                    <a:pt x="1726" y="67"/>
                    <a:pt x="1726" y="67"/>
                    <a:pt x="1726" y="67"/>
                  </a:cubicBezTo>
                  <a:cubicBezTo>
                    <a:pt x="1726" y="67"/>
                    <a:pt x="1726" y="67"/>
                    <a:pt x="1727" y="67"/>
                  </a:cubicBezTo>
                  <a:cubicBezTo>
                    <a:pt x="1727" y="67"/>
                    <a:pt x="1727" y="67"/>
                    <a:pt x="1727" y="67"/>
                  </a:cubicBezTo>
                  <a:cubicBezTo>
                    <a:pt x="1727" y="66"/>
                    <a:pt x="1727" y="67"/>
                    <a:pt x="1727" y="66"/>
                  </a:cubicBezTo>
                  <a:cubicBezTo>
                    <a:pt x="1727" y="66"/>
                    <a:pt x="1727" y="66"/>
                    <a:pt x="1727" y="66"/>
                  </a:cubicBezTo>
                  <a:cubicBezTo>
                    <a:pt x="1727" y="66"/>
                    <a:pt x="1727" y="66"/>
                    <a:pt x="1728" y="66"/>
                  </a:cubicBezTo>
                  <a:cubicBezTo>
                    <a:pt x="1728" y="66"/>
                    <a:pt x="1728" y="66"/>
                    <a:pt x="1728" y="66"/>
                  </a:cubicBezTo>
                  <a:cubicBezTo>
                    <a:pt x="1728" y="66"/>
                    <a:pt x="1728" y="66"/>
                    <a:pt x="1729" y="65"/>
                  </a:cubicBezTo>
                  <a:cubicBezTo>
                    <a:pt x="1729" y="65"/>
                    <a:pt x="1729" y="65"/>
                    <a:pt x="1729" y="65"/>
                  </a:cubicBezTo>
                  <a:cubicBezTo>
                    <a:pt x="1729" y="65"/>
                    <a:pt x="1729" y="65"/>
                    <a:pt x="1729" y="65"/>
                  </a:cubicBezTo>
                  <a:cubicBezTo>
                    <a:pt x="1729" y="65"/>
                    <a:pt x="1729" y="65"/>
                    <a:pt x="1729" y="65"/>
                  </a:cubicBezTo>
                  <a:cubicBezTo>
                    <a:pt x="1729" y="65"/>
                    <a:pt x="1729" y="65"/>
                    <a:pt x="1730" y="65"/>
                  </a:cubicBezTo>
                  <a:cubicBezTo>
                    <a:pt x="1730" y="65"/>
                    <a:pt x="1730" y="65"/>
                    <a:pt x="1730" y="65"/>
                  </a:cubicBezTo>
                  <a:cubicBezTo>
                    <a:pt x="1730" y="65"/>
                    <a:pt x="1730" y="64"/>
                    <a:pt x="1730" y="64"/>
                  </a:cubicBezTo>
                  <a:cubicBezTo>
                    <a:pt x="1730" y="64"/>
                    <a:pt x="1730" y="64"/>
                    <a:pt x="1730" y="64"/>
                  </a:cubicBezTo>
                  <a:cubicBezTo>
                    <a:pt x="1730" y="64"/>
                    <a:pt x="1730" y="64"/>
                    <a:pt x="1730" y="64"/>
                  </a:cubicBezTo>
                  <a:cubicBezTo>
                    <a:pt x="1730" y="64"/>
                    <a:pt x="1730" y="64"/>
                    <a:pt x="1730" y="64"/>
                  </a:cubicBezTo>
                  <a:cubicBezTo>
                    <a:pt x="1731" y="64"/>
                    <a:pt x="1731" y="64"/>
                    <a:pt x="1731" y="63"/>
                  </a:cubicBezTo>
                  <a:cubicBezTo>
                    <a:pt x="1731" y="64"/>
                    <a:pt x="1731" y="64"/>
                    <a:pt x="1731" y="64"/>
                  </a:cubicBezTo>
                  <a:cubicBezTo>
                    <a:pt x="1731" y="63"/>
                    <a:pt x="1731" y="63"/>
                    <a:pt x="1731" y="63"/>
                  </a:cubicBezTo>
                  <a:cubicBezTo>
                    <a:pt x="1731" y="63"/>
                    <a:pt x="1731" y="63"/>
                    <a:pt x="1731" y="63"/>
                  </a:cubicBezTo>
                  <a:cubicBezTo>
                    <a:pt x="1731" y="63"/>
                    <a:pt x="1732" y="63"/>
                    <a:pt x="1732" y="63"/>
                  </a:cubicBezTo>
                  <a:cubicBezTo>
                    <a:pt x="1732" y="63"/>
                    <a:pt x="1732" y="63"/>
                    <a:pt x="1732" y="63"/>
                  </a:cubicBezTo>
                  <a:cubicBezTo>
                    <a:pt x="1732" y="63"/>
                    <a:pt x="1732" y="63"/>
                    <a:pt x="1732" y="62"/>
                  </a:cubicBezTo>
                  <a:cubicBezTo>
                    <a:pt x="1732" y="62"/>
                    <a:pt x="1732" y="62"/>
                    <a:pt x="1732" y="62"/>
                  </a:cubicBezTo>
                  <a:cubicBezTo>
                    <a:pt x="1733" y="62"/>
                    <a:pt x="1733" y="62"/>
                    <a:pt x="1733" y="62"/>
                  </a:cubicBezTo>
                  <a:cubicBezTo>
                    <a:pt x="1733" y="62"/>
                    <a:pt x="1733" y="62"/>
                    <a:pt x="1733" y="62"/>
                  </a:cubicBezTo>
                  <a:cubicBezTo>
                    <a:pt x="1733" y="62"/>
                    <a:pt x="1733" y="62"/>
                    <a:pt x="1733" y="62"/>
                  </a:cubicBezTo>
                  <a:cubicBezTo>
                    <a:pt x="1733" y="62"/>
                    <a:pt x="1733" y="62"/>
                    <a:pt x="1733" y="62"/>
                  </a:cubicBezTo>
                  <a:cubicBezTo>
                    <a:pt x="1733" y="62"/>
                    <a:pt x="1734" y="61"/>
                    <a:pt x="1734" y="61"/>
                  </a:cubicBezTo>
                  <a:cubicBezTo>
                    <a:pt x="1734" y="61"/>
                    <a:pt x="1734" y="61"/>
                    <a:pt x="1734" y="61"/>
                  </a:cubicBezTo>
                  <a:cubicBezTo>
                    <a:pt x="1734" y="61"/>
                    <a:pt x="1734" y="61"/>
                    <a:pt x="1734" y="61"/>
                  </a:cubicBezTo>
                  <a:cubicBezTo>
                    <a:pt x="1734" y="61"/>
                    <a:pt x="1734" y="61"/>
                    <a:pt x="1734" y="61"/>
                  </a:cubicBezTo>
                  <a:cubicBezTo>
                    <a:pt x="1735" y="61"/>
                    <a:pt x="1735" y="61"/>
                    <a:pt x="1735" y="60"/>
                  </a:cubicBezTo>
                  <a:cubicBezTo>
                    <a:pt x="1735" y="60"/>
                    <a:pt x="1735" y="60"/>
                    <a:pt x="1735" y="60"/>
                  </a:cubicBezTo>
                  <a:cubicBezTo>
                    <a:pt x="1735" y="60"/>
                    <a:pt x="1735" y="60"/>
                    <a:pt x="1735" y="60"/>
                  </a:cubicBezTo>
                  <a:cubicBezTo>
                    <a:pt x="1735" y="60"/>
                    <a:pt x="1735" y="60"/>
                    <a:pt x="1735" y="60"/>
                  </a:cubicBezTo>
                  <a:cubicBezTo>
                    <a:pt x="1735" y="60"/>
                    <a:pt x="1735" y="60"/>
                    <a:pt x="1736" y="60"/>
                  </a:cubicBezTo>
                  <a:cubicBezTo>
                    <a:pt x="1736" y="60"/>
                    <a:pt x="1736" y="60"/>
                    <a:pt x="1736" y="60"/>
                  </a:cubicBezTo>
                  <a:cubicBezTo>
                    <a:pt x="1736" y="59"/>
                    <a:pt x="1736" y="59"/>
                    <a:pt x="1737" y="59"/>
                  </a:cubicBezTo>
                  <a:cubicBezTo>
                    <a:pt x="1736" y="59"/>
                    <a:pt x="1736" y="59"/>
                    <a:pt x="1736" y="59"/>
                  </a:cubicBezTo>
                  <a:cubicBezTo>
                    <a:pt x="1737" y="59"/>
                    <a:pt x="1737" y="59"/>
                    <a:pt x="1737" y="59"/>
                  </a:cubicBezTo>
                  <a:cubicBezTo>
                    <a:pt x="1737" y="59"/>
                    <a:pt x="1737" y="59"/>
                    <a:pt x="1737" y="59"/>
                  </a:cubicBezTo>
                  <a:cubicBezTo>
                    <a:pt x="1737" y="59"/>
                    <a:pt x="1737" y="58"/>
                    <a:pt x="1737" y="58"/>
                  </a:cubicBezTo>
                  <a:cubicBezTo>
                    <a:pt x="1737" y="58"/>
                    <a:pt x="1737" y="58"/>
                    <a:pt x="1737" y="58"/>
                  </a:cubicBezTo>
                  <a:cubicBezTo>
                    <a:pt x="1737" y="58"/>
                    <a:pt x="1738" y="58"/>
                    <a:pt x="1738" y="58"/>
                  </a:cubicBezTo>
                  <a:cubicBezTo>
                    <a:pt x="1738" y="58"/>
                    <a:pt x="1738" y="58"/>
                    <a:pt x="1738" y="58"/>
                  </a:cubicBezTo>
                  <a:cubicBezTo>
                    <a:pt x="1738" y="58"/>
                    <a:pt x="1738" y="58"/>
                    <a:pt x="1738" y="58"/>
                  </a:cubicBezTo>
                  <a:cubicBezTo>
                    <a:pt x="1738" y="58"/>
                    <a:pt x="1738" y="58"/>
                    <a:pt x="1738" y="58"/>
                  </a:cubicBezTo>
                  <a:cubicBezTo>
                    <a:pt x="1738" y="58"/>
                    <a:pt x="1738" y="57"/>
                    <a:pt x="1738" y="57"/>
                  </a:cubicBezTo>
                  <a:cubicBezTo>
                    <a:pt x="1738" y="57"/>
                    <a:pt x="1738" y="57"/>
                    <a:pt x="1738" y="57"/>
                  </a:cubicBezTo>
                  <a:cubicBezTo>
                    <a:pt x="1738" y="57"/>
                    <a:pt x="1739" y="57"/>
                    <a:pt x="1739" y="57"/>
                  </a:cubicBezTo>
                  <a:cubicBezTo>
                    <a:pt x="1739" y="57"/>
                    <a:pt x="1739" y="57"/>
                    <a:pt x="1739" y="57"/>
                  </a:cubicBezTo>
                  <a:cubicBezTo>
                    <a:pt x="1739" y="57"/>
                    <a:pt x="1739" y="57"/>
                    <a:pt x="1739" y="57"/>
                  </a:cubicBezTo>
                  <a:cubicBezTo>
                    <a:pt x="1739" y="57"/>
                    <a:pt x="1739" y="57"/>
                    <a:pt x="1739" y="57"/>
                  </a:cubicBezTo>
                  <a:cubicBezTo>
                    <a:pt x="1739" y="56"/>
                    <a:pt x="1739" y="56"/>
                    <a:pt x="1739" y="56"/>
                  </a:cubicBezTo>
                  <a:cubicBezTo>
                    <a:pt x="1739" y="56"/>
                    <a:pt x="1739" y="56"/>
                    <a:pt x="1739" y="56"/>
                  </a:cubicBezTo>
                  <a:cubicBezTo>
                    <a:pt x="1740" y="56"/>
                    <a:pt x="1740" y="56"/>
                    <a:pt x="1740" y="56"/>
                  </a:cubicBezTo>
                  <a:cubicBezTo>
                    <a:pt x="1740" y="56"/>
                    <a:pt x="1740" y="56"/>
                    <a:pt x="1740" y="56"/>
                  </a:cubicBezTo>
                  <a:cubicBezTo>
                    <a:pt x="1740" y="56"/>
                    <a:pt x="1740" y="56"/>
                    <a:pt x="1740" y="56"/>
                  </a:cubicBezTo>
                  <a:cubicBezTo>
                    <a:pt x="1740" y="56"/>
                    <a:pt x="1740" y="56"/>
                    <a:pt x="1740" y="56"/>
                  </a:cubicBezTo>
                  <a:cubicBezTo>
                    <a:pt x="1740" y="55"/>
                    <a:pt x="1740" y="55"/>
                    <a:pt x="1740" y="55"/>
                  </a:cubicBezTo>
                  <a:cubicBezTo>
                    <a:pt x="1740" y="55"/>
                    <a:pt x="1740" y="55"/>
                    <a:pt x="1740" y="55"/>
                  </a:cubicBezTo>
                  <a:cubicBezTo>
                    <a:pt x="1741" y="55"/>
                    <a:pt x="1741" y="55"/>
                    <a:pt x="1741" y="55"/>
                  </a:cubicBezTo>
                  <a:cubicBezTo>
                    <a:pt x="1741" y="55"/>
                    <a:pt x="1741" y="55"/>
                    <a:pt x="1741" y="55"/>
                  </a:cubicBezTo>
                  <a:cubicBezTo>
                    <a:pt x="1741" y="55"/>
                    <a:pt x="1741" y="55"/>
                    <a:pt x="1741" y="54"/>
                  </a:cubicBezTo>
                  <a:cubicBezTo>
                    <a:pt x="1741" y="54"/>
                    <a:pt x="1741" y="54"/>
                    <a:pt x="1741" y="54"/>
                  </a:cubicBezTo>
                  <a:cubicBezTo>
                    <a:pt x="1741" y="54"/>
                    <a:pt x="1741" y="54"/>
                    <a:pt x="1741" y="54"/>
                  </a:cubicBezTo>
                  <a:cubicBezTo>
                    <a:pt x="1741" y="54"/>
                    <a:pt x="1741" y="54"/>
                    <a:pt x="1741" y="54"/>
                  </a:cubicBezTo>
                  <a:cubicBezTo>
                    <a:pt x="1742" y="54"/>
                    <a:pt x="1742" y="53"/>
                    <a:pt x="1742" y="53"/>
                  </a:cubicBezTo>
                  <a:cubicBezTo>
                    <a:pt x="1742" y="53"/>
                    <a:pt x="1742" y="53"/>
                    <a:pt x="1742" y="53"/>
                  </a:cubicBezTo>
                  <a:cubicBezTo>
                    <a:pt x="1742" y="53"/>
                    <a:pt x="1742" y="53"/>
                    <a:pt x="1743" y="53"/>
                  </a:cubicBezTo>
                  <a:cubicBezTo>
                    <a:pt x="1742" y="53"/>
                    <a:pt x="1742" y="53"/>
                    <a:pt x="1742" y="53"/>
                  </a:cubicBezTo>
                  <a:cubicBezTo>
                    <a:pt x="1743" y="53"/>
                    <a:pt x="1743" y="53"/>
                    <a:pt x="1743" y="52"/>
                  </a:cubicBezTo>
                  <a:cubicBezTo>
                    <a:pt x="1743" y="52"/>
                    <a:pt x="1743" y="52"/>
                    <a:pt x="1743" y="52"/>
                  </a:cubicBezTo>
                  <a:cubicBezTo>
                    <a:pt x="1743" y="52"/>
                    <a:pt x="1743" y="52"/>
                    <a:pt x="1743" y="52"/>
                  </a:cubicBezTo>
                  <a:cubicBezTo>
                    <a:pt x="1743" y="52"/>
                    <a:pt x="1743" y="52"/>
                    <a:pt x="1743" y="52"/>
                  </a:cubicBezTo>
                  <a:cubicBezTo>
                    <a:pt x="1743" y="52"/>
                    <a:pt x="1743" y="52"/>
                    <a:pt x="1744" y="51"/>
                  </a:cubicBezTo>
                  <a:cubicBezTo>
                    <a:pt x="1744" y="51"/>
                    <a:pt x="1744" y="51"/>
                    <a:pt x="1744" y="51"/>
                  </a:cubicBezTo>
                  <a:cubicBezTo>
                    <a:pt x="1744" y="51"/>
                    <a:pt x="1744" y="51"/>
                    <a:pt x="1744" y="51"/>
                  </a:cubicBezTo>
                  <a:cubicBezTo>
                    <a:pt x="1744" y="51"/>
                    <a:pt x="1744" y="51"/>
                    <a:pt x="1744" y="51"/>
                  </a:cubicBezTo>
                  <a:cubicBezTo>
                    <a:pt x="1744" y="51"/>
                    <a:pt x="1744" y="51"/>
                    <a:pt x="1744" y="50"/>
                  </a:cubicBezTo>
                  <a:cubicBezTo>
                    <a:pt x="1744" y="50"/>
                    <a:pt x="1744" y="50"/>
                    <a:pt x="1744" y="50"/>
                  </a:cubicBezTo>
                  <a:cubicBezTo>
                    <a:pt x="1744" y="50"/>
                    <a:pt x="1745" y="50"/>
                    <a:pt x="1745" y="50"/>
                  </a:cubicBezTo>
                  <a:cubicBezTo>
                    <a:pt x="1745" y="50"/>
                    <a:pt x="1745" y="50"/>
                    <a:pt x="1745" y="50"/>
                  </a:cubicBezTo>
                  <a:cubicBezTo>
                    <a:pt x="1745" y="50"/>
                    <a:pt x="1745" y="49"/>
                    <a:pt x="1745" y="49"/>
                  </a:cubicBezTo>
                  <a:cubicBezTo>
                    <a:pt x="1745" y="49"/>
                    <a:pt x="1745" y="49"/>
                    <a:pt x="1745" y="49"/>
                  </a:cubicBezTo>
                  <a:cubicBezTo>
                    <a:pt x="1745" y="49"/>
                    <a:pt x="1745" y="49"/>
                    <a:pt x="1745" y="49"/>
                  </a:cubicBezTo>
                  <a:cubicBezTo>
                    <a:pt x="1745" y="49"/>
                    <a:pt x="1745" y="49"/>
                    <a:pt x="1745" y="49"/>
                  </a:cubicBezTo>
                  <a:cubicBezTo>
                    <a:pt x="1746" y="49"/>
                    <a:pt x="1745" y="48"/>
                    <a:pt x="1746" y="48"/>
                  </a:cubicBezTo>
                  <a:cubicBezTo>
                    <a:pt x="1746" y="48"/>
                    <a:pt x="1746" y="48"/>
                    <a:pt x="1746" y="48"/>
                  </a:cubicBezTo>
                  <a:cubicBezTo>
                    <a:pt x="1746" y="48"/>
                    <a:pt x="1746" y="48"/>
                    <a:pt x="1746" y="48"/>
                  </a:cubicBezTo>
                  <a:cubicBezTo>
                    <a:pt x="1746" y="48"/>
                    <a:pt x="1746" y="48"/>
                    <a:pt x="1746" y="48"/>
                  </a:cubicBezTo>
                  <a:cubicBezTo>
                    <a:pt x="1746" y="47"/>
                    <a:pt x="1746" y="47"/>
                    <a:pt x="1746" y="47"/>
                  </a:cubicBezTo>
                  <a:cubicBezTo>
                    <a:pt x="1746" y="47"/>
                    <a:pt x="1746" y="47"/>
                    <a:pt x="1746" y="47"/>
                  </a:cubicBezTo>
                  <a:cubicBezTo>
                    <a:pt x="1747" y="47"/>
                    <a:pt x="1746" y="46"/>
                    <a:pt x="1747" y="46"/>
                  </a:cubicBezTo>
                  <a:cubicBezTo>
                    <a:pt x="1747" y="46"/>
                    <a:pt x="1747" y="46"/>
                    <a:pt x="1747" y="46"/>
                  </a:cubicBezTo>
                  <a:cubicBezTo>
                    <a:pt x="1747" y="46"/>
                    <a:pt x="1747" y="46"/>
                    <a:pt x="1747" y="45"/>
                  </a:cubicBezTo>
                  <a:cubicBezTo>
                    <a:pt x="1747" y="45"/>
                    <a:pt x="1747" y="45"/>
                    <a:pt x="1747" y="45"/>
                  </a:cubicBezTo>
                  <a:cubicBezTo>
                    <a:pt x="1747" y="45"/>
                    <a:pt x="1747" y="45"/>
                    <a:pt x="1747" y="45"/>
                  </a:cubicBezTo>
                  <a:cubicBezTo>
                    <a:pt x="1747" y="45"/>
                    <a:pt x="1747" y="44"/>
                    <a:pt x="1747" y="44"/>
                  </a:cubicBezTo>
                  <a:cubicBezTo>
                    <a:pt x="1748" y="44"/>
                    <a:pt x="1748" y="44"/>
                    <a:pt x="1748" y="44"/>
                  </a:cubicBezTo>
                  <a:cubicBezTo>
                    <a:pt x="1748" y="44"/>
                    <a:pt x="1748" y="44"/>
                    <a:pt x="1748" y="44"/>
                  </a:cubicBezTo>
                  <a:cubicBezTo>
                    <a:pt x="1748" y="43"/>
                    <a:pt x="1748" y="43"/>
                    <a:pt x="1748" y="43"/>
                  </a:cubicBezTo>
                  <a:cubicBezTo>
                    <a:pt x="1748" y="43"/>
                    <a:pt x="1748" y="43"/>
                    <a:pt x="1748" y="43"/>
                  </a:cubicBezTo>
                  <a:cubicBezTo>
                    <a:pt x="1748" y="42"/>
                    <a:pt x="1748" y="42"/>
                    <a:pt x="1748" y="42"/>
                  </a:cubicBezTo>
                  <a:cubicBezTo>
                    <a:pt x="1748" y="42"/>
                    <a:pt x="1748" y="42"/>
                    <a:pt x="1748" y="42"/>
                  </a:cubicBezTo>
                  <a:cubicBezTo>
                    <a:pt x="1749" y="41"/>
                    <a:pt x="1749" y="41"/>
                    <a:pt x="1749" y="40"/>
                  </a:cubicBezTo>
                  <a:cubicBezTo>
                    <a:pt x="1749" y="40"/>
                    <a:pt x="1749" y="40"/>
                    <a:pt x="1749" y="40"/>
                  </a:cubicBezTo>
                  <a:cubicBezTo>
                    <a:pt x="1749" y="40"/>
                    <a:pt x="1749" y="40"/>
                    <a:pt x="1749" y="40"/>
                  </a:cubicBezTo>
                  <a:cubicBezTo>
                    <a:pt x="1749" y="40"/>
                    <a:pt x="1749" y="39"/>
                    <a:pt x="1749" y="39"/>
                  </a:cubicBezTo>
                  <a:cubicBezTo>
                    <a:pt x="1749" y="39"/>
                    <a:pt x="1749" y="39"/>
                    <a:pt x="1749" y="39"/>
                  </a:cubicBezTo>
                  <a:cubicBezTo>
                    <a:pt x="1749" y="38"/>
                    <a:pt x="1749" y="37"/>
                    <a:pt x="1749" y="37"/>
                  </a:cubicBezTo>
                  <a:close/>
                  <a:moveTo>
                    <a:pt x="1386" y="37"/>
                  </a:moveTo>
                  <a:cubicBezTo>
                    <a:pt x="1386" y="37"/>
                    <a:pt x="1386" y="38"/>
                    <a:pt x="1386" y="38"/>
                  </a:cubicBezTo>
                  <a:cubicBezTo>
                    <a:pt x="1385" y="38"/>
                    <a:pt x="1386" y="39"/>
                    <a:pt x="1385" y="39"/>
                  </a:cubicBezTo>
                  <a:cubicBezTo>
                    <a:pt x="1385" y="39"/>
                    <a:pt x="1385" y="39"/>
                    <a:pt x="1385" y="39"/>
                  </a:cubicBezTo>
                  <a:cubicBezTo>
                    <a:pt x="1385" y="40"/>
                    <a:pt x="1385" y="40"/>
                    <a:pt x="1385" y="40"/>
                  </a:cubicBezTo>
                  <a:cubicBezTo>
                    <a:pt x="1385" y="40"/>
                    <a:pt x="1385" y="40"/>
                    <a:pt x="1385" y="40"/>
                  </a:cubicBezTo>
                  <a:cubicBezTo>
                    <a:pt x="1385" y="41"/>
                    <a:pt x="1385" y="41"/>
                    <a:pt x="1385" y="41"/>
                  </a:cubicBezTo>
                  <a:cubicBezTo>
                    <a:pt x="1385" y="41"/>
                    <a:pt x="1385" y="41"/>
                    <a:pt x="1385" y="41"/>
                  </a:cubicBezTo>
                  <a:cubicBezTo>
                    <a:pt x="1384" y="42"/>
                    <a:pt x="1385" y="42"/>
                    <a:pt x="1384" y="42"/>
                  </a:cubicBezTo>
                  <a:cubicBezTo>
                    <a:pt x="1384" y="42"/>
                    <a:pt x="1384" y="42"/>
                    <a:pt x="1384" y="42"/>
                  </a:cubicBezTo>
                  <a:cubicBezTo>
                    <a:pt x="1384" y="43"/>
                    <a:pt x="1384" y="43"/>
                    <a:pt x="1384" y="43"/>
                  </a:cubicBezTo>
                  <a:cubicBezTo>
                    <a:pt x="1384" y="43"/>
                    <a:pt x="1384" y="43"/>
                    <a:pt x="1384" y="43"/>
                  </a:cubicBezTo>
                  <a:cubicBezTo>
                    <a:pt x="1384" y="43"/>
                    <a:pt x="1384" y="44"/>
                    <a:pt x="1384" y="44"/>
                  </a:cubicBezTo>
                  <a:cubicBezTo>
                    <a:pt x="1384" y="44"/>
                    <a:pt x="1384" y="44"/>
                    <a:pt x="1384" y="44"/>
                  </a:cubicBezTo>
                  <a:cubicBezTo>
                    <a:pt x="1383" y="44"/>
                    <a:pt x="1383" y="44"/>
                    <a:pt x="1383" y="44"/>
                  </a:cubicBezTo>
                  <a:cubicBezTo>
                    <a:pt x="1383" y="44"/>
                    <a:pt x="1383" y="44"/>
                    <a:pt x="1383" y="44"/>
                  </a:cubicBezTo>
                  <a:cubicBezTo>
                    <a:pt x="1383" y="45"/>
                    <a:pt x="1383" y="45"/>
                    <a:pt x="1383" y="45"/>
                  </a:cubicBezTo>
                  <a:cubicBezTo>
                    <a:pt x="1383" y="45"/>
                    <a:pt x="1383" y="45"/>
                    <a:pt x="1383" y="45"/>
                  </a:cubicBezTo>
                  <a:cubicBezTo>
                    <a:pt x="1383" y="45"/>
                    <a:pt x="1383" y="46"/>
                    <a:pt x="1383" y="46"/>
                  </a:cubicBezTo>
                  <a:cubicBezTo>
                    <a:pt x="1383" y="46"/>
                    <a:pt x="1383" y="46"/>
                    <a:pt x="1383" y="46"/>
                  </a:cubicBezTo>
                  <a:cubicBezTo>
                    <a:pt x="1382" y="46"/>
                    <a:pt x="1382" y="46"/>
                    <a:pt x="1382" y="46"/>
                  </a:cubicBezTo>
                  <a:cubicBezTo>
                    <a:pt x="1382" y="46"/>
                    <a:pt x="1382" y="46"/>
                    <a:pt x="1382" y="46"/>
                  </a:cubicBezTo>
                  <a:cubicBezTo>
                    <a:pt x="1382" y="46"/>
                    <a:pt x="1382" y="47"/>
                    <a:pt x="1382" y="47"/>
                  </a:cubicBezTo>
                  <a:cubicBezTo>
                    <a:pt x="1382" y="47"/>
                    <a:pt x="1382" y="47"/>
                    <a:pt x="1382" y="47"/>
                  </a:cubicBezTo>
                  <a:cubicBezTo>
                    <a:pt x="1382" y="47"/>
                    <a:pt x="1382" y="47"/>
                    <a:pt x="1382" y="47"/>
                  </a:cubicBezTo>
                  <a:cubicBezTo>
                    <a:pt x="1382" y="47"/>
                    <a:pt x="1382" y="47"/>
                    <a:pt x="1382" y="47"/>
                  </a:cubicBezTo>
                  <a:cubicBezTo>
                    <a:pt x="1381" y="47"/>
                    <a:pt x="1381" y="48"/>
                    <a:pt x="1381" y="48"/>
                  </a:cubicBezTo>
                  <a:cubicBezTo>
                    <a:pt x="1381" y="48"/>
                    <a:pt x="1381" y="48"/>
                    <a:pt x="1381" y="48"/>
                  </a:cubicBezTo>
                  <a:cubicBezTo>
                    <a:pt x="1381" y="48"/>
                    <a:pt x="1381" y="48"/>
                    <a:pt x="1381" y="48"/>
                  </a:cubicBezTo>
                  <a:cubicBezTo>
                    <a:pt x="1381" y="48"/>
                    <a:pt x="1381" y="48"/>
                    <a:pt x="1381" y="48"/>
                  </a:cubicBezTo>
                  <a:cubicBezTo>
                    <a:pt x="1381" y="48"/>
                    <a:pt x="1381" y="48"/>
                    <a:pt x="1381" y="49"/>
                  </a:cubicBezTo>
                  <a:cubicBezTo>
                    <a:pt x="1381" y="49"/>
                    <a:pt x="1381" y="49"/>
                    <a:pt x="1381" y="49"/>
                  </a:cubicBezTo>
                  <a:cubicBezTo>
                    <a:pt x="1380" y="49"/>
                    <a:pt x="1380" y="49"/>
                    <a:pt x="1380" y="50"/>
                  </a:cubicBezTo>
                  <a:cubicBezTo>
                    <a:pt x="1380" y="50"/>
                    <a:pt x="1380" y="50"/>
                    <a:pt x="1380" y="50"/>
                  </a:cubicBezTo>
                  <a:cubicBezTo>
                    <a:pt x="1380" y="50"/>
                    <a:pt x="1380" y="50"/>
                    <a:pt x="1379" y="50"/>
                  </a:cubicBezTo>
                  <a:cubicBezTo>
                    <a:pt x="1379" y="50"/>
                    <a:pt x="1379" y="50"/>
                    <a:pt x="1379" y="50"/>
                  </a:cubicBezTo>
                  <a:cubicBezTo>
                    <a:pt x="1379" y="50"/>
                    <a:pt x="1379" y="50"/>
                    <a:pt x="1379" y="50"/>
                  </a:cubicBezTo>
                  <a:cubicBezTo>
                    <a:pt x="1379" y="50"/>
                    <a:pt x="1379" y="50"/>
                    <a:pt x="1379" y="50"/>
                  </a:cubicBezTo>
                  <a:cubicBezTo>
                    <a:pt x="1379" y="50"/>
                    <a:pt x="1379" y="51"/>
                    <a:pt x="1379" y="51"/>
                  </a:cubicBezTo>
                  <a:cubicBezTo>
                    <a:pt x="1379" y="51"/>
                    <a:pt x="1379" y="51"/>
                    <a:pt x="1379" y="51"/>
                  </a:cubicBezTo>
                  <a:cubicBezTo>
                    <a:pt x="1379" y="51"/>
                    <a:pt x="1379" y="51"/>
                    <a:pt x="1378" y="51"/>
                  </a:cubicBezTo>
                  <a:cubicBezTo>
                    <a:pt x="1379" y="51"/>
                    <a:pt x="1379" y="51"/>
                    <a:pt x="1379" y="51"/>
                  </a:cubicBezTo>
                  <a:cubicBezTo>
                    <a:pt x="1378" y="51"/>
                    <a:pt x="1378" y="51"/>
                    <a:pt x="1378" y="51"/>
                  </a:cubicBezTo>
                  <a:cubicBezTo>
                    <a:pt x="1378" y="51"/>
                    <a:pt x="1378" y="51"/>
                    <a:pt x="1378" y="51"/>
                  </a:cubicBezTo>
                  <a:cubicBezTo>
                    <a:pt x="1378" y="51"/>
                    <a:pt x="1378" y="52"/>
                    <a:pt x="1378" y="52"/>
                  </a:cubicBezTo>
                  <a:cubicBezTo>
                    <a:pt x="1378" y="52"/>
                    <a:pt x="1378" y="52"/>
                    <a:pt x="1378" y="52"/>
                  </a:cubicBezTo>
                  <a:cubicBezTo>
                    <a:pt x="1378" y="52"/>
                    <a:pt x="1377" y="52"/>
                    <a:pt x="1377" y="52"/>
                  </a:cubicBezTo>
                  <a:cubicBezTo>
                    <a:pt x="1377" y="52"/>
                    <a:pt x="1377" y="52"/>
                    <a:pt x="1377" y="52"/>
                  </a:cubicBezTo>
                  <a:cubicBezTo>
                    <a:pt x="1377" y="52"/>
                    <a:pt x="1377" y="52"/>
                    <a:pt x="1377" y="53"/>
                  </a:cubicBezTo>
                  <a:cubicBezTo>
                    <a:pt x="1377" y="53"/>
                    <a:pt x="1377" y="53"/>
                    <a:pt x="1377" y="53"/>
                  </a:cubicBezTo>
                  <a:cubicBezTo>
                    <a:pt x="1377" y="53"/>
                    <a:pt x="1377" y="53"/>
                    <a:pt x="1377" y="53"/>
                  </a:cubicBezTo>
                  <a:cubicBezTo>
                    <a:pt x="1377" y="53"/>
                    <a:pt x="1377" y="53"/>
                    <a:pt x="1377" y="53"/>
                  </a:cubicBezTo>
                  <a:cubicBezTo>
                    <a:pt x="1377" y="53"/>
                    <a:pt x="1376" y="53"/>
                    <a:pt x="1376" y="53"/>
                  </a:cubicBezTo>
                  <a:cubicBezTo>
                    <a:pt x="1376" y="53"/>
                    <a:pt x="1376" y="53"/>
                    <a:pt x="1376" y="53"/>
                  </a:cubicBezTo>
                  <a:cubicBezTo>
                    <a:pt x="1376" y="53"/>
                    <a:pt x="1376" y="53"/>
                    <a:pt x="1376" y="54"/>
                  </a:cubicBezTo>
                  <a:cubicBezTo>
                    <a:pt x="1376" y="54"/>
                    <a:pt x="1376" y="54"/>
                    <a:pt x="1376" y="54"/>
                  </a:cubicBezTo>
                  <a:cubicBezTo>
                    <a:pt x="1376" y="54"/>
                    <a:pt x="1376" y="54"/>
                    <a:pt x="1376" y="54"/>
                  </a:cubicBezTo>
                  <a:cubicBezTo>
                    <a:pt x="1376" y="54"/>
                    <a:pt x="1376" y="54"/>
                    <a:pt x="1376" y="54"/>
                  </a:cubicBezTo>
                  <a:cubicBezTo>
                    <a:pt x="1376" y="54"/>
                    <a:pt x="1375" y="54"/>
                    <a:pt x="1375" y="54"/>
                  </a:cubicBezTo>
                  <a:cubicBezTo>
                    <a:pt x="1375" y="54"/>
                    <a:pt x="1375" y="54"/>
                    <a:pt x="1375" y="54"/>
                  </a:cubicBezTo>
                  <a:cubicBezTo>
                    <a:pt x="1375" y="54"/>
                    <a:pt x="1375" y="54"/>
                    <a:pt x="1375" y="55"/>
                  </a:cubicBezTo>
                  <a:cubicBezTo>
                    <a:pt x="1375" y="55"/>
                    <a:pt x="1375" y="55"/>
                    <a:pt x="1375" y="55"/>
                  </a:cubicBezTo>
                  <a:cubicBezTo>
                    <a:pt x="1375" y="55"/>
                    <a:pt x="1375" y="55"/>
                    <a:pt x="1375" y="55"/>
                  </a:cubicBezTo>
                  <a:cubicBezTo>
                    <a:pt x="1375" y="55"/>
                    <a:pt x="1375" y="55"/>
                    <a:pt x="1375" y="55"/>
                  </a:cubicBezTo>
                  <a:cubicBezTo>
                    <a:pt x="1374" y="55"/>
                    <a:pt x="1374" y="56"/>
                    <a:pt x="1373" y="56"/>
                  </a:cubicBezTo>
                  <a:cubicBezTo>
                    <a:pt x="1373" y="56"/>
                    <a:pt x="1373" y="56"/>
                    <a:pt x="1373" y="56"/>
                  </a:cubicBezTo>
                  <a:cubicBezTo>
                    <a:pt x="1373" y="56"/>
                    <a:pt x="1373" y="56"/>
                    <a:pt x="1373" y="56"/>
                  </a:cubicBezTo>
                  <a:cubicBezTo>
                    <a:pt x="1373" y="56"/>
                    <a:pt x="1373" y="56"/>
                    <a:pt x="1373" y="56"/>
                  </a:cubicBezTo>
                  <a:cubicBezTo>
                    <a:pt x="1373" y="56"/>
                    <a:pt x="1373" y="56"/>
                    <a:pt x="1373" y="57"/>
                  </a:cubicBezTo>
                  <a:cubicBezTo>
                    <a:pt x="1373" y="57"/>
                    <a:pt x="1373" y="57"/>
                    <a:pt x="1373" y="57"/>
                  </a:cubicBezTo>
                  <a:cubicBezTo>
                    <a:pt x="1372" y="57"/>
                    <a:pt x="1372" y="57"/>
                    <a:pt x="1372" y="57"/>
                  </a:cubicBezTo>
                  <a:cubicBezTo>
                    <a:pt x="1372" y="57"/>
                    <a:pt x="1372" y="57"/>
                    <a:pt x="1372" y="57"/>
                  </a:cubicBezTo>
                  <a:cubicBezTo>
                    <a:pt x="1371" y="57"/>
                    <a:pt x="1371" y="58"/>
                    <a:pt x="1371" y="58"/>
                  </a:cubicBezTo>
                  <a:cubicBezTo>
                    <a:pt x="1371" y="58"/>
                    <a:pt x="1371" y="58"/>
                    <a:pt x="1371" y="58"/>
                  </a:cubicBezTo>
                  <a:cubicBezTo>
                    <a:pt x="1371" y="58"/>
                    <a:pt x="1371" y="58"/>
                    <a:pt x="1371" y="58"/>
                  </a:cubicBezTo>
                  <a:cubicBezTo>
                    <a:pt x="1371" y="58"/>
                    <a:pt x="1371" y="58"/>
                    <a:pt x="1371" y="58"/>
                  </a:cubicBezTo>
                  <a:cubicBezTo>
                    <a:pt x="1371" y="58"/>
                    <a:pt x="1370" y="58"/>
                    <a:pt x="1370" y="58"/>
                  </a:cubicBezTo>
                  <a:cubicBezTo>
                    <a:pt x="1370" y="58"/>
                    <a:pt x="1370" y="58"/>
                    <a:pt x="1370" y="58"/>
                  </a:cubicBezTo>
                  <a:cubicBezTo>
                    <a:pt x="1370" y="58"/>
                    <a:pt x="1370" y="59"/>
                    <a:pt x="1370" y="59"/>
                  </a:cubicBezTo>
                  <a:cubicBezTo>
                    <a:pt x="1370" y="59"/>
                    <a:pt x="1370" y="59"/>
                    <a:pt x="1370" y="59"/>
                  </a:cubicBezTo>
                  <a:cubicBezTo>
                    <a:pt x="1370" y="59"/>
                    <a:pt x="1369" y="59"/>
                    <a:pt x="1369" y="59"/>
                  </a:cubicBezTo>
                  <a:cubicBezTo>
                    <a:pt x="1369" y="59"/>
                    <a:pt x="1369" y="59"/>
                    <a:pt x="1369" y="59"/>
                  </a:cubicBezTo>
                  <a:cubicBezTo>
                    <a:pt x="1369" y="59"/>
                    <a:pt x="1369" y="59"/>
                    <a:pt x="1369" y="59"/>
                  </a:cubicBezTo>
                  <a:cubicBezTo>
                    <a:pt x="1369" y="59"/>
                    <a:pt x="1369" y="59"/>
                    <a:pt x="1369" y="59"/>
                  </a:cubicBezTo>
                  <a:cubicBezTo>
                    <a:pt x="1369" y="59"/>
                    <a:pt x="1368" y="60"/>
                    <a:pt x="1368" y="60"/>
                  </a:cubicBezTo>
                  <a:cubicBezTo>
                    <a:pt x="1368" y="60"/>
                    <a:pt x="1368" y="60"/>
                    <a:pt x="1368" y="60"/>
                  </a:cubicBezTo>
                  <a:cubicBezTo>
                    <a:pt x="1368" y="60"/>
                    <a:pt x="1368" y="60"/>
                    <a:pt x="1368" y="60"/>
                  </a:cubicBezTo>
                  <a:cubicBezTo>
                    <a:pt x="1368" y="60"/>
                    <a:pt x="1368" y="60"/>
                    <a:pt x="1368" y="60"/>
                  </a:cubicBezTo>
                  <a:cubicBezTo>
                    <a:pt x="1368" y="60"/>
                    <a:pt x="1367" y="60"/>
                    <a:pt x="1367" y="61"/>
                  </a:cubicBezTo>
                  <a:cubicBezTo>
                    <a:pt x="1367" y="60"/>
                    <a:pt x="1367" y="60"/>
                    <a:pt x="1367" y="60"/>
                  </a:cubicBezTo>
                  <a:cubicBezTo>
                    <a:pt x="1367" y="61"/>
                    <a:pt x="1367" y="61"/>
                    <a:pt x="1367" y="61"/>
                  </a:cubicBezTo>
                  <a:cubicBezTo>
                    <a:pt x="1367" y="61"/>
                    <a:pt x="1367" y="61"/>
                    <a:pt x="1367" y="61"/>
                  </a:cubicBezTo>
                  <a:cubicBezTo>
                    <a:pt x="1367" y="61"/>
                    <a:pt x="1366" y="61"/>
                    <a:pt x="1366" y="62"/>
                  </a:cubicBezTo>
                  <a:cubicBezTo>
                    <a:pt x="1366" y="62"/>
                    <a:pt x="1366" y="62"/>
                    <a:pt x="1366" y="62"/>
                  </a:cubicBezTo>
                  <a:cubicBezTo>
                    <a:pt x="1366" y="62"/>
                    <a:pt x="1366" y="62"/>
                    <a:pt x="1366" y="62"/>
                  </a:cubicBezTo>
                  <a:cubicBezTo>
                    <a:pt x="1366" y="62"/>
                    <a:pt x="1366" y="62"/>
                    <a:pt x="1366" y="62"/>
                  </a:cubicBezTo>
                  <a:cubicBezTo>
                    <a:pt x="1365" y="62"/>
                    <a:pt x="1365" y="62"/>
                    <a:pt x="1365" y="63"/>
                  </a:cubicBezTo>
                  <a:cubicBezTo>
                    <a:pt x="1365" y="63"/>
                    <a:pt x="1365" y="63"/>
                    <a:pt x="1365" y="63"/>
                  </a:cubicBezTo>
                  <a:cubicBezTo>
                    <a:pt x="1364" y="63"/>
                    <a:pt x="1364" y="63"/>
                    <a:pt x="1364" y="63"/>
                  </a:cubicBezTo>
                  <a:cubicBezTo>
                    <a:pt x="1364" y="63"/>
                    <a:pt x="1364" y="63"/>
                    <a:pt x="1364" y="63"/>
                  </a:cubicBezTo>
                  <a:cubicBezTo>
                    <a:pt x="1364" y="63"/>
                    <a:pt x="1363" y="63"/>
                    <a:pt x="1363" y="64"/>
                  </a:cubicBezTo>
                  <a:cubicBezTo>
                    <a:pt x="1363" y="64"/>
                    <a:pt x="1363" y="64"/>
                    <a:pt x="1363" y="64"/>
                  </a:cubicBezTo>
                  <a:cubicBezTo>
                    <a:pt x="1363" y="64"/>
                    <a:pt x="1363" y="64"/>
                    <a:pt x="1363" y="64"/>
                  </a:cubicBezTo>
                  <a:cubicBezTo>
                    <a:pt x="1363" y="64"/>
                    <a:pt x="1363" y="64"/>
                    <a:pt x="1363" y="64"/>
                  </a:cubicBezTo>
                  <a:cubicBezTo>
                    <a:pt x="1363" y="64"/>
                    <a:pt x="1363" y="64"/>
                    <a:pt x="1362" y="64"/>
                  </a:cubicBezTo>
                  <a:cubicBezTo>
                    <a:pt x="1362" y="64"/>
                    <a:pt x="1362" y="64"/>
                    <a:pt x="1362" y="64"/>
                  </a:cubicBezTo>
                  <a:cubicBezTo>
                    <a:pt x="1362" y="64"/>
                    <a:pt x="1362" y="64"/>
                    <a:pt x="1362" y="65"/>
                  </a:cubicBezTo>
                  <a:cubicBezTo>
                    <a:pt x="1362" y="65"/>
                    <a:pt x="1362" y="65"/>
                    <a:pt x="1362" y="65"/>
                  </a:cubicBezTo>
                  <a:cubicBezTo>
                    <a:pt x="1362" y="65"/>
                    <a:pt x="1361" y="65"/>
                    <a:pt x="1361" y="65"/>
                  </a:cubicBezTo>
                  <a:cubicBezTo>
                    <a:pt x="1361" y="65"/>
                    <a:pt x="1361" y="65"/>
                    <a:pt x="1361" y="65"/>
                  </a:cubicBezTo>
                  <a:cubicBezTo>
                    <a:pt x="1361" y="65"/>
                    <a:pt x="1361" y="65"/>
                    <a:pt x="1361" y="65"/>
                  </a:cubicBezTo>
                  <a:cubicBezTo>
                    <a:pt x="1361" y="65"/>
                    <a:pt x="1361" y="65"/>
                    <a:pt x="1361" y="65"/>
                  </a:cubicBezTo>
                  <a:cubicBezTo>
                    <a:pt x="1361" y="66"/>
                    <a:pt x="1360" y="66"/>
                    <a:pt x="1360" y="66"/>
                  </a:cubicBezTo>
                  <a:cubicBezTo>
                    <a:pt x="1360" y="66"/>
                    <a:pt x="1360" y="66"/>
                    <a:pt x="1360" y="66"/>
                  </a:cubicBezTo>
                  <a:cubicBezTo>
                    <a:pt x="1360" y="66"/>
                    <a:pt x="1360" y="66"/>
                    <a:pt x="1360" y="66"/>
                  </a:cubicBezTo>
                  <a:cubicBezTo>
                    <a:pt x="1360" y="66"/>
                    <a:pt x="1360" y="66"/>
                    <a:pt x="1360" y="66"/>
                  </a:cubicBezTo>
                  <a:cubicBezTo>
                    <a:pt x="1360" y="66"/>
                    <a:pt x="1359" y="67"/>
                    <a:pt x="1359" y="67"/>
                  </a:cubicBezTo>
                  <a:cubicBezTo>
                    <a:pt x="1359" y="67"/>
                    <a:pt x="1359" y="67"/>
                    <a:pt x="1359" y="67"/>
                  </a:cubicBezTo>
                  <a:cubicBezTo>
                    <a:pt x="1359" y="67"/>
                    <a:pt x="1358" y="67"/>
                    <a:pt x="1358" y="68"/>
                  </a:cubicBezTo>
                  <a:cubicBezTo>
                    <a:pt x="1358" y="67"/>
                    <a:pt x="1358" y="67"/>
                    <a:pt x="1358" y="67"/>
                  </a:cubicBezTo>
                  <a:cubicBezTo>
                    <a:pt x="1358" y="67"/>
                    <a:pt x="1358" y="68"/>
                    <a:pt x="1358" y="68"/>
                  </a:cubicBezTo>
                  <a:cubicBezTo>
                    <a:pt x="1358" y="68"/>
                    <a:pt x="1358" y="68"/>
                    <a:pt x="1358" y="68"/>
                  </a:cubicBezTo>
                  <a:cubicBezTo>
                    <a:pt x="1358" y="68"/>
                    <a:pt x="1358" y="68"/>
                    <a:pt x="1358" y="68"/>
                  </a:cubicBezTo>
                  <a:cubicBezTo>
                    <a:pt x="1358" y="68"/>
                    <a:pt x="1358" y="68"/>
                    <a:pt x="1358" y="68"/>
                  </a:cubicBezTo>
                  <a:cubicBezTo>
                    <a:pt x="1357" y="68"/>
                    <a:pt x="1357" y="68"/>
                    <a:pt x="1357" y="68"/>
                  </a:cubicBezTo>
                  <a:cubicBezTo>
                    <a:pt x="1357" y="68"/>
                    <a:pt x="1357" y="68"/>
                    <a:pt x="1357" y="68"/>
                  </a:cubicBezTo>
                  <a:cubicBezTo>
                    <a:pt x="1357" y="69"/>
                    <a:pt x="1356" y="69"/>
                    <a:pt x="1356" y="69"/>
                  </a:cubicBezTo>
                  <a:cubicBezTo>
                    <a:pt x="1356" y="69"/>
                    <a:pt x="1356" y="69"/>
                    <a:pt x="1356" y="69"/>
                  </a:cubicBezTo>
                  <a:cubicBezTo>
                    <a:pt x="1356" y="69"/>
                    <a:pt x="1356" y="69"/>
                    <a:pt x="1356" y="70"/>
                  </a:cubicBezTo>
                  <a:cubicBezTo>
                    <a:pt x="1356" y="70"/>
                    <a:pt x="1356" y="70"/>
                    <a:pt x="1356" y="70"/>
                  </a:cubicBezTo>
                  <a:cubicBezTo>
                    <a:pt x="1356" y="70"/>
                    <a:pt x="1356" y="70"/>
                    <a:pt x="1355" y="70"/>
                  </a:cubicBezTo>
                  <a:cubicBezTo>
                    <a:pt x="1355" y="70"/>
                    <a:pt x="1355" y="70"/>
                    <a:pt x="1355" y="70"/>
                  </a:cubicBezTo>
                  <a:cubicBezTo>
                    <a:pt x="1355" y="70"/>
                    <a:pt x="1355" y="70"/>
                    <a:pt x="1355" y="70"/>
                  </a:cubicBezTo>
                  <a:cubicBezTo>
                    <a:pt x="1355" y="70"/>
                    <a:pt x="1355" y="70"/>
                    <a:pt x="1355" y="70"/>
                  </a:cubicBezTo>
                  <a:cubicBezTo>
                    <a:pt x="1355" y="70"/>
                    <a:pt x="1355" y="70"/>
                    <a:pt x="1355" y="71"/>
                  </a:cubicBezTo>
                  <a:cubicBezTo>
                    <a:pt x="1355" y="71"/>
                    <a:pt x="1355" y="71"/>
                    <a:pt x="1355" y="71"/>
                  </a:cubicBezTo>
                  <a:cubicBezTo>
                    <a:pt x="1355" y="71"/>
                    <a:pt x="1355" y="71"/>
                    <a:pt x="1354" y="71"/>
                  </a:cubicBezTo>
                  <a:cubicBezTo>
                    <a:pt x="1354" y="71"/>
                    <a:pt x="1354" y="71"/>
                    <a:pt x="1354" y="71"/>
                  </a:cubicBezTo>
                  <a:cubicBezTo>
                    <a:pt x="1353" y="72"/>
                    <a:pt x="1352" y="73"/>
                    <a:pt x="1351" y="74"/>
                  </a:cubicBezTo>
                  <a:cubicBezTo>
                    <a:pt x="1351" y="74"/>
                    <a:pt x="1351" y="74"/>
                    <a:pt x="1351" y="74"/>
                  </a:cubicBezTo>
                  <a:cubicBezTo>
                    <a:pt x="1351" y="74"/>
                    <a:pt x="1351" y="75"/>
                    <a:pt x="1351" y="75"/>
                  </a:cubicBezTo>
                  <a:cubicBezTo>
                    <a:pt x="1351" y="75"/>
                    <a:pt x="1351" y="75"/>
                    <a:pt x="1351" y="75"/>
                  </a:cubicBezTo>
                  <a:cubicBezTo>
                    <a:pt x="1350" y="75"/>
                    <a:pt x="1350" y="75"/>
                    <a:pt x="1350" y="75"/>
                  </a:cubicBezTo>
                  <a:cubicBezTo>
                    <a:pt x="1350" y="75"/>
                    <a:pt x="1350" y="75"/>
                    <a:pt x="1350" y="75"/>
                  </a:cubicBezTo>
                  <a:cubicBezTo>
                    <a:pt x="1350" y="75"/>
                    <a:pt x="1350" y="75"/>
                    <a:pt x="1350" y="75"/>
                  </a:cubicBezTo>
                  <a:cubicBezTo>
                    <a:pt x="1350" y="75"/>
                    <a:pt x="1350" y="75"/>
                    <a:pt x="1350" y="75"/>
                  </a:cubicBezTo>
                  <a:cubicBezTo>
                    <a:pt x="1350" y="76"/>
                    <a:pt x="1350" y="76"/>
                    <a:pt x="1350" y="76"/>
                  </a:cubicBezTo>
                  <a:cubicBezTo>
                    <a:pt x="1350" y="76"/>
                    <a:pt x="1350" y="76"/>
                    <a:pt x="1350" y="76"/>
                  </a:cubicBezTo>
                  <a:cubicBezTo>
                    <a:pt x="1349" y="76"/>
                    <a:pt x="1349" y="76"/>
                    <a:pt x="1349" y="76"/>
                  </a:cubicBezTo>
                  <a:cubicBezTo>
                    <a:pt x="1349" y="76"/>
                    <a:pt x="1349" y="76"/>
                    <a:pt x="1349" y="76"/>
                  </a:cubicBezTo>
                  <a:cubicBezTo>
                    <a:pt x="1349" y="77"/>
                    <a:pt x="1349" y="77"/>
                    <a:pt x="1349" y="77"/>
                  </a:cubicBezTo>
                  <a:cubicBezTo>
                    <a:pt x="1349" y="77"/>
                    <a:pt x="1349" y="77"/>
                    <a:pt x="1349" y="77"/>
                  </a:cubicBezTo>
                  <a:cubicBezTo>
                    <a:pt x="1349" y="77"/>
                    <a:pt x="1349" y="77"/>
                    <a:pt x="1349" y="77"/>
                  </a:cubicBezTo>
                  <a:cubicBezTo>
                    <a:pt x="1349" y="77"/>
                    <a:pt x="1349" y="77"/>
                    <a:pt x="1349" y="77"/>
                  </a:cubicBezTo>
                  <a:cubicBezTo>
                    <a:pt x="1348" y="77"/>
                    <a:pt x="1348" y="78"/>
                    <a:pt x="1348" y="78"/>
                  </a:cubicBezTo>
                  <a:cubicBezTo>
                    <a:pt x="1348" y="78"/>
                    <a:pt x="1348" y="78"/>
                    <a:pt x="1348" y="78"/>
                  </a:cubicBezTo>
                  <a:cubicBezTo>
                    <a:pt x="1348" y="78"/>
                    <a:pt x="1348" y="78"/>
                    <a:pt x="1348" y="78"/>
                  </a:cubicBezTo>
                  <a:cubicBezTo>
                    <a:pt x="1348" y="78"/>
                    <a:pt x="1348" y="78"/>
                    <a:pt x="1348" y="78"/>
                  </a:cubicBezTo>
                  <a:cubicBezTo>
                    <a:pt x="1348" y="78"/>
                    <a:pt x="1348" y="79"/>
                    <a:pt x="1347" y="79"/>
                  </a:cubicBezTo>
                  <a:cubicBezTo>
                    <a:pt x="1347" y="79"/>
                    <a:pt x="1347" y="79"/>
                    <a:pt x="1347" y="79"/>
                  </a:cubicBezTo>
                  <a:cubicBezTo>
                    <a:pt x="1347" y="79"/>
                    <a:pt x="1347" y="79"/>
                    <a:pt x="1347" y="79"/>
                  </a:cubicBezTo>
                  <a:cubicBezTo>
                    <a:pt x="1347" y="79"/>
                    <a:pt x="1347" y="79"/>
                    <a:pt x="1347" y="79"/>
                  </a:cubicBezTo>
                  <a:cubicBezTo>
                    <a:pt x="1347" y="79"/>
                    <a:pt x="1347" y="80"/>
                    <a:pt x="1347" y="80"/>
                  </a:cubicBezTo>
                  <a:cubicBezTo>
                    <a:pt x="1347" y="80"/>
                    <a:pt x="1347" y="80"/>
                    <a:pt x="1347" y="80"/>
                  </a:cubicBezTo>
                  <a:cubicBezTo>
                    <a:pt x="1347" y="80"/>
                    <a:pt x="1347" y="80"/>
                    <a:pt x="1346" y="81"/>
                  </a:cubicBezTo>
                  <a:cubicBezTo>
                    <a:pt x="1346" y="81"/>
                    <a:pt x="1346" y="81"/>
                    <a:pt x="1346" y="81"/>
                  </a:cubicBezTo>
                  <a:cubicBezTo>
                    <a:pt x="1346" y="81"/>
                    <a:pt x="1346" y="81"/>
                    <a:pt x="1346" y="81"/>
                  </a:cubicBezTo>
                  <a:cubicBezTo>
                    <a:pt x="1346" y="81"/>
                    <a:pt x="1346" y="81"/>
                    <a:pt x="1346" y="81"/>
                  </a:cubicBezTo>
                  <a:cubicBezTo>
                    <a:pt x="1346" y="81"/>
                    <a:pt x="1346" y="82"/>
                    <a:pt x="1346" y="82"/>
                  </a:cubicBezTo>
                  <a:cubicBezTo>
                    <a:pt x="1346" y="82"/>
                    <a:pt x="1346" y="82"/>
                    <a:pt x="1346" y="82"/>
                  </a:cubicBezTo>
                  <a:cubicBezTo>
                    <a:pt x="1346" y="82"/>
                    <a:pt x="1346" y="82"/>
                    <a:pt x="1346" y="82"/>
                  </a:cubicBezTo>
                  <a:cubicBezTo>
                    <a:pt x="1345" y="82"/>
                    <a:pt x="1346" y="83"/>
                    <a:pt x="1345" y="83"/>
                  </a:cubicBezTo>
                  <a:cubicBezTo>
                    <a:pt x="1345" y="83"/>
                    <a:pt x="1345" y="83"/>
                    <a:pt x="1345" y="83"/>
                  </a:cubicBezTo>
                  <a:cubicBezTo>
                    <a:pt x="1345" y="83"/>
                    <a:pt x="1345" y="83"/>
                    <a:pt x="1345" y="83"/>
                  </a:cubicBezTo>
                  <a:cubicBezTo>
                    <a:pt x="1345" y="83"/>
                    <a:pt x="1345" y="83"/>
                    <a:pt x="1345" y="83"/>
                  </a:cubicBezTo>
                  <a:cubicBezTo>
                    <a:pt x="1345" y="84"/>
                    <a:pt x="1345" y="84"/>
                    <a:pt x="1345" y="84"/>
                  </a:cubicBezTo>
                  <a:cubicBezTo>
                    <a:pt x="1345" y="84"/>
                    <a:pt x="1345" y="84"/>
                    <a:pt x="1345" y="84"/>
                  </a:cubicBezTo>
                  <a:cubicBezTo>
                    <a:pt x="1345" y="84"/>
                    <a:pt x="1345" y="84"/>
                    <a:pt x="1345" y="84"/>
                  </a:cubicBezTo>
                  <a:cubicBezTo>
                    <a:pt x="1344" y="85"/>
                    <a:pt x="1344" y="85"/>
                    <a:pt x="1344" y="85"/>
                  </a:cubicBezTo>
                  <a:cubicBezTo>
                    <a:pt x="1344" y="85"/>
                    <a:pt x="1344" y="85"/>
                    <a:pt x="1344" y="86"/>
                  </a:cubicBezTo>
                  <a:cubicBezTo>
                    <a:pt x="1344" y="86"/>
                    <a:pt x="1344" y="86"/>
                    <a:pt x="1344" y="87"/>
                  </a:cubicBezTo>
                  <a:cubicBezTo>
                    <a:pt x="1344" y="87"/>
                    <a:pt x="1344" y="87"/>
                    <a:pt x="1344" y="87"/>
                  </a:cubicBezTo>
                  <a:cubicBezTo>
                    <a:pt x="1344" y="87"/>
                    <a:pt x="1344" y="88"/>
                    <a:pt x="1344" y="88"/>
                  </a:cubicBezTo>
                  <a:cubicBezTo>
                    <a:pt x="1344" y="88"/>
                    <a:pt x="1344" y="88"/>
                    <a:pt x="1344" y="88"/>
                  </a:cubicBezTo>
                  <a:cubicBezTo>
                    <a:pt x="1343" y="89"/>
                    <a:pt x="1344" y="89"/>
                    <a:pt x="1343" y="90"/>
                  </a:cubicBezTo>
                  <a:cubicBezTo>
                    <a:pt x="1343" y="90"/>
                    <a:pt x="1343" y="90"/>
                    <a:pt x="1343" y="90"/>
                  </a:cubicBezTo>
                  <a:cubicBezTo>
                    <a:pt x="1343" y="91"/>
                    <a:pt x="1343" y="92"/>
                    <a:pt x="1343" y="92"/>
                  </a:cubicBezTo>
                  <a:cubicBezTo>
                    <a:pt x="1343" y="93"/>
                    <a:pt x="1343" y="93"/>
                    <a:pt x="1343" y="94"/>
                  </a:cubicBezTo>
                  <a:cubicBezTo>
                    <a:pt x="1343" y="96"/>
                    <a:pt x="1343" y="98"/>
                    <a:pt x="1343" y="100"/>
                  </a:cubicBezTo>
                  <a:cubicBezTo>
                    <a:pt x="1343" y="101"/>
                    <a:pt x="1343" y="102"/>
                    <a:pt x="1345" y="102"/>
                  </a:cubicBezTo>
                  <a:cubicBezTo>
                    <a:pt x="1363" y="102"/>
                    <a:pt x="1381" y="102"/>
                    <a:pt x="1399" y="102"/>
                  </a:cubicBezTo>
                  <a:cubicBezTo>
                    <a:pt x="1400" y="102"/>
                    <a:pt x="1401" y="102"/>
                    <a:pt x="1401" y="101"/>
                  </a:cubicBezTo>
                  <a:cubicBezTo>
                    <a:pt x="1401" y="98"/>
                    <a:pt x="1401" y="95"/>
                    <a:pt x="1401" y="92"/>
                  </a:cubicBezTo>
                  <a:cubicBezTo>
                    <a:pt x="1400" y="91"/>
                    <a:pt x="1400" y="92"/>
                    <a:pt x="1399" y="92"/>
                  </a:cubicBezTo>
                  <a:cubicBezTo>
                    <a:pt x="1385" y="92"/>
                    <a:pt x="1371" y="92"/>
                    <a:pt x="1356" y="92"/>
                  </a:cubicBezTo>
                  <a:cubicBezTo>
                    <a:pt x="1354" y="92"/>
                    <a:pt x="1354" y="92"/>
                    <a:pt x="1354" y="89"/>
                  </a:cubicBezTo>
                  <a:cubicBezTo>
                    <a:pt x="1354" y="89"/>
                    <a:pt x="1354" y="89"/>
                    <a:pt x="1354" y="89"/>
                  </a:cubicBezTo>
                  <a:cubicBezTo>
                    <a:pt x="1355" y="88"/>
                    <a:pt x="1354" y="88"/>
                    <a:pt x="1355" y="87"/>
                  </a:cubicBezTo>
                  <a:cubicBezTo>
                    <a:pt x="1355" y="87"/>
                    <a:pt x="1355" y="87"/>
                    <a:pt x="1355" y="87"/>
                  </a:cubicBezTo>
                  <a:cubicBezTo>
                    <a:pt x="1355" y="87"/>
                    <a:pt x="1355" y="87"/>
                    <a:pt x="1355" y="87"/>
                  </a:cubicBezTo>
                  <a:cubicBezTo>
                    <a:pt x="1355" y="87"/>
                    <a:pt x="1355" y="86"/>
                    <a:pt x="1355" y="86"/>
                  </a:cubicBezTo>
                  <a:cubicBezTo>
                    <a:pt x="1355" y="86"/>
                    <a:pt x="1355" y="86"/>
                    <a:pt x="1355" y="85"/>
                  </a:cubicBezTo>
                  <a:cubicBezTo>
                    <a:pt x="1355" y="85"/>
                    <a:pt x="1355" y="85"/>
                    <a:pt x="1355" y="85"/>
                  </a:cubicBezTo>
                  <a:cubicBezTo>
                    <a:pt x="1355" y="85"/>
                    <a:pt x="1355" y="85"/>
                    <a:pt x="1355" y="84"/>
                  </a:cubicBezTo>
                  <a:cubicBezTo>
                    <a:pt x="1356" y="84"/>
                    <a:pt x="1356" y="84"/>
                    <a:pt x="1356" y="84"/>
                  </a:cubicBezTo>
                  <a:cubicBezTo>
                    <a:pt x="1356" y="84"/>
                    <a:pt x="1356" y="84"/>
                    <a:pt x="1356" y="84"/>
                  </a:cubicBezTo>
                  <a:cubicBezTo>
                    <a:pt x="1356" y="84"/>
                    <a:pt x="1356" y="83"/>
                    <a:pt x="1356" y="83"/>
                  </a:cubicBezTo>
                  <a:cubicBezTo>
                    <a:pt x="1356" y="83"/>
                    <a:pt x="1356" y="83"/>
                    <a:pt x="1356" y="83"/>
                  </a:cubicBezTo>
                  <a:cubicBezTo>
                    <a:pt x="1356" y="83"/>
                    <a:pt x="1356" y="83"/>
                    <a:pt x="1356" y="83"/>
                  </a:cubicBezTo>
                  <a:cubicBezTo>
                    <a:pt x="1356" y="82"/>
                    <a:pt x="1356" y="82"/>
                    <a:pt x="1356" y="82"/>
                  </a:cubicBezTo>
                  <a:cubicBezTo>
                    <a:pt x="1357" y="82"/>
                    <a:pt x="1357" y="82"/>
                    <a:pt x="1357" y="82"/>
                  </a:cubicBezTo>
                  <a:cubicBezTo>
                    <a:pt x="1357" y="82"/>
                    <a:pt x="1357" y="82"/>
                    <a:pt x="1357" y="82"/>
                  </a:cubicBezTo>
                  <a:cubicBezTo>
                    <a:pt x="1357" y="82"/>
                    <a:pt x="1357" y="82"/>
                    <a:pt x="1357" y="82"/>
                  </a:cubicBezTo>
                  <a:cubicBezTo>
                    <a:pt x="1357" y="82"/>
                    <a:pt x="1357" y="81"/>
                    <a:pt x="1357" y="81"/>
                  </a:cubicBezTo>
                  <a:cubicBezTo>
                    <a:pt x="1357" y="81"/>
                    <a:pt x="1357" y="81"/>
                    <a:pt x="1357" y="81"/>
                  </a:cubicBezTo>
                  <a:cubicBezTo>
                    <a:pt x="1357" y="81"/>
                    <a:pt x="1357" y="81"/>
                    <a:pt x="1358" y="81"/>
                  </a:cubicBezTo>
                  <a:cubicBezTo>
                    <a:pt x="1357" y="81"/>
                    <a:pt x="1357" y="81"/>
                    <a:pt x="1357" y="81"/>
                  </a:cubicBezTo>
                  <a:cubicBezTo>
                    <a:pt x="1358" y="81"/>
                    <a:pt x="1358" y="81"/>
                    <a:pt x="1358" y="81"/>
                  </a:cubicBezTo>
                  <a:cubicBezTo>
                    <a:pt x="1358" y="81"/>
                    <a:pt x="1358" y="81"/>
                    <a:pt x="1358" y="81"/>
                  </a:cubicBezTo>
                  <a:cubicBezTo>
                    <a:pt x="1358" y="80"/>
                    <a:pt x="1358" y="80"/>
                    <a:pt x="1358" y="80"/>
                  </a:cubicBezTo>
                  <a:cubicBezTo>
                    <a:pt x="1358" y="80"/>
                    <a:pt x="1358" y="80"/>
                    <a:pt x="1358" y="80"/>
                  </a:cubicBezTo>
                  <a:cubicBezTo>
                    <a:pt x="1358" y="80"/>
                    <a:pt x="1358" y="80"/>
                    <a:pt x="1359" y="80"/>
                  </a:cubicBezTo>
                  <a:cubicBezTo>
                    <a:pt x="1359" y="80"/>
                    <a:pt x="1359" y="80"/>
                    <a:pt x="1359" y="80"/>
                  </a:cubicBezTo>
                  <a:cubicBezTo>
                    <a:pt x="1359" y="79"/>
                    <a:pt x="1359" y="79"/>
                    <a:pt x="1359" y="79"/>
                  </a:cubicBezTo>
                  <a:cubicBezTo>
                    <a:pt x="1359" y="79"/>
                    <a:pt x="1359" y="79"/>
                    <a:pt x="1359" y="79"/>
                  </a:cubicBezTo>
                  <a:cubicBezTo>
                    <a:pt x="1359" y="79"/>
                    <a:pt x="1359" y="79"/>
                    <a:pt x="1359" y="79"/>
                  </a:cubicBezTo>
                  <a:cubicBezTo>
                    <a:pt x="1359" y="79"/>
                    <a:pt x="1359" y="79"/>
                    <a:pt x="1359" y="79"/>
                  </a:cubicBezTo>
                  <a:cubicBezTo>
                    <a:pt x="1359" y="79"/>
                    <a:pt x="1360" y="79"/>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0" y="78"/>
                    <a:pt x="1360" y="78"/>
                  </a:cubicBezTo>
                  <a:cubicBezTo>
                    <a:pt x="1360" y="78"/>
                    <a:pt x="1361" y="78"/>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1" y="77"/>
                    <a:pt x="1361" y="77"/>
                  </a:cubicBezTo>
                  <a:cubicBezTo>
                    <a:pt x="1361" y="77"/>
                    <a:pt x="1362" y="77"/>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2" y="76"/>
                    <a:pt x="1362" y="76"/>
                    <a:pt x="1362" y="76"/>
                  </a:cubicBezTo>
                  <a:cubicBezTo>
                    <a:pt x="1363" y="76"/>
                    <a:pt x="1363" y="76"/>
                    <a:pt x="1363" y="75"/>
                  </a:cubicBezTo>
                  <a:cubicBezTo>
                    <a:pt x="1363" y="75"/>
                    <a:pt x="1363" y="75"/>
                    <a:pt x="1363" y="75"/>
                  </a:cubicBezTo>
                  <a:cubicBezTo>
                    <a:pt x="1363" y="75"/>
                    <a:pt x="1364" y="75"/>
                    <a:pt x="1364" y="75"/>
                  </a:cubicBezTo>
                  <a:cubicBezTo>
                    <a:pt x="1364" y="75"/>
                    <a:pt x="1364" y="75"/>
                    <a:pt x="1364" y="75"/>
                  </a:cubicBezTo>
                  <a:cubicBezTo>
                    <a:pt x="1364" y="75"/>
                    <a:pt x="1364" y="74"/>
                    <a:pt x="1364" y="74"/>
                  </a:cubicBezTo>
                  <a:cubicBezTo>
                    <a:pt x="1364" y="74"/>
                    <a:pt x="1364" y="74"/>
                    <a:pt x="1364" y="74"/>
                  </a:cubicBezTo>
                  <a:cubicBezTo>
                    <a:pt x="1364" y="74"/>
                    <a:pt x="1364" y="74"/>
                    <a:pt x="1364" y="74"/>
                  </a:cubicBezTo>
                  <a:cubicBezTo>
                    <a:pt x="1364" y="74"/>
                    <a:pt x="1364" y="74"/>
                    <a:pt x="1364" y="74"/>
                  </a:cubicBezTo>
                  <a:cubicBezTo>
                    <a:pt x="1365" y="74"/>
                    <a:pt x="1365" y="74"/>
                    <a:pt x="1365" y="74"/>
                  </a:cubicBezTo>
                  <a:cubicBezTo>
                    <a:pt x="1365" y="74"/>
                    <a:pt x="1365" y="74"/>
                    <a:pt x="1365" y="74"/>
                  </a:cubicBezTo>
                  <a:cubicBezTo>
                    <a:pt x="1365" y="73"/>
                    <a:pt x="1365" y="74"/>
                    <a:pt x="1365" y="73"/>
                  </a:cubicBezTo>
                  <a:cubicBezTo>
                    <a:pt x="1365" y="73"/>
                    <a:pt x="1365" y="73"/>
                    <a:pt x="1365" y="73"/>
                  </a:cubicBezTo>
                  <a:cubicBezTo>
                    <a:pt x="1366" y="73"/>
                    <a:pt x="1366" y="73"/>
                    <a:pt x="1366" y="73"/>
                  </a:cubicBezTo>
                  <a:cubicBezTo>
                    <a:pt x="1366" y="73"/>
                    <a:pt x="1366" y="73"/>
                    <a:pt x="1366" y="73"/>
                  </a:cubicBezTo>
                  <a:cubicBezTo>
                    <a:pt x="1366" y="73"/>
                    <a:pt x="1366" y="73"/>
                    <a:pt x="1366" y="73"/>
                  </a:cubicBezTo>
                  <a:cubicBezTo>
                    <a:pt x="1366" y="73"/>
                    <a:pt x="1366" y="73"/>
                    <a:pt x="1366" y="73"/>
                  </a:cubicBezTo>
                  <a:cubicBezTo>
                    <a:pt x="1367" y="72"/>
                    <a:pt x="1367" y="72"/>
                    <a:pt x="1367" y="72"/>
                  </a:cubicBezTo>
                  <a:cubicBezTo>
                    <a:pt x="1367" y="72"/>
                    <a:pt x="1367" y="72"/>
                    <a:pt x="1367" y="72"/>
                  </a:cubicBezTo>
                  <a:cubicBezTo>
                    <a:pt x="1367" y="72"/>
                    <a:pt x="1368" y="72"/>
                    <a:pt x="1368" y="72"/>
                  </a:cubicBezTo>
                  <a:cubicBezTo>
                    <a:pt x="1368" y="72"/>
                    <a:pt x="1368" y="72"/>
                    <a:pt x="1368" y="72"/>
                  </a:cubicBezTo>
                  <a:cubicBezTo>
                    <a:pt x="1368" y="71"/>
                    <a:pt x="1368" y="71"/>
                    <a:pt x="1368" y="71"/>
                  </a:cubicBezTo>
                  <a:cubicBezTo>
                    <a:pt x="1368" y="71"/>
                    <a:pt x="1368" y="71"/>
                    <a:pt x="1368" y="71"/>
                  </a:cubicBezTo>
                  <a:cubicBezTo>
                    <a:pt x="1368" y="71"/>
                    <a:pt x="1369" y="71"/>
                    <a:pt x="1369" y="71"/>
                  </a:cubicBezTo>
                  <a:cubicBezTo>
                    <a:pt x="1369" y="71"/>
                    <a:pt x="1369" y="71"/>
                    <a:pt x="1369" y="71"/>
                  </a:cubicBezTo>
                  <a:cubicBezTo>
                    <a:pt x="1369" y="71"/>
                    <a:pt x="1369" y="71"/>
                    <a:pt x="1369" y="70"/>
                  </a:cubicBezTo>
                  <a:cubicBezTo>
                    <a:pt x="1369" y="71"/>
                    <a:pt x="1369" y="71"/>
                    <a:pt x="1369" y="71"/>
                  </a:cubicBezTo>
                  <a:cubicBezTo>
                    <a:pt x="1369" y="70"/>
                    <a:pt x="1369" y="70"/>
                    <a:pt x="1369" y="70"/>
                  </a:cubicBezTo>
                  <a:cubicBezTo>
                    <a:pt x="1369" y="70"/>
                    <a:pt x="1369" y="70"/>
                    <a:pt x="1369" y="70"/>
                  </a:cubicBezTo>
                  <a:cubicBezTo>
                    <a:pt x="1370" y="70"/>
                    <a:pt x="1370" y="70"/>
                    <a:pt x="1370" y="70"/>
                  </a:cubicBezTo>
                  <a:cubicBezTo>
                    <a:pt x="1370" y="70"/>
                    <a:pt x="1370" y="70"/>
                    <a:pt x="1370" y="70"/>
                  </a:cubicBezTo>
                  <a:cubicBezTo>
                    <a:pt x="1370" y="70"/>
                    <a:pt x="1370" y="70"/>
                    <a:pt x="1370" y="69"/>
                  </a:cubicBezTo>
                  <a:cubicBezTo>
                    <a:pt x="1370" y="69"/>
                    <a:pt x="1370" y="69"/>
                    <a:pt x="1370" y="69"/>
                  </a:cubicBezTo>
                  <a:cubicBezTo>
                    <a:pt x="1371" y="69"/>
                    <a:pt x="1371" y="69"/>
                    <a:pt x="1371" y="69"/>
                  </a:cubicBezTo>
                  <a:cubicBezTo>
                    <a:pt x="1371" y="69"/>
                    <a:pt x="1371" y="69"/>
                    <a:pt x="1371" y="69"/>
                  </a:cubicBezTo>
                  <a:cubicBezTo>
                    <a:pt x="1371" y="69"/>
                    <a:pt x="1371" y="69"/>
                    <a:pt x="1371" y="69"/>
                  </a:cubicBezTo>
                  <a:cubicBezTo>
                    <a:pt x="1371" y="69"/>
                    <a:pt x="1371" y="69"/>
                    <a:pt x="1371" y="69"/>
                  </a:cubicBezTo>
                  <a:cubicBezTo>
                    <a:pt x="1372" y="69"/>
                    <a:pt x="1372" y="69"/>
                    <a:pt x="1372" y="68"/>
                  </a:cubicBezTo>
                  <a:cubicBezTo>
                    <a:pt x="1372" y="68"/>
                    <a:pt x="1372" y="68"/>
                    <a:pt x="1372" y="68"/>
                  </a:cubicBezTo>
                  <a:cubicBezTo>
                    <a:pt x="1372" y="68"/>
                    <a:pt x="1373" y="68"/>
                    <a:pt x="1373" y="68"/>
                  </a:cubicBezTo>
                  <a:cubicBezTo>
                    <a:pt x="1373" y="68"/>
                    <a:pt x="1373" y="68"/>
                    <a:pt x="1373" y="68"/>
                  </a:cubicBezTo>
                  <a:cubicBezTo>
                    <a:pt x="1373" y="68"/>
                    <a:pt x="1373" y="68"/>
                    <a:pt x="1373" y="67"/>
                  </a:cubicBezTo>
                  <a:cubicBezTo>
                    <a:pt x="1373" y="67"/>
                    <a:pt x="1373" y="67"/>
                    <a:pt x="1373" y="67"/>
                  </a:cubicBezTo>
                  <a:cubicBezTo>
                    <a:pt x="1373" y="67"/>
                    <a:pt x="1374" y="67"/>
                    <a:pt x="1374" y="67"/>
                  </a:cubicBezTo>
                  <a:cubicBezTo>
                    <a:pt x="1374" y="67"/>
                    <a:pt x="1374" y="67"/>
                    <a:pt x="1374" y="67"/>
                  </a:cubicBezTo>
                  <a:cubicBezTo>
                    <a:pt x="1374" y="67"/>
                    <a:pt x="1374" y="67"/>
                    <a:pt x="1374" y="67"/>
                  </a:cubicBezTo>
                  <a:cubicBezTo>
                    <a:pt x="1374" y="67"/>
                    <a:pt x="1374" y="67"/>
                    <a:pt x="1374" y="67"/>
                  </a:cubicBezTo>
                  <a:cubicBezTo>
                    <a:pt x="1374" y="67"/>
                    <a:pt x="1374" y="66"/>
                    <a:pt x="1375" y="66"/>
                  </a:cubicBezTo>
                  <a:cubicBezTo>
                    <a:pt x="1375" y="66"/>
                    <a:pt x="1375" y="66"/>
                    <a:pt x="1375" y="66"/>
                  </a:cubicBezTo>
                  <a:cubicBezTo>
                    <a:pt x="1375" y="66"/>
                    <a:pt x="1375" y="66"/>
                    <a:pt x="1375" y="66"/>
                  </a:cubicBezTo>
                  <a:cubicBezTo>
                    <a:pt x="1375" y="66"/>
                    <a:pt x="1375" y="66"/>
                    <a:pt x="1375" y="66"/>
                  </a:cubicBezTo>
                  <a:cubicBezTo>
                    <a:pt x="1375" y="66"/>
                    <a:pt x="1376" y="66"/>
                    <a:pt x="1376" y="66"/>
                  </a:cubicBezTo>
                  <a:cubicBezTo>
                    <a:pt x="1376" y="66"/>
                    <a:pt x="1376" y="66"/>
                    <a:pt x="1376" y="66"/>
                  </a:cubicBezTo>
                  <a:cubicBezTo>
                    <a:pt x="1376" y="65"/>
                    <a:pt x="1376" y="66"/>
                    <a:pt x="1376" y="65"/>
                  </a:cubicBezTo>
                  <a:cubicBezTo>
                    <a:pt x="1376" y="65"/>
                    <a:pt x="1376" y="65"/>
                    <a:pt x="1376" y="65"/>
                  </a:cubicBezTo>
                  <a:cubicBezTo>
                    <a:pt x="1376" y="65"/>
                    <a:pt x="1377" y="65"/>
                    <a:pt x="1377" y="65"/>
                  </a:cubicBezTo>
                  <a:cubicBezTo>
                    <a:pt x="1377" y="65"/>
                    <a:pt x="1377" y="65"/>
                    <a:pt x="1377" y="65"/>
                  </a:cubicBezTo>
                  <a:cubicBezTo>
                    <a:pt x="1377" y="65"/>
                    <a:pt x="1377" y="65"/>
                    <a:pt x="1377" y="65"/>
                  </a:cubicBezTo>
                  <a:cubicBezTo>
                    <a:pt x="1377" y="65"/>
                    <a:pt x="1377" y="65"/>
                    <a:pt x="1377" y="65"/>
                  </a:cubicBezTo>
                  <a:cubicBezTo>
                    <a:pt x="1377"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8" y="64"/>
                    <a:pt x="1378" y="64"/>
                    <a:pt x="1378" y="64"/>
                  </a:cubicBezTo>
                  <a:cubicBezTo>
                    <a:pt x="1379" y="63"/>
                    <a:pt x="1379" y="63"/>
                    <a:pt x="1379" y="63"/>
                  </a:cubicBezTo>
                  <a:cubicBezTo>
                    <a:pt x="1379" y="63"/>
                    <a:pt x="1379" y="63"/>
                    <a:pt x="1379" y="63"/>
                  </a:cubicBezTo>
                  <a:cubicBezTo>
                    <a:pt x="1379" y="63"/>
                    <a:pt x="1379" y="63"/>
                    <a:pt x="1379" y="63"/>
                  </a:cubicBezTo>
                  <a:cubicBezTo>
                    <a:pt x="1379" y="63"/>
                    <a:pt x="1379" y="63"/>
                    <a:pt x="1379" y="63"/>
                  </a:cubicBezTo>
                  <a:cubicBezTo>
                    <a:pt x="1380" y="63"/>
                    <a:pt x="1380" y="63"/>
                    <a:pt x="1380" y="63"/>
                  </a:cubicBezTo>
                  <a:cubicBezTo>
                    <a:pt x="1380" y="63"/>
                    <a:pt x="1380" y="63"/>
                    <a:pt x="1380" y="63"/>
                  </a:cubicBezTo>
                  <a:cubicBezTo>
                    <a:pt x="1380" y="62"/>
                    <a:pt x="1380" y="62"/>
                    <a:pt x="1380" y="62"/>
                  </a:cubicBezTo>
                  <a:cubicBezTo>
                    <a:pt x="1380" y="62"/>
                    <a:pt x="1380" y="62"/>
                    <a:pt x="1380" y="62"/>
                  </a:cubicBezTo>
                  <a:cubicBezTo>
                    <a:pt x="1381" y="62"/>
                    <a:pt x="1381" y="62"/>
                    <a:pt x="1381" y="62"/>
                  </a:cubicBezTo>
                  <a:cubicBezTo>
                    <a:pt x="1381" y="62"/>
                    <a:pt x="1381" y="62"/>
                    <a:pt x="1381" y="62"/>
                  </a:cubicBezTo>
                  <a:cubicBezTo>
                    <a:pt x="1381" y="62"/>
                    <a:pt x="1381" y="62"/>
                    <a:pt x="1381" y="61"/>
                  </a:cubicBezTo>
                  <a:cubicBezTo>
                    <a:pt x="1381" y="61"/>
                    <a:pt x="1381" y="61"/>
                    <a:pt x="1381" y="61"/>
                  </a:cubicBezTo>
                  <a:cubicBezTo>
                    <a:pt x="1381" y="61"/>
                    <a:pt x="1381" y="61"/>
                    <a:pt x="1382" y="61"/>
                  </a:cubicBezTo>
                  <a:cubicBezTo>
                    <a:pt x="1382" y="61"/>
                    <a:pt x="1382" y="61"/>
                    <a:pt x="1382" y="61"/>
                  </a:cubicBezTo>
                  <a:cubicBezTo>
                    <a:pt x="1382" y="61"/>
                    <a:pt x="1382" y="61"/>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3" y="60"/>
                    <a:pt x="1383" y="60"/>
                  </a:cubicBezTo>
                  <a:cubicBezTo>
                    <a:pt x="1383" y="60"/>
                    <a:pt x="1384" y="60"/>
                    <a:pt x="1384" y="59"/>
                  </a:cubicBezTo>
                  <a:cubicBezTo>
                    <a:pt x="1384" y="59"/>
                    <a:pt x="1384" y="59"/>
                    <a:pt x="1384" y="59"/>
                  </a:cubicBezTo>
                  <a:cubicBezTo>
                    <a:pt x="1384" y="59"/>
                    <a:pt x="1384" y="59"/>
                    <a:pt x="1384" y="59"/>
                  </a:cubicBezTo>
                  <a:cubicBezTo>
                    <a:pt x="1384" y="59"/>
                    <a:pt x="1384" y="59"/>
                    <a:pt x="1384" y="59"/>
                  </a:cubicBezTo>
                  <a:cubicBezTo>
                    <a:pt x="1384" y="59"/>
                    <a:pt x="1385" y="58"/>
                    <a:pt x="1385" y="58"/>
                  </a:cubicBezTo>
                  <a:cubicBezTo>
                    <a:pt x="1385" y="58"/>
                    <a:pt x="1385" y="58"/>
                    <a:pt x="1385" y="58"/>
                  </a:cubicBezTo>
                  <a:cubicBezTo>
                    <a:pt x="1386" y="58"/>
                    <a:pt x="1386" y="58"/>
                    <a:pt x="1386" y="58"/>
                  </a:cubicBezTo>
                  <a:cubicBezTo>
                    <a:pt x="1386" y="58"/>
                    <a:pt x="1386" y="58"/>
                    <a:pt x="1386" y="58"/>
                  </a:cubicBezTo>
                  <a:cubicBezTo>
                    <a:pt x="1386" y="58"/>
                    <a:pt x="1386" y="57"/>
                    <a:pt x="1386" y="57"/>
                  </a:cubicBezTo>
                  <a:cubicBezTo>
                    <a:pt x="1386" y="57"/>
                    <a:pt x="1386" y="57"/>
                    <a:pt x="1386" y="57"/>
                  </a:cubicBezTo>
                  <a:cubicBezTo>
                    <a:pt x="1386" y="57"/>
                    <a:pt x="1386" y="57"/>
                    <a:pt x="1386" y="57"/>
                  </a:cubicBezTo>
                  <a:cubicBezTo>
                    <a:pt x="1386" y="57"/>
                    <a:pt x="1386" y="57"/>
                    <a:pt x="1386" y="57"/>
                  </a:cubicBezTo>
                  <a:cubicBezTo>
                    <a:pt x="1387" y="57"/>
                    <a:pt x="1387" y="57"/>
                    <a:pt x="1387" y="57"/>
                  </a:cubicBezTo>
                  <a:cubicBezTo>
                    <a:pt x="1387" y="57"/>
                    <a:pt x="1387" y="57"/>
                    <a:pt x="1387" y="57"/>
                  </a:cubicBezTo>
                  <a:cubicBezTo>
                    <a:pt x="1387" y="57"/>
                    <a:pt x="1387" y="56"/>
                    <a:pt x="1387" y="56"/>
                  </a:cubicBezTo>
                  <a:cubicBezTo>
                    <a:pt x="1387" y="56"/>
                    <a:pt x="1387" y="56"/>
                    <a:pt x="1387" y="56"/>
                  </a:cubicBezTo>
                  <a:cubicBezTo>
                    <a:pt x="1387" y="56"/>
                    <a:pt x="1387" y="56"/>
                    <a:pt x="1387" y="56"/>
                  </a:cubicBezTo>
                  <a:cubicBezTo>
                    <a:pt x="1387" y="56"/>
                    <a:pt x="1387" y="56"/>
                    <a:pt x="1387" y="56"/>
                  </a:cubicBezTo>
                  <a:cubicBezTo>
                    <a:pt x="1388" y="56"/>
                    <a:pt x="1388" y="56"/>
                    <a:pt x="1388" y="55"/>
                  </a:cubicBezTo>
                  <a:cubicBezTo>
                    <a:pt x="1388" y="55"/>
                    <a:pt x="1388" y="55"/>
                    <a:pt x="1388" y="55"/>
                  </a:cubicBezTo>
                  <a:cubicBezTo>
                    <a:pt x="1388" y="55"/>
                    <a:pt x="1388" y="55"/>
                    <a:pt x="1388" y="55"/>
                  </a:cubicBezTo>
                  <a:cubicBezTo>
                    <a:pt x="1388" y="55"/>
                    <a:pt x="1388" y="55"/>
                    <a:pt x="1388" y="55"/>
                  </a:cubicBezTo>
                  <a:cubicBezTo>
                    <a:pt x="1389" y="55"/>
                    <a:pt x="1389" y="54"/>
                    <a:pt x="1389" y="54"/>
                  </a:cubicBezTo>
                  <a:cubicBezTo>
                    <a:pt x="1389" y="54"/>
                    <a:pt x="1389" y="54"/>
                    <a:pt x="1389" y="54"/>
                  </a:cubicBezTo>
                  <a:cubicBezTo>
                    <a:pt x="1389" y="54"/>
                    <a:pt x="1389" y="54"/>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0" y="53"/>
                    <a:pt x="1390" y="53"/>
                    <a:pt x="1390" y="53"/>
                  </a:cubicBezTo>
                  <a:cubicBezTo>
                    <a:pt x="1391" y="53"/>
                    <a:pt x="1391" y="52"/>
                    <a:pt x="1391" y="52"/>
                  </a:cubicBezTo>
                  <a:cubicBezTo>
                    <a:pt x="1391" y="52"/>
                    <a:pt x="1391" y="52"/>
                    <a:pt x="1391" y="52"/>
                  </a:cubicBezTo>
                  <a:cubicBezTo>
                    <a:pt x="1391" y="52"/>
                    <a:pt x="1391" y="51"/>
                    <a:pt x="1391" y="51"/>
                  </a:cubicBezTo>
                  <a:cubicBezTo>
                    <a:pt x="1391" y="51"/>
                    <a:pt x="1391" y="51"/>
                    <a:pt x="1391" y="51"/>
                  </a:cubicBezTo>
                  <a:cubicBezTo>
                    <a:pt x="1392" y="51"/>
                    <a:pt x="1391" y="51"/>
                    <a:pt x="1392" y="51"/>
                  </a:cubicBezTo>
                  <a:cubicBezTo>
                    <a:pt x="1392" y="51"/>
                    <a:pt x="1392" y="51"/>
                    <a:pt x="1392" y="51"/>
                  </a:cubicBezTo>
                  <a:cubicBezTo>
                    <a:pt x="1392" y="51"/>
                    <a:pt x="1392" y="50"/>
                    <a:pt x="1392" y="50"/>
                  </a:cubicBezTo>
                  <a:cubicBezTo>
                    <a:pt x="1392" y="50"/>
                    <a:pt x="1392" y="50"/>
                    <a:pt x="1392" y="50"/>
                  </a:cubicBezTo>
                  <a:cubicBezTo>
                    <a:pt x="1392" y="50"/>
                    <a:pt x="1392" y="50"/>
                    <a:pt x="1392" y="50"/>
                  </a:cubicBezTo>
                  <a:cubicBezTo>
                    <a:pt x="1392" y="50"/>
                    <a:pt x="1392" y="50"/>
                    <a:pt x="1392" y="50"/>
                  </a:cubicBezTo>
                  <a:cubicBezTo>
                    <a:pt x="1392" y="50"/>
                    <a:pt x="1393" y="49"/>
                    <a:pt x="1393" y="49"/>
                  </a:cubicBezTo>
                  <a:cubicBezTo>
                    <a:pt x="1393" y="49"/>
                    <a:pt x="1393" y="49"/>
                    <a:pt x="1393" y="49"/>
                  </a:cubicBezTo>
                  <a:cubicBezTo>
                    <a:pt x="1393" y="49"/>
                    <a:pt x="1393" y="49"/>
                    <a:pt x="1393" y="49"/>
                  </a:cubicBezTo>
                  <a:cubicBezTo>
                    <a:pt x="1393" y="49"/>
                    <a:pt x="1393" y="49"/>
                    <a:pt x="1393" y="49"/>
                  </a:cubicBezTo>
                  <a:cubicBezTo>
                    <a:pt x="1393" y="48"/>
                    <a:pt x="1393" y="48"/>
                    <a:pt x="1393" y="48"/>
                  </a:cubicBezTo>
                  <a:cubicBezTo>
                    <a:pt x="1393" y="48"/>
                    <a:pt x="1393" y="48"/>
                    <a:pt x="1393" y="48"/>
                  </a:cubicBezTo>
                  <a:cubicBezTo>
                    <a:pt x="1393" y="48"/>
                    <a:pt x="1393" y="48"/>
                    <a:pt x="1393" y="48"/>
                  </a:cubicBezTo>
                  <a:cubicBezTo>
                    <a:pt x="1394" y="48"/>
                    <a:pt x="1394" y="48"/>
                    <a:pt x="1394" y="47"/>
                  </a:cubicBezTo>
                  <a:cubicBezTo>
                    <a:pt x="1394" y="48"/>
                    <a:pt x="1394" y="48"/>
                    <a:pt x="1394" y="48"/>
                  </a:cubicBezTo>
                  <a:cubicBezTo>
                    <a:pt x="1394" y="47"/>
                    <a:pt x="1394" y="47"/>
                    <a:pt x="1394" y="47"/>
                  </a:cubicBezTo>
                  <a:cubicBezTo>
                    <a:pt x="1394" y="47"/>
                    <a:pt x="1394" y="47"/>
                    <a:pt x="1394" y="47"/>
                  </a:cubicBezTo>
                  <a:cubicBezTo>
                    <a:pt x="1394" y="47"/>
                    <a:pt x="1394" y="46"/>
                    <a:pt x="1394" y="46"/>
                  </a:cubicBezTo>
                  <a:cubicBezTo>
                    <a:pt x="1394" y="46"/>
                    <a:pt x="1394" y="46"/>
                    <a:pt x="1394" y="46"/>
                  </a:cubicBezTo>
                  <a:cubicBezTo>
                    <a:pt x="1395" y="46"/>
                    <a:pt x="1395" y="45"/>
                    <a:pt x="1395" y="45"/>
                  </a:cubicBezTo>
                  <a:cubicBezTo>
                    <a:pt x="1395" y="45"/>
                    <a:pt x="1395" y="45"/>
                    <a:pt x="1395" y="45"/>
                  </a:cubicBezTo>
                  <a:cubicBezTo>
                    <a:pt x="1395" y="45"/>
                    <a:pt x="1395" y="45"/>
                    <a:pt x="1395" y="44"/>
                  </a:cubicBezTo>
                  <a:cubicBezTo>
                    <a:pt x="1395" y="44"/>
                    <a:pt x="1395" y="44"/>
                    <a:pt x="1395" y="44"/>
                  </a:cubicBezTo>
                  <a:cubicBezTo>
                    <a:pt x="1395" y="44"/>
                    <a:pt x="1395" y="44"/>
                    <a:pt x="1395" y="43"/>
                  </a:cubicBezTo>
                  <a:cubicBezTo>
                    <a:pt x="1395" y="43"/>
                    <a:pt x="1395" y="43"/>
                    <a:pt x="1395" y="43"/>
                  </a:cubicBezTo>
                  <a:cubicBezTo>
                    <a:pt x="1396" y="43"/>
                    <a:pt x="1396" y="43"/>
                    <a:pt x="1396" y="43"/>
                  </a:cubicBezTo>
                  <a:cubicBezTo>
                    <a:pt x="1396" y="42"/>
                    <a:pt x="1396" y="42"/>
                    <a:pt x="1396" y="42"/>
                  </a:cubicBezTo>
                  <a:cubicBezTo>
                    <a:pt x="1396" y="42"/>
                    <a:pt x="1396" y="42"/>
                    <a:pt x="1396" y="42"/>
                  </a:cubicBezTo>
                  <a:cubicBezTo>
                    <a:pt x="1396" y="42"/>
                    <a:pt x="1396" y="42"/>
                    <a:pt x="1396" y="41"/>
                  </a:cubicBezTo>
                  <a:cubicBezTo>
                    <a:pt x="1396" y="41"/>
                    <a:pt x="1396" y="41"/>
                    <a:pt x="1396" y="41"/>
                  </a:cubicBezTo>
                  <a:cubicBezTo>
                    <a:pt x="1397" y="41"/>
                    <a:pt x="1396" y="40"/>
                    <a:pt x="1397" y="40"/>
                  </a:cubicBezTo>
                  <a:cubicBezTo>
                    <a:pt x="1397" y="40"/>
                    <a:pt x="1397" y="40"/>
                    <a:pt x="1397" y="40"/>
                  </a:cubicBezTo>
                  <a:cubicBezTo>
                    <a:pt x="1397" y="39"/>
                    <a:pt x="1397" y="39"/>
                    <a:pt x="1397" y="38"/>
                  </a:cubicBezTo>
                  <a:cubicBezTo>
                    <a:pt x="1397" y="38"/>
                    <a:pt x="1397" y="38"/>
                    <a:pt x="1397" y="38"/>
                  </a:cubicBezTo>
                  <a:cubicBezTo>
                    <a:pt x="1397" y="37"/>
                    <a:pt x="1397" y="37"/>
                    <a:pt x="1397" y="36"/>
                  </a:cubicBezTo>
                  <a:cubicBezTo>
                    <a:pt x="1397" y="36"/>
                    <a:pt x="1397" y="36"/>
                    <a:pt x="1397" y="35"/>
                  </a:cubicBezTo>
                  <a:cubicBezTo>
                    <a:pt x="1397" y="33"/>
                    <a:pt x="1397" y="30"/>
                    <a:pt x="1397" y="27"/>
                  </a:cubicBezTo>
                  <a:cubicBezTo>
                    <a:pt x="1397" y="27"/>
                    <a:pt x="1397" y="27"/>
                    <a:pt x="1397" y="27"/>
                  </a:cubicBezTo>
                  <a:cubicBezTo>
                    <a:pt x="1397" y="26"/>
                    <a:pt x="1397" y="25"/>
                    <a:pt x="1397" y="25"/>
                  </a:cubicBezTo>
                  <a:cubicBezTo>
                    <a:pt x="1397" y="25"/>
                    <a:pt x="1397" y="25"/>
                    <a:pt x="1397" y="25"/>
                  </a:cubicBezTo>
                  <a:cubicBezTo>
                    <a:pt x="1397" y="25"/>
                    <a:pt x="1397" y="25"/>
                    <a:pt x="1397" y="25"/>
                  </a:cubicBezTo>
                  <a:cubicBezTo>
                    <a:pt x="1397" y="24"/>
                    <a:pt x="1397" y="24"/>
                    <a:pt x="1397" y="24"/>
                  </a:cubicBezTo>
                  <a:cubicBezTo>
                    <a:pt x="1396" y="23"/>
                    <a:pt x="1396" y="23"/>
                    <a:pt x="1396" y="23"/>
                  </a:cubicBezTo>
                  <a:cubicBezTo>
                    <a:pt x="1396" y="23"/>
                    <a:pt x="1396" y="23"/>
                    <a:pt x="1396" y="23"/>
                  </a:cubicBezTo>
                  <a:cubicBezTo>
                    <a:pt x="1396" y="23"/>
                    <a:pt x="1396" y="22"/>
                    <a:pt x="1396" y="22"/>
                  </a:cubicBezTo>
                  <a:cubicBezTo>
                    <a:pt x="1396" y="22"/>
                    <a:pt x="1396" y="22"/>
                    <a:pt x="1396" y="22"/>
                  </a:cubicBezTo>
                  <a:cubicBezTo>
                    <a:pt x="1396" y="22"/>
                    <a:pt x="1396" y="21"/>
                    <a:pt x="1396" y="21"/>
                  </a:cubicBezTo>
                  <a:cubicBezTo>
                    <a:pt x="1396" y="21"/>
                    <a:pt x="1396" y="21"/>
                    <a:pt x="1396" y="21"/>
                  </a:cubicBezTo>
                  <a:cubicBezTo>
                    <a:pt x="1396" y="21"/>
                    <a:pt x="1396" y="21"/>
                    <a:pt x="1395" y="20"/>
                  </a:cubicBezTo>
                  <a:cubicBezTo>
                    <a:pt x="1395" y="20"/>
                    <a:pt x="1395" y="20"/>
                    <a:pt x="1395" y="20"/>
                  </a:cubicBezTo>
                  <a:cubicBezTo>
                    <a:pt x="1395" y="20"/>
                    <a:pt x="1395" y="20"/>
                    <a:pt x="1395" y="20"/>
                  </a:cubicBezTo>
                  <a:cubicBezTo>
                    <a:pt x="1395" y="20"/>
                    <a:pt x="1395" y="20"/>
                    <a:pt x="1395" y="20"/>
                  </a:cubicBezTo>
                  <a:cubicBezTo>
                    <a:pt x="1395" y="20"/>
                    <a:pt x="1395" y="20"/>
                    <a:pt x="1395" y="20"/>
                  </a:cubicBezTo>
                  <a:cubicBezTo>
                    <a:pt x="1395" y="19"/>
                    <a:pt x="1395" y="19"/>
                    <a:pt x="1395" y="19"/>
                  </a:cubicBezTo>
                  <a:cubicBezTo>
                    <a:pt x="1395" y="19"/>
                    <a:pt x="1395" y="19"/>
                    <a:pt x="1395" y="19"/>
                  </a:cubicBezTo>
                  <a:cubicBezTo>
                    <a:pt x="1395" y="19"/>
                    <a:pt x="1395" y="19"/>
                    <a:pt x="1395" y="19"/>
                  </a:cubicBezTo>
                  <a:cubicBezTo>
                    <a:pt x="1395" y="19"/>
                    <a:pt x="1395" y="18"/>
                    <a:pt x="1394" y="18"/>
                  </a:cubicBezTo>
                  <a:cubicBezTo>
                    <a:pt x="1394" y="18"/>
                    <a:pt x="1394" y="18"/>
                    <a:pt x="1394" y="18"/>
                  </a:cubicBezTo>
                  <a:cubicBezTo>
                    <a:pt x="1394" y="18"/>
                    <a:pt x="1394" y="18"/>
                    <a:pt x="1394" y="18"/>
                  </a:cubicBezTo>
                  <a:cubicBezTo>
                    <a:pt x="1394" y="18"/>
                    <a:pt x="1394" y="18"/>
                    <a:pt x="1394" y="18"/>
                  </a:cubicBezTo>
                  <a:cubicBezTo>
                    <a:pt x="1394" y="17"/>
                    <a:pt x="1394" y="17"/>
                    <a:pt x="1394" y="17"/>
                  </a:cubicBezTo>
                  <a:cubicBezTo>
                    <a:pt x="1394" y="17"/>
                    <a:pt x="1394" y="17"/>
                    <a:pt x="1394" y="17"/>
                  </a:cubicBezTo>
                  <a:cubicBezTo>
                    <a:pt x="1394" y="17"/>
                    <a:pt x="1393" y="17"/>
                    <a:pt x="1393" y="17"/>
                  </a:cubicBezTo>
                  <a:cubicBezTo>
                    <a:pt x="1393" y="17"/>
                    <a:pt x="1393" y="17"/>
                    <a:pt x="1393" y="17"/>
                  </a:cubicBezTo>
                  <a:cubicBezTo>
                    <a:pt x="1393" y="16"/>
                    <a:pt x="1393" y="16"/>
                    <a:pt x="1393" y="16"/>
                  </a:cubicBezTo>
                  <a:cubicBezTo>
                    <a:pt x="1393" y="16"/>
                    <a:pt x="1393" y="16"/>
                    <a:pt x="1393" y="16"/>
                  </a:cubicBezTo>
                  <a:cubicBezTo>
                    <a:pt x="1393" y="16"/>
                    <a:pt x="1393" y="16"/>
                    <a:pt x="1393" y="16"/>
                  </a:cubicBezTo>
                  <a:cubicBezTo>
                    <a:pt x="1393" y="16"/>
                    <a:pt x="1393" y="16"/>
                    <a:pt x="1393" y="16"/>
                  </a:cubicBezTo>
                  <a:cubicBezTo>
                    <a:pt x="1393" y="15"/>
                    <a:pt x="1392" y="15"/>
                    <a:pt x="1392" y="15"/>
                  </a:cubicBezTo>
                  <a:cubicBezTo>
                    <a:pt x="1392" y="15"/>
                    <a:pt x="1392" y="15"/>
                    <a:pt x="1392" y="15"/>
                  </a:cubicBezTo>
                  <a:cubicBezTo>
                    <a:pt x="1392" y="15"/>
                    <a:pt x="1392" y="15"/>
                    <a:pt x="1392" y="15"/>
                  </a:cubicBezTo>
                  <a:cubicBezTo>
                    <a:pt x="1392" y="15"/>
                    <a:pt x="1392" y="15"/>
                    <a:pt x="1392" y="15"/>
                  </a:cubicBezTo>
                  <a:cubicBezTo>
                    <a:pt x="1392" y="14"/>
                    <a:pt x="1392" y="14"/>
                    <a:pt x="1392" y="14"/>
                  </a:cubicBezTo>
                  <a:cubicBezTo>
                    <a:pt x="1392" y="14"/>
                    <a:pt x="1392" y="14"/>
                    <a:pt x="1392" y="14"/>
                  </a:cubicBezTo>
                  <a:cubicBezTo>
                    <a:pt x="1392" y="14"/>
                    <a:pt x="1391" y="14"/>
                    <a:pt x="1391" y="14"/>
                  </a:cubicBezTo>
                  <a:cubicBezTo>
                    <a:pt x="1391" y="14"/>
                    <a:pt x="1391" y="14"/>
                    <a:pt x="1391" y="14"/>
                  </a:cubicBezTo>
                  <a:cubicBezTo>
                    <a:pt x="1391" y="14"/>
                    <a:pt x="1391" y="14"/>
                    <a:pt x="1391" y="13"/>
                  </a:cubicBezTo>
                  <a:cubicBezTo>
                    <a:pt x="1391" y="14"/>
                    <a:pt x="1391" y="14"/>
                    <a:pt x="1391" y="14"/>
                  </a:cubicBezTo>
                  <a:cubicBezTo>
                    <a:pt x="1391" y="13"/>
                    <a:pt x="1391" y="13"/>
                    <a:pt x="1391" y="13"/>
                  </a:cubicBezTo>
                  <a:cubicBezTo>
                    <a:pt x="1391" y="13"/>
                    <a:pt x="1391" y="13"/>
                    <a:pt x="1391" y="13"/>
                  </a:cubicBezTo>
                  <a:cubicBezTo>
                    <a:pt x="1390" y="13"/>
                    <a:pt x="1390" y="13"/>
                    <a:pt x="1390" y="13"/>
                  </a:cubicBezTo>
                  <a:cubicBezTo>
                    <a:pt x="1390" y="13"/>
                    <a:pt x="1390" y="13"/>
                    <a:pt x="1390" y="13"/>
                  </a:cubicBezTo>
                  <a:cubicBezTo>
                    <a:pt x="1390" y="13"/>
                    <a:pt x="1390" y="12"/>
                    <a:pt x="1390" y="12"/>
                  </a:cubicBezTo>
                  <a:cubicBezTo>
                    <a:pt x="1390" y="12"/>
                    <a:pt x="1390" y="12"/>
                    <a:pt x="1390" y="12"/>
                  </a:cubicBezTo>
                  <a:cubicBezTo>
                    <a:pt x="1390" y="12"/>
                    <a:pt x="1390" y="12"/>
                    <a:pt x="1389" y="12"/>
                  </a:cubicBezTo>
                  <a:cubicBezTo>
                    <a:pt x="1389" y="12"/>
                    <a:pt x="1389" y="12"/>
                    <a:pt x="1389" y="12"/>
                  </a:cubicBezTo>
                  <a:cubicBezTo>
                    <a:pt x="1389" y="12"/>
                    <a:pt x="1389" y="12"/>
                    <a:pt x="1389" y="11"/>
                  </a:cubicBezTo>
                  <a:cubicBezTo>
                    <a:pt x="1389" y="11"/>
                    <a:pt x="1389" y="11"/>
                    <a:pt x="1389" y="11"/>
                  </a:cubicBezTo>
                  <a:cubicBezTo>
                    <a:pt x="1388" y="11"/>
                    <a:pt x="1388" y="11"/>
                    <a:pt x="1388" y="11"/>
                  </a:cubicBezTo>
                  <a:cubicBezTo>
                    <a:pt x="1388" y="11"/>
                    <a:pt x="1388" y="11"/>
                    <a:pt x="1388" y="11"/>
                  </a:cubicBezTo>
                  <a:cubicBezTo>
                    <a:pt x="1388" y="11"/>
                    <a:pt x="1388" y="11"/>
                    <a:pt x="1388" y="11"/>
                  </a:cubicBezTo>
                  <a:cubicBezTo>
                    <a:pt x="1388" y="11"/>
                    <a:pt x="1388" y="11"/>
                    <a:pt x="1388" y="11"/>
                  </a:cubicBezTo>
                  <a:cubicBezTo>
                    <a:pt x="1388" y="10"/>
                    <a:pt x="1387" y="11"/>
                    <a:pt x="1387" y="10"/>
                  </a:cubicBezTo>
                  <a:cubicBezTo>
                    <a:pt x="1387" y="10"/>
                    <a:pt x="1387" y="10"/>
                    <a:pt x="1387" y="10"/>
                  </a:cubicBezTo>
                  <a:cubicBezTo>
                    <a:pt x="1387" y="10"/>
                    <a:pt x="1387" y="10"/>
                    <a:pt x="1387" y="10"/>
                  </a:cubicBezTo>
                  <a:cubicBezTo>
                    <a:pt x="1387" y="10"/>
                    <a:pt x="1387" y="10"/>
                    <a:pt x="1387" y="10"/>
                  </a:cubicBezTo>
                  <a:cubicBezTo>
                    <a:pt x="1387" y="10"/>
                    <a:pt x="1386" y="10"/>
                    <a:pt x="1386" y="10"/>
                  </a:cubicBezTo>
                  <a:cubicBezTo>
                    <a:pt x="1386" y="10"/>
                    <a:pt x="1386" y="10"/>
                    <a:pt x="1386" y="10"/>
                  </a:cubicBezTo>
                  <a:cubicBezTo>
                    <a:pt x="1386" y="9"/>
                    <a:pt x="1386" y="9"/>
                    <a:pt x="1385" y="9"/>
                  </a:cubicBezTo>
                  <a:cubicBezTo>
                    <a:pt x="1385" y="9"/>
                    <a:pt x="1385" y="9"/>
                    <a:pt x="1385" y="9"/>
                  </a:cubicBezTo>
                  <a:cubicBezTo>
                    <a:pt x="1385" y="9"/>
                    <a:pt x="1385" y="9"/>
                    <a:pt x="1385" y="9"/>
                  </a:cubicBezTo>
                  <a:cubicBezTo>
                    <a:pt x="1385" y="9"/>
                    <a:pt x="1385" y="9"/>
                    <a:pt x="1385" y="9"/>
                  </a:cubicBezTo>
                  <a:cubicBezTo>
                    <a:pt x="1385" y="9"/>
                    <a:pt x="1384" y="9"/>
                    <a:pt x="1384" y="9"/>
                  </a:cubicBezTo>
                  <a:cubicBezTo>
                    <a:pt x="1384" y="9"/>
                    <a:pt x="1384" y="9"/>
                    <a:pt x="1384" y="9"/>
                  </a:cubicBezTo>
                  <a:cubicBezTo>
                    <a:pt x="1384" y="9"/>
                    <a:pt x="1384" y="9"/>
                    <a:pt x="1384" y="9"/>
                  </a:cubicBezTo>
                  <a:cubicBezTo>
                    <a:pt x="1384" y="8"/>
                    <a:pt x="1383" y="8"/>
                    <a:pt x="1383" y="8"/>
                  </a:cubicBezTo>
                  <a:cubicBezTo>
                    <a:pt x="1383" y="8"/>
                    <a:pt x="1383" y="8"/>
                    <a:pt x="1383" y="8"/>
                  </a:cubicBezTo>
                  <a:cubicBezTo>
                    <a:pt x="1383" y="8"/>
                    <a:pt x="1383" y="8"/>
                    <a:pt x="1383" y="8"/>
                  </a:cubicBezTo>
                  <a:cubicBezTo>
                    <a:pt x="1383" y="8"/>
                    <a:pt x="1383" y="8"/>
                    <a:pt x="1383" y="8"/>
                  </a:cubicBezTo>
                  <a:cubicBezTo>
                    <a:pt x="1382" y="8"/>
                    <a:pt x="1382" y="8"/>
                    <a:pt x="1382" y="8"/>
                  </a:cubicBezTo>
                  <a:cubicBezTo>
                    <a:pt x="1382" y="8"/>
                    <a:pt x="1382" y="8"/>
                    <a:pt x="1382" y="8"/>
                  </a:cubicBezTo>
                  <a:cubicBezTo>
                    <a:pt x="1382" y="8"/>
                    <a:pt x="1382" y="8"/>
                    <a:pt x="1382" y="8"/>
                  </a:cubicBezTo>
                  <a:cubicBezTo>
                    <a:pt x="1381" y="7"/>
                    <a:pt x="1381" y="7"/>
                    <a:pt x="1381" y="7"/>
                  </a:cubicBezTo>
                  <a:cubicBezTo>
                    <a:pt x="1381" y="7"/>
                    <a:pt x="1381" y="7"/>
                    <a:pt x="1381" y="7"/>
                  </a:cubicBezTo>
                  <a:cubicBezTo>
                    <a:pt x="1381" y="7"/>
                    <a:pt x="1381" y="7"/>
                    <a:pt x="1381" y="7"/>
                  </a:cubicBezTo>
                  <a:cubicBezTo>
                    <a:pt x="1380" y="7"/>
                    <a:pt x="1380" y="7"/>
                    <a:pt x="1379" y="7"/>
                  </a:cubicBezTo>
                  <a:cubicBezTo>
                    <a:pt x="1379" y="7"/>
                    <a:pt x="1379" y="7"/>
                    <a:pt x="1379" y="7"/>
                  </a:cubicBezTo>
                  <a:cubicBezTo>
                    <a:pt x="1379" y="6"/>
                    <a:pt x="1378" y="7"/>
                    <a:pt x="1378" y="7"/>
                  </a:cubicBezTo>
                  <a:cubicBezTo>
                    <a:pt x="1378" y="7"/>
                    <a:pt x="1378" y="7"/>
                    <a:pt x="1378" y="6"/>
                  </a:cubicBezTo>
                  <a:cubicBezTo>
                    <a:pt x="1377" y="6"/>
                    <a:pt x="1377" y="6"/>
                    <a:pt x="1376" y="6"/>
                  </a:cubicBezTo>
                  <a:cubicBezTo>
                    <a:pt x="1376" y="6"/>
                    <a:pt x="1376" y="6"/>
                    <a:pt x="1376" y="6"/>
                  </a:cubicBezTo>
                  <a:cubicBezTo>
                    <a:pt x="1375" y="6"/>
                    <a:pt x="1374" y="6"/>
                    <a:pt x="1373" y="6"/>
                  </a:cubicBezTo>
                  <a:cubicBezTo>
                    <a:pt x="1373" y="6"/>
                    <a:pt x="1372" y="6"/>
                    <a:pt x="1371" y="6"/>
                  </a:cubicBezTo>
                  <a:cubicBezTo>
                    <a:pt x="1371" y="6"/>
                    <a:pt x="1370" y="6"/>
                    <a:pt x="1369" y="6"/>
                  </a:cubicBezTo>
                  <a:cubicBezTo>
                    <a:pt x="1368" y="6"/>
                    <a:pt x="1368" y="6"/>
                    <a:pt x="1367" y="6"/>
                  </a:cubicBezTo>
                  <a:cubicBezTo>
                    <a:pt x="1366" y="6"/>
                    <a:pt x="1365" y="6"/>
                    <a:pt x="1364" y="6"/>
                  </a:cubicBezTo>
                  <a:cubicBezTo>
                    <a:pt x="1364" y="6"/>
                    <a:pt x="1364" y="6"/>
                    <a:pt x="1364" y="6"/>
                  </a:cubicBezTo>
                  <a:cubicBezTo>
                    <a:pt x="1363" y="7"/>
                    <a:pt x="1363" y="6"/>
                    <a:pt x="1362" y="6"/>
                  </a:cubicBezTo>
                  <a:cubicBezTo>
                    <a:pt x="1362" y="7"/>
                    <a:pt x="1362" y="7"/>
                    <a:pt x="1362" y="7"/>
                  </a:cubicBezTo>
                  <a:cubicBezTo>
                    <a:pt x="1361" y="7"/>
                    <a:pt x="1361" y="6"/>
                    <a:pt x="1360" y="7"/>
                  </a:cubicBezTo>
                  <a:cubicBezTo>
                    <a:pt x="1360" y="7"/>
                    <a:pt x="1360" y="7"/>
                    <a:pt x="1360" y="7"/>
                  </a:cubicBezTo>
                  <a:cubicBezTo>
                    <a:pt x="1360" y="7"/>
                    <a:pt x="1360" y="7"/>
                    <a:pt x="1359" y="7"/>
                  </a:cubicBezTo>
                  <a:cubicBezTo>
                    <a:pt x="1359" y="7"/>
                    <a:pt x="1359" y="7"/>
                    <a:pt x="1359" y="7"/>
                  </a:cubicBezTo>
                  <a:cubicBezTo>
                    <a:pt x="1359" y="7"/>
                    <a:pt x="1358" y="7"/>
                    <a:pt x="1358" y="7"/>
                  </a:cubicBezTo>
                  <a:cubicBezTo>
                    <a:pt x="1358" y="8"/>
                    <a:pt x="1358" y="8"/>
                    <a:pt x="1358" y="8"/>
                  </a:cubicBezTo>
                  <a:cubicBezTo>
                    <a:pt x="1358" y="8"/>
                    <a:pt x="1357" y="8"/>
                    <a:pt x="1357" y="8"/>
                  </a:cubicBezTo>
                  <a:cubicBezTo>
                    <a:pt x="1357" y="8"/>
                    <a:pt x="1357" y="8"/>
                    <a:pt x="1357" y="8"/>
                  </a:cubicBezTo>
                  <a:cubicBezTo>
                    <a:pt x="1357" y="8"/>
                    <a:pt x="1357" y="8"/>
                    <a:pt x="1357" y="8"/>
                  </a:cubicBezTo>
                  <a:cubicBezTo>
                    <a:pt x="1357" y="8"/>
                    <a:pt x="1356" y="8"/>
                    <a:pt x="1356" y="8"/>
                  </a:cubicBezTo>
                  <a:cubicBezTo>
                    <a:pt x="1356" y="8"/>
                    <a:pt x="1356" y="8"/>
                    <a:pt x="1356" y="8"/>
                  </a:cubicBezTo>
                  <a:cubicBezTo>
                    <a:pt x="1356" y="8"/>
                    <a:pt x="1356" y="8"/>
                    <a:pt x="1355" y="9"/>
                  </a:cubicBezTo>
                  <a:cubicBezTo>
                    <a:pt x="1355" y="9"/>
                    <a:pt x="1355" y="9"/>
                    <a:pt x="1355" y="9"/>
                  </a:cubicBezTo>
                  <a:cubicBezTo>
                    <a:pt x="1355" y="9"/>
                    <a:pt x="1355" y="9"/>
                    <a:pt x="1355" y="9"/>
                  </a:cubicBezTo>
                  <a:cubicBezTo>
                    <a:pt x="1355" y="9"/>
                    <a:pt x="1355" y="9"/>
                    <a:pt x="1355" y="9"/>
                  </a:cubicBezTo>
                  <a:cubicBezTo>
                    <a:pt x="1355" y="9"/>
                    <a:pt x="1354" y="9"/>
                    <a:pt x="1354" y="9"/>
                  </a:cubicBezTo>
                  <a:cubicBezTo>
                    <a:pt x="1354" y="9"/>
                    <a:pt x="1354" y="9"/>
                    <a:pt x="1354" y="9"/>
                  </a:cubicBezTo>
                  <a:cubicBezTo>
                    <a:pt x="1354" y="9"/>
                    <a:pt x="1354" y="9"/>
                    <a:pt x="1353" y="10"/>
                  </a:cubicBezTo>
                  <a:cubicBezTo>
                    <a:pt x="1353" y="10"/>
                    <a:pt x="1353" y="10"/>
                    <a:pt x="1353" y="10"/>
                  </a:cubicBezTo>
                  <a:cubicBezTo>
                    <a:pt x="1353" y="10"/>
                    <a:pt x="1353" y="10"/>
                    <a:pt x="1353" y="10"/>
                  </a:cubicBezTo>
                  <a:cubicBezTo>
                    <a:pt x="1353" y="10"/>
                    <a:pt x="1353" y="10"/>
                    <a:pt x="1353" y="10"/>
                  </a:cubicBezTo>
                  <a:cubicBezTo>
                    <a:pt x="1353" y="10"/>
                    <a:pt x="1352" y="10"/>
                    <a:pt x="1352" y="10"/>
                  </a:cubicBezTo>
                  <a:cubicBezTo>
                    <a:pt x="1352" y="10"/>
                    <a:pt x="1352" y="10"/>
                    <a:pt x="1352" y="10"/>
                  </a:cubicBezTo>
                  <a:cubicBezTo>
                    <a:pt x="1352" y="11"/>
                    <a:pt x="1352" y="10"/>
                    <a:pt x="1352" y="11"/>
                  </a:cubicBezTo>
                  <a:cubicBezTo>
                    <a:pt x="1352" y="11"/>
                    <a:pt x="1352" y="11"/>
                    <a:pt x="1352" y="11"/>
                  </a:cubicBezTo>
                  <a:cubicBezTo>
                    <a:pt x="1351" y="11"/>
                    <a:pt x="1351" y="11"/>
                    <a:pt x="1351" y="11"/>
                  </a:cubicBezTo>
                  <a:cubicBezTo>
                    <a:pt x="1351" y="11"/>
                    <a:pt x="1351" y="11"/>
                    <a:pt x="1351" y="11"/>
                  </a:cubicBezTo>
                  <a:cubicBezTo>
                    <a:pt x="1350" y="11"/>
                    <a:pt x="1350" y="12"/>
                    <a:pt x="1350" y="12"/>
                  </a:cubicBezTo>
                  <a:cubicBezTo>
                    <a:pt x="1350" y="12"/>
                    <a:pt x="1350" y="12"/>
                    <a:pt x="1350" y="12"/>
                  </a:cubicBezTo>
                  <a:cubicBezTo>
                    <a:pt x="1350" y="12"/>
                    <a:pt x="1350" y="12"/>
                    <a:pt x="1350" y="12"/>
                  </a:cubicBezTo>
                  <a:cubicBezTo>
                    <a:pt x="1350" y="12"/>
                    <a:pt x="1350" y="12"/>
                    <a:pt x="1350" y="12"/>
                  </a:cubicBezTo>
                  <a:cubicBezTo>
                    <a:pt x="1349" y="12"/>
                    <a:pt x="1349" y="12"/>
                    <a:pt x="1349" y="12"/>
                  </a:cubicBezTo>
                  <a:cubicBezTo>
                    <a:pt x="1349" y="12"/>
                    <a:pt x="1349" y="12"/>
                    <a:pt x="1349" y="12"/>
                  </a:cubicBezTo>
                  <a:cubicBezTo>
                    <a:pt x="1349" y="13"/>
                    <a:pt x="1349" y="13"/>
                    <a:pt x="1349" y="13"/>
                  </a:cubicBezTo>
                  <a:cubicBezTo>
                    <a:pt x="1349" y="13"/>
                    <a:pt x="1349" y="13"/>
                    <a:pt x="1349" y="13"/>
                  </a:cubicBezTo>
                  <a:cubicBezTo>
                    <a:pt x="1349" y="13"/>
                    <a:pt x="1348" y="13"/>
                    <a:pt x="1348" y="14"/>
                  </a:cubicBezTo>
                  <a:cubicBezTo>
                    <a:pt x="1348" y="14"/>
                    <a:pt x="1348" y="14"/>
                    <a:pt x="1348" y="14"/>
                  </a:cubicBezTo>
                  <a:cubicBezTo>
                    <a:pt x="1348" y="14"/>
                    <a:pt x="1348" y="14"/>
                    <a:pt x="1347" y="14"/>
                  </a:cubicBezTo>
                  <a:cubicBezTo>
                    <a:pt x="1348" y="14"/>
                    <a:pt x="1348" y="14"/>
                    <a:pt x="1348" y="14"/>
                  </a:cubicBezTo>
                  <a:cubicBezTo>
                    <a:pt x="1347" y="14"/>
                    <a:pt x="1347" y="14"/>
                    <a:pt x="1347" y="14"/>
                  </a:cubicBezTo>
                  <a:cubicBezTo>
                    <a:pt x="1347" y="14"/>
                    <a:pt x="1347" y="14"/>
                    <a:pt x="1347" y="14"/>
                  </a:cubicBezTo>
                  <a:cubicBezTo>
                    <a:pt x="1347" y="14"/>
                    <a:pt x="1347" y="14"/>
                    <a:pt x="1347" y="15"/>
                  </a:cubicBezTo>
                  <a:cubicBezTo>
                    <a:pt x="1347" y="15"/>
                    <a:pt x="1347" y="15"/>
                    <a:pt x="1347" y="15"/>
                  </a:cubicBezTo>
                  <a:cubicBezTo>
                    <a:pt x="1346" y="17"/>
                    <a:pt x="1347" y="19"/>
                    <a:pt x="1347" y="22"/>
                  </a:cubicBezTo>
                  <a:cubicBezTo>
                    <a:pt x="1347" y="23"/>
                    <a:pt x="1346" y="25"/>
                    <a:pt x="1347" y="26"/>
                  </a:cubicBezTo>
                  <a:cubicBezTo>
                    <a:pt x="1348" y="25"/>
                    <a:pt x="1349" y="24"/>
                    <a:pt x="1350" y="23"/>
                  </a:cubicBezTo>
                  <a:cubicBezTo>
                    <a:pt x="1350" y="23"/>
                    <a:pt x="1350" y="23"/>
                    <a:pt x="1350" y="23"/>
                  </a:cubicBezTo>
                  <a:cubicBezTo>
                    <a:pt x="1350" y="23"/>
                    <a:pt x="1350" y="23"/>
                    <a:pt x="1350" y="23"/>
                  </a:cubicBezTo>
                  <a:cubicBezTo>
                    <a:pt x="1350" y="23"/>
                    <a:pt x="1350" y="23"/>
                    <a:pt x="1350" y="23"/>
                  </a:cubicBezTo>
                  <a:cubicBezTo>
                    <a:pt x="1350" y="23"/>
                    <a:pt x="1350" y="23"/>
                    <a:pt x="1351" y="23"/>
                  </a:cubicBezTo>
                  <a:cubicBezTo>
                    <a:pt x="1351" y="23"/>
                    <a:pt x="1351" y="23"/>
                    <a:pt x="1351" y="23"/>
                  </a:cubicBezTo>
                  <a:cubicBezTo>
                    <a:pt x="1351" y="23"/>
                    <a:pt x="1351" y="23"/>
                    <a:pt x="1351" y="22"/>
                  </a:cubicBezTo>
                  <a:cubicBezTo>
                    <a:pt x="1351" y="22"/>
                    <a:pt x="1351" y="22"/>
                    <a:pt x="1351" y="22"/>
                  </a:cubicBezTo>
                  <a:cubicBezTo>
                    <a:pt x="1351" y="22"/>
                    <a:pt x="1351" y="22"/>
                    <a:pt x="1351" y="22"/>
                  </a:cubicBezTo>
                  <a:cubicBezTo>
                    <a:pt x="1351" y="22"/>
                    <a:pt x="1351" y="22"/>
                    <a:pt x="1351" y="22"/>
                  </a:cubicBezTo>
                  <a:cubicBezTo>
                    <a:pt x="1351" y="22"/>
                    <a:pt x="1352" y="22"/>
                    <a:pt x="1352" y="22"/>
                  </a:cubicBezTo>
                  <a:cubicBezTo>
                    <a:pt x="1352" y="22"/>
                    <a:pt x="1352" y="22"/>
                    <a:pt x="1352" y="22"/>
                  </a:cubicBezTo>
                  <a:cubicBezTo>
                    <a:pt x="1352" y="22"/>
                    <a:pt x="1352" y="22"/>
                    <a:pt x="1352" y="21"/>
                  </a:cubicBezTo>
                  <a:cubicBezTo>
                    <a:pt x="1352" y="21"/>
                    <a:pt x="1352" y="21"/>
                    <a:pt x="1352" y="21"/>
                  </a:cubicBezTo>
                  <a:cubicBezTo>
                    <a:pt x="1352" y="21"/>
                    <a:pt x="1353" y="21"/>
                    <a:pt x="1353" y="21"/>
                  </a:cubicBezTo>
                  <a:cubicBezTo>
                    <a:pt x="1353" y="21"/>
                    <a:pt x="1353" y="21"/>
                    <a:pt x="1353" y="21"/>
                  </a:cubicBezTo>
                  <a:cubicBezTo>
                    <a:pt x="1353" y="21"/>
                    <a:pt x="1353" y="21"/>
                    <a:pt x="1353" y="21"/>
                  </a:cubicBezTo>
                  <a:cubicBezTo>
                    <a:pt x="1353" y="21"/>
                    <a:pt x="1353" y="21"/>
                    <a:pt x="1353" y="21"/>
                  </a:cubicBezTo>
                  <a:cubicBezTo>
                    <a:pt x="1353" y="21"/>
                    <a:pt x="1354" y="21"/>
                    <a:pt x="1354" y="20"/>
                  </a:cubicBezTo>
                  <a:cubicBezTo>
                    <a:pt x="1354" y="20"/>
                    <a:pt x="1354" y="20"/>
                    <a:pt x="1354" y="20"/>
                  </a:cubicBezTo>
                  <a:cubicBezTo>
                    <a:pt x="1354" y="20"/>
                    <a:pt x="1354" y="20"/>
                    <a:pt x="1355" y="20"/>
                  </a:cubicBezTo>
                  <a:cubicBezTo>
                    <a:pt x="1355" y="20"/>
                    <a:pt x="1355" y="20"/>
                    <a:pt x="1355" y="20"/>
                  </a:cubicBezTo>
                  <a:cubicBezTo>
                    <a:pt x="1355" y="20"/>
                    <a:pt x="1355" y="20"/>
                    <a:pt x="1355" y="19"/>
                  </a:cubicBezTo>
                  <a:cubicBezTo>
                    <a:pt x="1355" y="19"/>
                    <a:pt x="1355" y="19"/>
                    <a:pt x="1355" y="19"/>
                  </a:cubicBezTo>
                  <a:cubicBezTo>
                    <a:pt x="1356" y="19"/>
                    <a:pt x="1356" y="19"/>
                    <a:pt x="1356" y="19"/>
                  </a:cubicBezTo>
                  <a:cubicBezTo>
                    <a:pt x="1356" y="19"/>
                    <a:pt x="1356" y="19"/>
                    <a:pt x="1356" y="19"/>
                  </a:cubicBezTo>
                  <a:cubicBezTo>
                    <a:pt x="1356" y="19"/>
                    <a:pt x="1356" y="19"/>
                    <a:pt x="1356" y="19"/>
                  </a:cubicBezTo>
                  <a:cubicBezTo>
                    <a:pt x="1356" y="19"/>
                    <a:pt x="1356" y="19"/>
                    <a:pt x="1356" y="19"/>
                  </a:cubicBezTo>
                  <a:cubicBezTo>
                    <a:pt x="1357" y="18"/>
                    <a:pt x="1357" y="19"/>
                    <a:pt x="1357" y="18"/>
                  </a:cubicBezTo>
                  <a:cubicBezTo>
                    <a:pt x="1357" y="18"/>
                    <a:pt x="1357" y="18"/>
                    <a:pt x="1357" y="18"/>
                  </a:cubicBezTo>
                  <a:cubicBezTo>
                    <a:pt x="1357" y="18"/>
                    <a:pt x="1358" y="18"/>
                    <a:pt x="1358" y="18"/>
                  </a:cubicBezTo>
                  <a:cubicBezTo>
                    <a:pt x="1358" y="18"/>
                    <a:pt x="1358" y="18"/>
                    <a:pt x="1358" y="18"/>
                  </a:cubicBezTo>
                  <a:cubicBezTo>
                    <a:pt x="1358" y="18"/>
                    <a:pt x="1358" y="18"/>
                    <a:pt x="1359" y="18"/>
                  </a:cubicBezTo>
                  <a:cubicBezTo>
                    <a:pt x="1359" y="18"/>
                    <a:pt x="1359" y="18"/>
                    <a:pt x="1359" y="18"/>
                  </a:cubicBezTo>
                  <a:cubicBezTo>
                    <a:pt x="1359" y="17"/>
                    <a:pt x="1359" y="17"/>
                    <a:pt x="1359" y="17"/>
                  </a:cubicBezTo>
                  <a:cubicBezTo>
                    <a:pt x="1359" y="17"/>
                    <a:pt x="1359" y="17"/>
                    <a:pt x="1359" y="17"/>
                  </a:cubicBezTo>
                  <a:cubicBezTo>
                    <a:pt x="1359" y="17"/>
                    <a:pt x="1360" y="17"/>
                    <a:pt x="1360" y="17"/>
                  </a:cubicBezTo>
                  <a:cubicBezTo>
                    <a:pt x="1360" y="17"/>
                    <a:pt x="1360" y="17"/>
                    <a:pt x="1360" y="17"/>
                  </a:cubicBezTo>
                  <a:cubicBezTo>
                    <a:pt x="1360" y="17"/>
                    <a:pt x="1360" y="17"/>
                    <a:pt x="1360" y="17"/>
                  </a:cubicBezTo>
                  <a:cubicBezTo>
                    <a:pt x="1360" y="17"/>
                    <a:pt x="1361" y="17"/>
                    <a:pt x="1361" y="17"/>
                  </a:cubicBezTo>
                  <a:cubicBezTo>
                    <a:pt x="1361" y="17"/>
                    <a:pt x="1361" y="17"/>
                    <a:pt x="1361" y="17"/>
                  </a:cubicBezTo>
                  <a:cubicBezTo>
                    <a:pt x="1361" y="16"/>
                    <a:pt x="1362" y="17"/>
                    <a:pt x="1362" y="16"/>
                  </a:cubicBezTo>
                  <a:cubicBezTo>
                    <a:pt x="1362" y="16"/>
                    <a:pt x="1362" y="16"/>
                    <a:pt x="1362" y="16"/>
                  </a:cubicBezTo>
                  <a:cubicBezTo>
                    <a:pt x="1362" y="16"/>
                    <a:pt x="1363" y="16"/>
                    <a:pt x="1363" y="16"/>
                  </a:cubicBezTo>
                  <a:cubicBezTo>
                    <a:pt x="1363" y="16"/>
                    <a:pt x="1363" y="16"/>
                    <a:pt x="1363" y="16"/>
                  </a:cubicBezTo>
                  <a:cubicBezTo>
                    <a:pt x="1363" y="16"/>
                    <a:pt x="1363" y="16"/>
                    <a:pt x="1363" y="16"/>
                  </a:cubicBezTo>
                  <a:cubicBezTo>
                    <a:pt x="1364" y="16"/>
                    <a:pt x="1364" y="16"/>
                    <a:pt x="1364" y="16"/>
                  </a:cubicBezTo>
                  <a:cubicBezTo>
                    <a:pt x="1365" y="15"/>
                    <a:pt x="1365" y="15"/>
                    <a:pt x="1365" y="15"/>
                  </a:cubicBezTo>
                  <a:cubicBezTo>
                    <a:pt x="1366" y="15"/>
                    <a:pt x="1366" y="16"/>
                    <a:pt x="1367" y="15"/>
                  </a:cubicBezTo>
                  <a:cubicBezTo>
                    <a:pt x="1367" y="15"/>
                    <a:pt x="1368" y="15"/>
                    <a:pt x="1368" y="15"/>
                  </a:cubicBezTo>
                  <a:cubicBezTo>
                    <a:pt x="1369" y="15"/>
                    <a:pt x="1369" y="15"/>
                    <a:pt x="1370" y="15"/>
                  </a:cubicBezTo>
                  <a:cubicBezTo>
                    <a:pt x="1371" y="15"/>
                    <a:pt x="1371" y="15"/>
                    <a:pt x="1371" y="15"/>
                  </a:cubicBezTo>
                  <a:cubicBezTo>
                    <a:pt x="1372" y="16"/>
                    <a:pt x="1373" y="15"/>
                    <a:pt x="1373" y="15"/>
                  </a:cubicBezTo>
                  <a:cubicBezTo>
                    <a:pt x="1373" y="15"/>
                    <a:pt x="1373" y="15"/>
                    <a:pt x="1373" y="15"/>
                  </a:cubicBezTo>
                  <a:cubicBezTo>
                    <a:pt x="1374" y="16"/>
                    <a:pt x="1374" y="16"/>
                    <a:pt x="1374" y="16"/>
                  </a:cubicBezTo>
                  <a:cubicBezTo>
                    <a:pt x="1374" y="16"/>
                    <a:pt x="1375" y="16"/>
                    <a:pt x="1375" y="16"/>
                  </a:cubicBezTo>
                  <a:cubicBezTo>
                    <a:pt x="1375" y="16"/>
                    <a:pt x="1375" y="16"/>
                    <a:pt x="1375" y="16"/>
                  </a:cubicBezTo>
                  <a:cubicBezTo>
                    <a:pt x="1375" y="16"/>
                    <a:pt x="1376" y="16"/>
                    <a:pt x="1376" y="16"/>
                  </a:cubicBezTo>
                  <a:cubicBezTo>
                    <a:pt x="1376" y="16"/>
                    <a:pt x="1376" y="16"/>
                    <a:pt x="1376" y="16"/>
                  </a:cubicBezTo>
                  <a:cubicBezTo>
                    <a:pt x="1376" y="17"/>
                    <a:pt x="1377" y="16"/>
                    <a:pt x="1377" y="17"/>
                  </a:cubicBezTo>
                  <a:cubicBezTo>
                    <a:pt x="1377" y="17"/>
                    <a:pt x="1377" y="17"/>
                    <a:pt x="1377" y="17"/>
                  </a:cubicBezTo>
                  <a:cubicBezTo>
                    <a:pt x="1377" y="17"/>
                    <a:pt x="1378" y="17"/>
                    <a:pt x="1378" y="17"/>
                  </a:cubicBezTo>
                  <a:cubicBezTo>
                    <a:pt x="1378" y="17"/>
                    <a:pt x="1378" y="17"/>
                    <a:pt x="1378" y="17"/>
                  </a:cubicBezTo>
                  <a:cubicBezTo>
                    <a:pt x="1378" y="17"/>
                    <a:pt x="1378" y="17"/>
                    <a:pt x="1378" y="17"/>
                  </a:cubicBezTo>
                  <a:cubicBezTo>
                    <a:pt x="1378" y="17"/>
                    <a:pt x="1378" y="17"/>
                    <a:pt x="1378" y="17"/>
                  </a:cubicBezTo>
                  <a:cubicBezTo>
                    <a:pt x="1379" y="17"/>
                    <a:pt x="1379" y="17"/>
                    <a:pt x="1379" y="18"/>
                  </a:cubicBezTo>
                  <a:cubicBezTo>
                    <a:pt x="1379" y="18"/>
                    <a:pt x="1379" y="18"/>
                    <a:pt x="1379" y="18"/>
                  </a:cubicBezTo>
                  <a:cubicBezTo>
                    <a:pt x="1379" y="18"/>
                    <a:pt x="1379" y="18"/>
                    <a:pt x="1380" y="18"/>
                  </a:cubicBezTo>
                  <a:cubicBezTo>
                    <a:pt x="1379" y="18"/>
                    <a:pt x="1379" y="18"/>
                    <a:pt x="1379" y="18"/>
                  </a:cubicBezTo>
                  <a:cubicBezTo>
                    <a:pt x="1380" y="18"/>
                    <a:pt x="1380" y="18"/>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19"/>
                    <a:pt x="1381" y="19"/>
                  </a:cubicBezTo>
                  <a:cubicBezTo>
                    <a:pt x="1381" y="19"/>
                    <a:pt x="1381"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0"/>
                    <a:pt x="1382" y="20"/>
                    <a:pt x="1382" y="20"/>
                  </a:cubicBezTo>
                  <a:cubicBezTo>
                    <a:pt x="1382" y="21"/>
                    <a:pt x="1382" y="21"/>
                    <a:pt x="1383" y="21"/>
                  </a:cubicBezTo>
                  <a:cubicBezTo>
                    <a:pt x="1383" y="21"/>
                    <a:pt x="1383" y="21"/>
                    <a:pt x="1383" y="21"/>
                  </a:cubicBezTo>
                  <a:cubicBezTo>
                    <a:pt x="1383" y="21"/>
                    <a:pt x="1383" y="21"/>
                    <a:pt x="1383" y="21"/>
                  </a:cubicBezTo>
                  <a:cubicBezTo>
                    <a:pt x="1383" y="21"/>
                    <a:pt x="1383" y="21"/>
                    <a:pt x="1383" y="21"/>
                  </a:cubicBezTo>
                  <a:cubicBezTo>
                    <a:pt x="1383" y="21"/>
                    <a:pt x="1383" y="22"/>
                    <a:pt x="1383" y="22"/>
                  </a:cubicBezTo>
                  <a:cubicBezTo>
                    <a:pt x="1383" y="22"/>
                    <a:pt x="1383" y="22"/>
                    <a:pt x="1383" y="22"/>
                  </a:cubicBezTo>
                  <a:cubicBezTo>
                    <a:pt x="1383" y="22"/>
                    <a:pt x="1384" y="22"/>
                    <a:pt x="1384" y="22"/>
                  </a:cubicBezTo>
                  <a:cubicBezTo>
                    <a:pt x="1384" y="22"/>
                    <a:pt x="1384" y="22"/>
                    <a:pt x="1384" y="22"/>
                  </a:cubicBezTo>
                  <a:cubicBezTo>
                    <a:pt x="1384" y="22"/>
                    <a:pt x="1384" y="23"/>
                    <a:pt x="1384" y="23"/>
                  </a:cubicBezTo>
                  <a:cubicBezTo>
                    <a:pt x="1384" y="23"/>
                    <a:pt x="1384" y="23"/>
                    <a:pt x="1384" y="23"/>
                  </a:cubicBezTo>
                  <a:cubicBezTo>
                    <a:pt x="1384" y="23"/>
                    <a:pt x="1384" y="23"/>
                    <a:pt x="1384" y="24"/>
                  </a:cubicBezTo>
                  <a:cubicBezTo>
                    <a:pt x="1384" y="23"/>
                    <a:pt x="1384" y="23"/>
                    <a:pt x="1384" y="23"/>
                  </a:cubicBezTo>
                  <a:cubicBezTo>
                    <a:pt x="1385" y="24"/>
                    <a:pt x="1384" y="24"/>
                    <a:pt x="1385" y="24"/>
                  </a:cubicBezTo>
                  <a:cubicBezTo>
                    <a:pt x="1385" y="24"/>
                    <a:pt x="1385" y="24"/>
                    <a:pt x="1385" y="24"/>
                  </a:cubicBezTo>
                  <a:cubicBezTo>
                    <a:pt x="1385" y="24"/>
                    <a:pt x="1385" y="25"/>
                    <a:pt x="1385" y="25"/>
                  </a:cubicBezTo>
                  <a:cubicBezTo>
                    <a:pt x="1385" y="25"/>
                    <a:pt x="1385" y="25"/>
                    <a:pt x="1385" y="25"/>
                  </a:cubicBezTo>
                  <a:cubicBezTo>
                    <a:pt x="1385" y="25"/>
                    <a:pt x="1385" y="26"/>
                    <a:pt x="1385" y="26"/>
                  </a:cubicBezTo>
                  <a:cubicBezTo>
                    <a:pt x="1385" y="26"/>
                    <a:pt x="1385" y="26"/>
                    <a:pt x="1385" y="26"/>
                  </a:cubicBezTo>
                  <a:cubicBezTo>
                    <a:pt x="1386" y="26"/>
                    <a:pt x="1385" y="27"/>
                    <a:pt x="1386" y="27"/>
                  </a:cubicBezTo>
                  <a:cubicBezTo>
                    <a:pt x="1386" y="27"/>
                    <a:pt x="1386" y="27"/>
                    <a:pt x="1386" y="27"/>
                  </a:cubicBezTo>
                  <a:cubicBezTo>
                    <a:pt x="1386" y="28"/>
                    <a:pt x="1386" y="29"/>
                    <a:pt x="1386" y="29"/>
                  </a:cubicBezTo>
                  <a:cubicBezTo>
                    <a:pt x="1386" y="29"/>
                    <a:pt x="1386" y="29"/>
                    <a:pt x="1386" y="30"/>
                  </a:cubicBezTo>
                  <a:cubicBezTo>
                    <a:pt x="1386" y="31"/>
                    <a:pt x="1386" y="33"/>
                    <a:pt x="1386" y="35"/>
                  </a:cubicBezTo>
                  <a:cubicBezTo>
                    <a:pt x="1386" y="35"/>
                    <a:pt x="1386" y="35"/>
                    <a:pt x="1386" y="35"/>
                  </a:cubicBezTo>
                  <a:cubicBezTo>
                    <a:pt x="1386" y="36"/>
                    <a:pt x="1386" y="37"/>
                    <a:pt x="1386" y="37"/>
                  </a:cubicBezTo>
                  <a:close/>
                  <a:moveTo>
                    <a:pt x="603" y="123"/>
                  </a:moveTo>
                  <a:cubicBezTo>
                    <a:pt x="603" y="124"/>
                    <a:pt x="603" y="124"/>
                    <a:pt x="603" y="123"/>
                  </a:cubicBezTo>
                  <a:cubicBezTo>
                    <a:pt x="601" y="124"/>
                    <a:pt x="600" y="124"/>
                    <a:pt x="599" y="123"/>
                  </a:cubicBezTo>
                  <a:cubicBezTo>
                    <a:pt x="599" y="124"/>
                    <a:pt x="599" y="124"/>
                    <a:pt x="598" y="123"/>
                  </a:cubicBezTo>
                  <a:cubicBezTo>
                    <a:pt x="598" y="123"/>
                    <a:pt x="597" y="123"/>
                    <a:pt x="597" y="123"/>
                  </a:cubicBezTo>
                  <a:cubicBezTo>
                    <a:pt x="597" y="123"/>
                    <a:pt x="597" y="123"/>
                    <a:pt x="597" y="123"/>
                  </a:cubicBezTo>
                  <a:cubicBezTo>
                    <a:pt x="596" y="123"/>
                    <a:pt x="596" y="123"/>
                    <a:pt x="596" y="123"/>
                  </a:cubicBezTo>
                  <a:cubicBezTo>
                    <a:pt x="596" y="123"/>
                    <a:pt x="596" y="123"/>
                    <a:pt x="596" y="123"/>
                  </a:cubicBezTo>
                  <a:cubicBezTo>
                    <a:pt x="595" y="122"/>
                    <a:pt x="594" y="123"/>
                    <a:pt x="594" y="123"/>
                  </a:cubicBezTo>
                  <a:cubicBezTo>
                    <a:pt x="594" y="126"/>
                    <a:pt x="594" y="129"/>
                    <a:pt x="594" y="132"/>
                  </a:cubicBezTo>
                  <a:cubicBezTo>
                    <a:pt x="594" y="132"/>
                    <a:pt x="594" y="132"/>
                    <a:pt x="595" y="132"/>
                  </a:cubicBezTo>
                  <a:cubicBezTo>
                    <a:pt x="595" y="132"/>
                    <a:pt x="595" y="132"/>
                    <a:pt x="595" y="132"/>
                  </a:cubicBezTo>
                  <a:cubicBezTo>
                    <a:pt x="595" y="133"/>
                    <a:pt x="595" y="133"/>
                    <a:pt x="595" y="133"/>
                  </a:cubicBezTo>
                  <a:cubicBezTo>
                    <a:pt x="596" y="133"/>
                    <a:pt x="596" y="133"/>
                    <a:pt x="597" y="133"/>
                  </a:cubicBezTo>
                  <a:cubicBezTo>
                    <a:pt x="597" y="133"/>
                    <a:pt x="597" y="133"/>
                    <a:pt x="597" y="133"/>
                  </a:cubicBezTo>
                  <a:cubicBezTo>
                    <a:pt x="600" y="133"/>
                    <a:pt x="602" y="133"/>
                    <a:pt x="605" y="133"/>
                  </a:cubicBezTo>
                  <a:cubicBezTo>
                    <a:pt x="605" y="133"/>
                    <a:pt x="605" y="133"/>
                    <a:pt x="605" y="133"/>
                  </a:cubicBezTo>
                  <a:cubicBezTo>
                    <a:pt x="605" y="133"/>
                    <a:pt x="605" y="133"/>
                    <a:pt x="605" y="133"/>
                  </a:cubicBezTo>
                  <a:cubicBezTo>
                    <a:pt x="606" y="132"/>
                    <a:pt x="606" y="133"/>
                    <a:pt x="607" y="132"/>
                  </a:cubicBezTo>
                  <a:cubicBezTo>
                    <a:pt x="607" y="132"/>
                    <a:pt x="607" y="132"/>
                    <a:pt x="607" y="132"/>
                  </a:cubicBezTo>
                  <a:cubicBezTo>
                    <a:pt x="607" y="132"/>
                    <a:pt x="607" y="132"/>
                    <a:pt x="608" y="132"/>
                  </a:cubicBezTo>
                  <a:cubicBezTo>
                    <a:pt x="608" y="132"/>
                    <a:pt x="608" y="132"/>
                    <a:pt x="608" y="132"/>
                  </a:cubicBezTo>
                  <a:cubicBezTo>
                    <a:pt x="608" y="132"/>
                    <a:pt x="608" y="132"/>
                    <a:pt x="608" y="132"/>
                  </a:cubicBezTo>
                  <a:cubicBezTo>
                    <a:pt x="608" y="132"/>
                    <a:pt x="609" y="132"/>
                    <a:pt x="609" y="132"/>
                  </a:cubicBezTo>
                  <a:cubicBezTo>
                    <a:pt x="609" y="132"/>
                    <a:pt x="609" y="132"/>
                    <a:pt x="609" y="132"/>
                  </a:cubicBezTo>
                  <a:cubicBezTo>
                    <a:pt x="609" y="132"/>
                    <a:pt x="609" y="132"/>
                    <a:pt x="609" y="131"/>
                  </a:cubicBezTo>
                  <a:cubicBezTo>
                    <a:pt x="610" y="131"/>
                    <a:pt x="610" y="131"/>
                    <a:pt x="610" y="131"/>
                  </a:cubicBezTo>
                  <a:cubicBezTo>
                    <a:pt x="610" y="131"/>
                    <a:pt x="610" y="131"/>
                    <a:pt x="610" y="131"/>
                  </a:cubicBezTo>
                  <a:cubicBezTo>
                    <a:pt x="610" y="131"/>
                    <a:pt x="610" y="131"/>
                    <a:pt x="610" y="131"/>
                  </a:cubicBezTo>
                  <a:cubicBezTo>
                    <a:pt x="610" y="131"/>
                    <a:pt x="610" y="131"/>
                    <a:pt x="610" y="131"/>
                  </a:cubicBezTo>
                  <a:cubicBezTo>
                    <a:pt x="611" y="131"/>
                    <a:pt x="611" y="131"/>
                    <a:pt x="611" y="131"/>
                  </a:cubicBezTo>
                  <a:cubicBezTo>
                    <a:pt x="611" y="131"/>
                    <a:pt x="611" y="131"/>
                    <a:pt x="611" y="131"/>
                  </a:cubicBezTo>
                  <a:cubicBezTo>
                    <a:pt x="611" y="131"/>
                    <a:pt x="611" y="131"/>
                    <a:pt x="611" y="131"/>
                  </a:cubicBezTo>
                  <a:cubicBezTo>
                    <a:pt x="611" y="131"/>
                    <a:pt x="611" y="131"/>
                    <a:pt x="612" y="130"/>
                  </a:cubicBezTo>
                  <a:cubicBezTo>
                    <a:pt x="612" y="130"/>
                    <a:pt x="612" y="130"/>
                    <a:pt x="612" y="130"/>
                  </a:cubicBezTo>
                  <a:cubicBezTo>
                    <a:pt x="612" y="130"/>
                    <a:pt x="612" y="130"/>
                    <a:pt x="612" y="130"/>
                  </a:cubicBezTo>
                  <a:cubicBezTo>
                    <a:pt x="612" y="130"/>
                    <a:pt x="612" y="130"/>
                    <a:pt x="612" y="130"/>
                  </a:cubicBezTo>
                  <a:cubicBezTo>
                    <a:pt x="612" y="130"/>
                    <a:pt x="612" y="130"/>
                    <a:pt x="613" y="130"/>
                  </a:cubicBezTo>
                  <a:cubicBezTo>
                    <a:pt x="613" y="130"/>
                    <a:pt x="613" y="130"/>
                    <a:pt x="613" y="130"/>
                  </a:cubicBezTo>
                  <a:cubicBezTo>
                    <a:pt x="613" y="129"/>
                    <a:pt x="613" y="130"/>
                    <a:pt x="613" y="129"/>
                  </a:cubicBezTo>
                  <a:cubicBezTo>
                    <a:pt x="613" y="129"/>
                    <a:pt x="613" y="129"/>
                    <a:pt x="613" y="129"/>
                  </a:cubicBezTo>
                  <a:cubicBezTo>
                    <a:pt x="613" y="129"/>
                    <a:pt x="614" y="129"/>
                    <a:pt x="614" y="129"/>
                  </a:cubicBezTo>
                  <a:cubicBezTo>
                    <a:pt x="614" y="129"/>
                    <a:pt x="614" y="129"/>
                    <a:pt x="614" y="129"/>
                  </a:cubicBezTo>
                  <a:cubicBezTo>
                    <a:pt x="614" y="129"/>
                    <a:pt x="614" y="129"/>
                    <a:pt x="614" y="129"/>
                  </a:cubicBezTo>
                  <a:cubicBezTo>
                    <a:pt x="614" y="129"/>
                    <a:pt x="614" y="129"/>
                    <a:pt x="614" y="129"/>
                  </a:cubicBezTo>
                  <a:cubicBezTo>
                    <a:pt x="614" y="128"/>
                    <a:pt x="615" y="128"/>
                    <a:pt x="615" y="128"/>
                  </a:cubicBezTo>
                  <a:cubicBezTo>
                    <a:pt x="615" y="128"/>
                    <a:pt x="615" y="128"/>
                    <a:pt x="615" y="128"/>
                  </a:cubicBezTo>
                  <a:cubicBezTo>
                    <a:pt x="615" y="128"/>
                    <a:pt x="615" y="128"/>
                    <a:pt x="615" y="128"/>
                  </a:cubicBezTo>
                  <a:cubicBezTo>
                    <a:pt x="615" y="128"/>
                    <a:pt x="615" y="128"/>
                    <a:pt x="615" y="128"/>
                  </a:cubicBezTo>
                  <a:cubicBezTo>
                    <a:pt x="616" y="128"/>
                    <a:pt x="616" y="127"/>
                    <a:pt x="616" y="127"/>
                  </a:cubicBezTo>
                  <a:cubicBezTo>
                    <a:pt x="616" y="127"/>
                    <a:pt x="616" y="127"/>
                    <a:pt x="616" y="127"/>
                  </a:cubicBezTo>
                  <a:cubicBezTo>
                    <a:pt x="616" y="127"/>
                    <a:pt x="616" y="127"/>
                    <a:pt x="616" y="127"/>
                  </a:cubicBezTo>
                  <a:cubicBezTo>
                    <a:pt x="616" y="127"/>
                    <a:pt x="616" y="127"/>
                    <a:pt x="616" y="127"/>
                  </a:cubicBezTo>
                  <a:cubicBezTo>
                    <a:pt x="616" y="127"/>
                    <a:pt x="616" y="127"/>
                    <a:pt x="616" y="126"/>
                  </a:cubicBezTo>
                  <a:cubicBezTo>
                    <a:pt x="616" y="127"/>
                    <a:pt x="616" y="127"/>
                    <a:pt x="616" y="127"/>
                  </a:cubicBezTo>
                  <a:cubicBezTo>
                    <a:pt x="617" y="126"/>
                    <a:pt x="617" y="126"/>
                    <a:pt x="617" y="126"/>
                  </a:cubicBezTo>
                  <a:cubicBezTo>
                    <a:pt x="617" y="126"/>
                    <a:pt x="617" y="126"/>
                    <a:pt x="617" y="126"/>
                  </a:cubicBezTo>
                  <a:cubicBezTo>
                    <a:pt x="617" y="126"/>
                    <a:pt x="617" y="126"/>
                    <a:pt x="617" y="126"/>
                  </a:cubicBezTo>
                  <a:cubicBezTo>
                    <a:pt x="617" y="126"/>
                    <a:pt x="617" y="126"/>
                    <a:pt x="617" y="126"/>
                  </a:cubicBezTo>
                  <a:cubicBezTo>
                    <a:pt x="617" y="126"/>
                    <a:pt x="618" y="125"/>
                    <a:pt x="618" y="125"/>
                  </a:cubicBezTo>
                  <a:cubicBezTo>
                    <a:pt x="618" y="125"/>
                    <a:pt x="618" y="125"/>
                    <a:pt x="618" y="125"/>
                  </a:cubicBezTo>
                  <a:cubicBezTo>
                    <a:pt x="618" y="125"/>
                    <a:pt x="618" y="125"/>
                    <a:pt x="618" y="124"/>
                  </a:cubicBezTo>
                  <a:cubicBezTo>
                    <a:pt x="618" y="124"/>
                    <a:pt x="618" y="124"/>
                    <a:pt x="618" y="124"/>
                  </a:cubicBezTo>
                  <a:cubicBezTo>
                    <a:pt x="618" y="124"/>
                    <a:pt x="618" y="124"/>
                    <a:pt x="618" y="124"/>
                  </a:cubicBezTo>
                  <a:cubicBezTo>
                    <a:pt x="618" y="124"/>
                    <a:pt x="618" y="124"/>
                    <a:pt x="618" y="124"/>
                  </a:cubicBezTo>
                  <a:cubicBezTo>
                    <a:pt x="619" y="124"/>
                    <a:pt x="619" y="123"/>
                    <a:pt x="619" y="123"/>
                  </a:cubicBezTo>
                  <a:cubicBezTo>
                    <a:pt x="619" y="123"/>
                    <a:pt x="619" y="123"/>
                    <a:pt x="619" y="123"/>
                  </a:cubicBezTo>
                  <a:cubicBezTo>
                    <a:pt x="619" y="123"/>
                    <a:pt x="619" y="123"/>
                    <a:pt x="620" y="123"/>
                  </a:cubicBezTo>
                  <a:cubicBezTo>
                    <a:pt x="619" y="123"/>
                    <a:pt x="619" y="123"/>
                    <a:pt x="619" y="123"/>
                  </a:cubicBezTo>
                  <a:cubicBezTo>
                    <a:pt x="620" y="123"/>
                    <a:pt x="620" y="122"/>
                    <a:pt x="620" y="122"/>
                  </a:cubicBezTo>
                  <a:cubicBezTo>
                    <a:pt x="620" y="122"/>
                    <a:pt x="620" y="122"/>
                    <a:pt x="620" y="122"/>
                  </a:cubicBezTo>
                  <a:cubicBezTo>
                    <a:pt x="620" y="122"/>
                    <a:pt x="620" y="122"/>
                    <a:pt x="620" y="122"/>
                  </a:cubicBezTo>
                  <a:cubicBezTo>
                    <a:pt x="620" y="122"/>
                    <a:pt x="620" y="122"/>
                    <a:pt x="620" y="122"/>
                  </a:cubicBezTo>
                  <a:cubicBezTo>
                    <a:pt x="621" y="122"/>
                    <a:pt x="620" y="121"/>
                    <a:pt x="621" y="121"/>
                  </a:cubicBezTo>
                  <a:cubicBezTo>
                    <a:pt x="621" y="121"/>
                    <a:pt x="621" y="121"/>
                    <a:pt x="621" y="121"/>
                  </a:cubicBezTo>
                  <a:cubicBezTo>
                    <a:pt x="621" y="121"/>
                    <a:pt x="621" y="120"/>
                    <a:pt x="621" y="120"/>
                  </a:cubicBezTo>
                  <a:cubicBezTo>
                    <a:pt x="621" y="120"/>
                    <a:pt x="621" y="120"/>
                    <a:pt x="621" y="120"/>
                  </a:cubicBezTo>
                  <a:cubicBezTo>
                    <a:pt x="621" y="120"/>
                    <a:pt x="621" y="120"/>
                    <a:pt x="621" y="120"/>
                  </a:cubicBezTo>
                  <a:cubicBezTo>
                    <a:pt x="621" y="120"/>
                    <a:pt x="621" y="120"/>
                    <a:pt x="621" y="120"/>
                  </a:cubicBezTo>
                  <a:cubicBezTo>
                    <a:pt x="622" y="120"/>
                    <a:pt x="621" y="119"/>
                    <a:pt x="622" y="119"/>
                  </a:cubicBezTo>
                  <a:cubicBezTo>
                    <a:pt x="622" y="119"/>
                    <a:pt x="622" y="119"/>
                    <a:pt x="622" y="119"/>
                  </a:cubicBezTo>
                  <a:cubicBezTo>
                    <a:pt x="622" y="119"/>
                    <a:pt x="622" y="119"/>
                    <a:pt x="622" y="119"/>
                  </a:cubicBezTo>
                  <a:cubicBezTo>
                    <a:pt x="622" y="119"/>
                    <a:pt x="622" y="119"/>
                    <a:pt x="622" y="119"/>
                  </a:cubicBezTo>
                  <a:cubicBezTo>
                    <a:pt x="622" y="118"/>
                    <a:pt x="622" y="118"/>
                    <a:pt x="622" y="118"/>
                  </a:cubicBezTo>
                  <a:cubicBezTo>
                    <a:pt x="622" y="118"/>
                    <a:pt x="622" y="118"/>
                    <a:pt x="622" y="118"/>
                  </a:cubicBezTo>
                  <a:cubicBezTo>
                    <a:pt x="623" y="118"/>
                    <a:pt x="622" y="117"/>
                    <a:pt x="623" y="117"/>
                  </a:cubicBezTo>
                  <a:cubicBezTo>
                    <a:pt x="623" y="117"/>
                    <a:pt x="623" y="117"/>
                    <a:pt x="623" y="117"/>
                  </a:cubicBezTo>
                  <a:cubicBezTo>
                    <a:pt x="623" y="117"/>
                    <a:pt x="623" y="117"/>
                    <a:pt x="623" y="116"/>
                  </a:cubicBezTo>
                  <a:cubicBezTo>
                    <a:pt x="623" y="116"/>
                    <a:pt x="623" y="116"/>
                    <a:pt x="623" y="116"/>
                  </a:cubicBezTo>
                  <a:cubicBezTo>
                    <a:pt x="623" y="116"/>
                    <a:pt x="623" y="116"/>
                    <a:pt x="623" y="116"/>
                  </a:cubicBezTo>
                  <a:cubicBezTo>
                    <a:pt x="623" y="116"/>
                    <a:pt x="623" y="116"/>
                    <a:pt x="623" y="116"/>
                  </a:cubicBezTo>
                  <a:cubicBezTo>
                    <a:pt x="624" y="116"/>
                    <a:pt x="624" y="115"/>
                    <a:pt x="624" y="115"/>
                  </a:cubicBezTo>
                  <a:cubicBezTo>
                    <a:pt x="624" y="115"/>
                    <a:pt x="624" y="115"/>
                    <a:pt x="624" y="115"/>
                  </a:cubicBezTo>
                  <a:cubicBezTo>
                    <a:pt x="624" y="115"/>
                    <a:pt x="624" y="115"/>
                    <a:pt x="624" y="114"/>
                  </a:cubicBezTo>
                  <a:cubicBezTo>
                    <a:pt x="624" y="114"/>
                    <a:pt x="624" y="114"/>
                    <a:pt x="624" y="114"/>
                  </a:cubicBezTo>
                  <a:cubicBezTo>
                    <a:pt x="624" y="114"/>
                    <a:pt x="624" y="114"/>
                    <a:pt x="624" y="114"/>
                  </a:cubicBezTo>
                  <a:cubicBezTo>
                    <a:pt x="624" y="113"/>
                    <a:pt x="624" y="113"/>
                    <a:pt x="624" y="113"/>
                  </a:cubicBezTo>
                  <a:cubicBezTo>
                    <a:pt x="624" y="113"/>
                    <a:pt x="624" y="113"/>
                    <a:pt x="624" y="113"/>
                  </a:cubicBezTo>
                  <a:cubicBezTo>
                    <a:pt x="625" y="113"/>
                    <a:pt x="625" y="113"/>
                    <a:pt x="625" y="113"/>
                  </a:cubicBezTo>
                  <a:cubicBezTo>
                    <a:pt x="625" y="113"/>
                    <a:pt x="625" y="113"/>
                    <a:pt x="625" y="113"/>
                  </a:cubicBezTo>
                  <a:cubicBezTo>
                    <a:pt x="625" y="112"/>
                    <a:pt x="625" y="112"/>
                    <a:pt x="625" y="112"/>
                  </a:cubicBezTo>
                  <a:cubicBezTo>
                    <a:pt x="625" y="112"/>
                    <a:pt x="625" y="112"/>
                    <a:pt x="625" y="112"/>
                  </a:cubicBezTo>
                  <a:cubicBezTo>
                    <a:pt x="625" y="112"/>
                    <a:pt x="625" y="112"/>
                    <a:pt x="625" y="112"/>
                  </a:cubicBezTo>
                  <a:cubicBezTo>
                    <a:pt x="625" y="111"/>
                    <a:pt x="625" y="111"/>
                    <a:pt x="625" y="111"/>
                  </a:cubicBezTo>
                  <a:cubicBezTo>
                    <a:pt x="625" y="111"/>
                    <a:pt x="625" y="111"/>
                    <a:pt x="625" y="111"/>
                  </a:cubicBezTo>
                  <a:cubicBezTo>
                    <a:pt x="626" y="111"/>
                    <a:pt x="626" y="110"/>
                    <a:pt x="626" y="110"/>
                  </a:cubicBezTo>
                  <a:cubicBezTo>
                    <a:pt x="626" y="110"/>
                    <a:pt x="626" y="110"/>
                    <a:pt x="626" y="110"/>
                  </a:cubicBezTo>
                  <a:cubicBezTo>
                    <a:pt x="626" y="110"/>
                    <a:pt x="626" y="110"/>
                    <a:pt x="626" y="110"/>
                  </a:cubicBezTo>
                  <a:cubicBezTo>
                    <a:pt x="626" y="110"/>
                    <a:pt x="626" y="109"/>
                    <a:pt x="626" y="109"/>
                  </a:cubicBezTo>
                  <a:cubicBezTo>
                    <a:pt x="626" y="109"/>
                    <a:pt x="626" y="109"/>
                    <a:pt x="626" y="109"/>
                  </a:cubicBezTo>
                  <a:cubicBezTo>
                    <a:pt x="626" y="109"/>
                    <a:pt x="626" y="109"/>
                    <a:pt x="626" y="108"/>
                  </a:cubicBezTo>
                  <a:cubicBezTo>
                    <a:pt x="626" y="108"/>
                    <a:pt x="626" y="108"/>
                    <a:pt x="626" y="108"/>
                  </a:cubicBezTo>
                  <a:cubicBezTo>
                    <a:pt x="627" y="108"/>
                    <a:pt x="627" y="108"/>
                    <a:pt x="627" y="108"/>
                  </a:cubicBezTo>
                  <a:cubicBezTo>
                    <a:pt x="627" y="108"/>
                    <a:pt x="627" y="108"/>
                    <a:pt x="627" y="107"/>
                  </a:cubicBezTo>
                  <a:cubicBezTo>
                    <a:pt x="627" y="107"/>
                    <a:pt x="627" y="107"/>
                    <a:pt x="627" y="107"/>
                  </a:cubicBezTo>
                  <a:cubicBezTo>
                    <a:pt x="627" y="107"/>
                    <a:pt x="627" y="107"/>
                    <a:pt x="627" y="106"/>
                  </a:cubicBezTo>
                  <a:cubicBezTo>
                    <a:pt x="627" y="106"/>
                    <a:pt x="627" y="106"/>
                    <a:pt x="627" y="106"/>
                  </a:cubicBezTo>
                  <a:cubicBezTo>
                    <a:pt x="627" y="106"/>
                    <a:pt x="627" y="106"/>
                    <a:pt x="628" y="106"/>
                  </a:cubicBezTo>
                  <a:cubicBezTo>
                    <a:pt x="628" y="106"/>
                    <a:pt x="628" y="106"/>
                    <a:pt x="628" y="106"/>
                  </a:cubicBezTo>
                  <a:cubicBezTo>
                    <a:pt x="628" y="105"/>
                    <a:pt x="628" y="105"/>
                    <a:pt x="628" y="105"/>
                  </a:cubicBezTo>
                  <a:cubicBezTo>
                    <a:pt x="628" y="105"/>
                    <a:pt x="628" y="105"/>
                    <a:pt x="628" y="105"/>
                  </a:cubicBezTo>
                  <a:cubicBezTo>
                    <a:pt x="628" y="104"/>
                    <a:pt x="628" y="104"/>
                    <a:pt x="628" y="104"/>
                  </a:cubicBezTo>
                  <a:cubicBezTo>
                    <a:pt x="628" y="104"/>
                    <a:pt x="628" y="104"/>
                    <a:pt x="628" y="104"/>
                  </a:cubicBezTo>
                  <a:cubicBezTo>
                    <a:pt x="629" y="104"/>
                    <a:pt x="628" y="103"/>
                    <a:pt x="629" y="103"/>
                  </a:cubicBezTo>
                  <a:cubicBezTo>
                    <a:pt x="629" y="103"/>
                    <a:pt x="629" y="103"/>
                    <a:pt x="629" y="103"/>
                  </a:cubicBezTo>
                  <a:cubicBezTo>
                    <a:pt x="629" y="103"/>
                    <a:pt x="629" y="102"/>
                    <a:pt x="629" y="102"/>
                  </a:cubicBezTo>
                  <a:cubicBezTo>
                    <a:pt x="629" y="102"/>
                    <a:pt x="629" y="102"/>
                    <a:pt x="629" y="102"/>
                  </a:cubicBezTo>
                  <a:cubicBezTo>
                    <a:pt x="629" y="102"/>
                    <a:pt x="629" y="101"/>
                    <a:pt x="629" y="101"/>
                  </a:cubicBezTo>
                  <a:cubicBezTo>
                    <a:pt x="629" y="101"/>
                    <a:pt x="629" y="101"/>
                    <a:pt x="629" y="101"/>
                  </a:cubicBezTo>
                  <a:cubicBezTo>
                    <a:pt x="630" y="101"/>
                    <a:pt x="630" y="101"/>
                    <a:pt x="630" y="100"/>
                  </a:cubicBezTo>
                  <a:cubicBezTo>
                    <a:pt x="630" y="100"/>
                    <a:pt x="630" y="100"/>
                    <a:pt x="630" y="100"/>
                  </a:cubicBezTo>
                  <a:cubicBezTo>
                    <a:pt x="630" y="100"/>
                    <a:pt x="630" y="100"/>
                    <a:pt x="630" y="99"/>
                  </a:cubicBezTo>
                  <a:cubicBezTo>
                    <a:pt x="630" y="99"/>
                    <a:pt x="630" y="99"/>
                    <a:pt x="630" y="99"/>
                  </a:cubicBezTo>
                  <a:cubicBezTo>
                    <a:pt x="630" y="99"/>
                    <a:pt x="630" y="99"/>
                    <a:pt x="630" y="99"/>
                  </a:cubicBezTo>
                  <a:cubicBezTo>
                    <a:pt x="630" y="99"/>
                    <a:pt x="630" y="98"/>
                    <a:pt x="630" y="98"/>
                  </a:cubicBezTo>
                  <a:cubicBezTo>
                    <a:pt x="631" y="98"/>
                    <a:pt x="631" y="98"/>
                    <a:pt x="631" y="98"/>
                  </a:cubicBezTo>
                  <a:cubicBezTo>
                    <a:pt x="631" y="98"/>
                    <a:pt x="631" y="98"/>
                    <a:pt x="631" y="98"/>
                  </a:cubicBezTo>
                  <a:cubicBezTo>
                    <a:pt x="631" y="97"/>
                    <a:pt x="631" y="97"/>
                    <a:pt x="631" y="97"/>
                  </a:cubicBezTo>
                  <a:cubicBezTo>
                    <a:pt x="631" y="97"/>
                    <a:pt x="631" y="97"/>
                    <a:pt x="631" y="97"/>
                  </a:cubicBezTo>
                  <a:cubicBezTo>
                    <a:pt x="631" y="96"/>
                    <a:pt x="631" y="96"/>
                    <a:pt x="631" y="96"/>
                  </a:cubicBezTo>
                  <a:cubicBezTo>
                    <a:pt x="631" y="96"/>
                    <a:pt x="631" y="96"/>
                    <a:pt x="631" y="96"/>
                  </a:cubicBezTo>
                  <a:cubicBezTo>
                    <a:pt x="632" y="96"/>
                    <a:pt x="632" y="95"/>
                    <a:pt x="632" y="95"/>
                  </a:cubicBezTo>
                  <a:cubicBezTo>
                    <a:pt x="632" y="95"/>
                    <a:pt x="632" y="95"/>
                    <a:pt x="632" y="95"/>
                  </a:cubicBezTo>
                  <a:cubicBezTo>
                    <a:pt x="632" y="95"/>
                    <a:pt x="632" y="95"/>
                    <a:pt x="632" y="95"/>
                  </a:cubicBezTo>
                  <a:cubicBezTo>
                    <a:pt x="632" y="95"/>
                    <a:pt x="632" y="94"/>
                    <a:pt x="632" y="94"/>
                  </a:cubicBezTo>
                  <a:cubicBezTo>
                    <a:pt x="632" y="94"/>
                    <a:pt x="632" y="94"/>
                    <a:pt x="632" y="94"/>
                  </a:cubicBezTo>
                  <a:cubicBezTo>
                    <a:pt x="632" y="94"/>
                    <a:pt x="632" y="94"/>
                    <a:pt x="632" y="93"/>
                  </a:cubicBezTo>
                  <a:cubicBezTo>
                    <a:pt x="632" y="93"/>
                    <a:pt x="632" y="93"/>
                    <a:pt x="632" y="93"/>
                  </a:cubicBezTo>
                  <a:cubicBezTo>
                    <a:pt x="632" y="93"/>
                    <a:pt x="632" y="93"/>
                    <a:pt x="632" y="93"/>
                  </a:cubicBezTo>
                  <a:cubicBezTo>
                    <a:pt x="633" y="93"/>
                    <a:pt x="633" y="93"/>
                    <a:pt x="633" y="92"/>
                  </a:cubicBezTo>
                  <a:cubicBezTo>
                    <a:pt x="633" y="92"/>
                    <a:pt x="633" y="92"/>
                    <a:pt x="633" y="92"/>
                  </a:cubicBezTo>
                  <a:cubicBezTo>
                    <a:pt x="633" y="92"/>
                    <a:pt x="633" y="92"/>
                    <a:pt x="633" y="92"/>
                  </a:cubicBezTo>
                  <a:cubicBezTo>
                    <a:pt x="633" y="91"/>
                    <a:pt x="633" y="91"/>
                    <a:pt x="633" y="91"/>
                  </a:cubicBezTo>
                  <a:cubicBezTo>
                    <a:pt x="633" y="91"/>
                    <a:pt x="633" y="91"/>
                    <a:pt x="633" y="91"/>
                  </a:cubicBezTo>
                  <a:cubicBezTo>
                    <a:pt x="633" y="91"/>
                    <a:pt x="633" y="91"/>
                    <a:pt x="633" y="91"/>
                  </a:cubicBezTo>
                  <a:cubicBezTo>
                    <a:pt x="633" y="91"/>
                    <a:pt x="633" y="91"/>
                    <a:pt x="633" y="91"/>
                  </a:cubicBezTo>
                  <a:cubicBezTo>
                    <a:pt x="634" y="90"/>
                    <a:pt x="634" y="90"/>
                    <a:pt x="634" y="90"/>
                  </a:cubicBezTo>
                  <a:cubicBezTo>
                    <a:pt x="634" y="90"/>
                    <a:pt x="634" y="90"/>
                    <a:pt x="634" y="90"/>
                  </a:cubicBezTo>
                  <a:cubicBezTo>
                    <a:pt x="634" y="90"/>
                    <a:pt x="634" y="90"/>
                    <a:pt x="634" y="90"/>
                  </a:cubicBezTo>
                  <a:cubicBezTo>
                    <a:pt x="634" y="89"/>
                    <a:pt x="634" y="89"/>
                    <a:pt x="634" y="89"/>
                  </a:cubicBezTo>
                  <a:cubicBezTo>
                    <a:pt x="634" y="89"/>
                    <a:pt x="634" y="89"/>
                    <a:pt x="634" y="89"/>
                  </a:cubicBezTo>
                  <a:cubicBezTo>
                    <a:pt x="634" y="89"/>
                    <a:pt x="634" y="88"/>
                    <a:pt x="634" y="88"/>
                  </a:cubicBezTo>
                  <a:cubicBezTo>
                    <a:pt x="634" y="88"/>
                    <a:pt x="634" y="88"/>
                    <a:pt x="634" y="88"/>
                  </a:cubicBezTo>
                  <a:cubicBezTo>
                    <a:pt x="635" y="88"/>
                    <a:pt x="635" y="88"/>
                    <a:pt x="635" y="88"/>
                  </a:cubicBezTo>
                  <a:cubicBezTo>
                    <a:pt x="635" y="88"/>
                    <a:pt x="635" y="87"/>
                    <a:pt x="635" y="87"/>
                  </a:cubicBezTo>
                  <a:cubicBezTo>
                    <a:pt x="635" y="87"/>
                    <a:pt x="635" y="87"/>
                    <a:pt x="635" y="87"/>
                  </a:cubicBezTo>
                  <a:cubicBezTo>
                    <a:pt x="635" y="87"/>
                    <a:pt x="635" y="86"/>
                    <a:pt x="635" y="86"/>
                  </a:cubicBezTo>
                  <a:cubicBezTo>
                    <a:pt x="635" y="86"/>
                    <a:pt x="635" y="86"/>
                    <a:pt x="635" y="86"/>
                  </a:cubicBezTo>
                  <a:cubicBezTo>
                    <a:pt x="635" y="86"/>
                    <a:pt x="635" y="86"/>
                    <a:pt x="636" y="85"/>
                  </a:cubicBezTo>
                  <a:cubicBezTo>
                    <a:pt x="636" y="85"/>
                    <a:pt x="636" y="85"/>
                    <a:pt x="636" y="85"/>
                  </a:cubicBezTo>
                  <a:cubicBezTo>
                    <a:pt x="636" y="85"/>
                    <a:pt x="636" y="85"/>
                    <a:pt x="636" y="84"/>
                  </a:cubicBezTo>
                  <a:cubicBezTo>
                    <a:pt x="636" y="84"/>
                    <a:pt x="636" y="84"/>
                    <a:pt x="636" y="84"/>
                  </a:cubicBezTo>
                  <a:cubicBezTo>
                    <a:pt x="636" y="84"/>
                    <a:pt x="636" y="84"/>
                    <a:pt x="636" y="84"/>
                  </a:cubicBezTo>
                  <a:cubicBezTo>
                    <a:pt x="636" y="84"/>
                    <a:pt x="636" y="84"/>
                    <a:pt x="636" y="84"/>
                  </a:cubicBezTo>
                  <a:cubicBezTo>
                    <a:pt x="637" y="83"/>
                    <a:pt x="636" y="83"/>
                    <a:pt x="637" y="83"/>
                  </a:cubicBezTo>
                  <a:cubicBezTo>
                    <a:pt x="637" y="83"/>
                    <a:pt x="637" y="83"/>
                    <a:pt x="637" y="83"/>
                  </a:cubicBezTo>
                  <a:cubicBezTo>
                    <a:pt x="637" y="83"/>
                    <a:pt x="637" y="82"/>
                    <a:pt x="637" y="82"/>
                  </a:cubicBezTo>
                  <a:cubicBezTo>
                    <a:pt x="637" y="82"/>
                    <a:pt x="637" y="82"/>
                    <a:pt x="637" y="82"/>
                  </a:cubicBezTo>
                  <a:cubicBezTo>
                    <a:pt x="637" y="82"/>
                    <a:pt x="637" y="81"/>
                    <a:pt x="637" y="81"/>
                  </a:cubicBezTo>
                  <a:cubicBezTo>
                    <a:pt x="637" y="81"/>
                    <a:pt x="637" y="81"/>
                    <a:pt x="637" y="81"/>
                  </a:cubicBezTo>
                  <a:cubicBezTo>
                    <a:pt x="638" y="81"/>
                    <a:pt x="638" y="80"/>
                    <a:pt x="638" y="80"/>
                  </a:cubicBezTo>
                  <a:cubicBezTo>
                    <a:pt x="638" y="80"/>
                    <a:pt x="638" y="80"/>
                    <a:pt x="638" y="80"/>
                  </a:cubicBezTo>
                  <a:cubicBezTo>
                    <a:pt x="638" y="80"/>
                    <a:pt x="638" y="79"/>
                    <a:pt x="638" y="79"/>
                  </a:cubicBezTo>
                  <a:cubicBezTo>
                    <a:pt x="638" y="79"/>
                    <a:pt x="638" y="79"/>
                    <a:pt x="638" y="79"/>
                  </a:cubicBezTo>
                  <a:cubicBezTo>
                    <a:pt x="638" y="79"/>
                    <a:pt x="638" y="79"/>
                    <a:pt x="638" y="78"/>
                  </a:cubicBezTo>
                  <a:cubicBezTo>
                    <a:pt x="638" y="78"/>
                    <a:pt x="638" y="78"/>
                    <a:pt x="638" y="78"/>
                  </a:cubicBezTo>
                  <a:cubicBezTo>
                    <a:pt x="639" y="78"/>
                    <a:pt x="639" y="78"/>
                    <a:pt x="639" y="77"/>
                  </a:cubicBezTo>
                  <a:cubicBezTo>
                    <a:pt x="639" y="77"/>
                    <a:pt x="639" y="77"/>
                    <a:pt x="639" y="77"/>
                  </a:cubicBezTo>
                  <a:cubicBezTo>
                    <a:pt x="639" y="77"/>
                    <a:pt x="639" y="77"/>
                    <a:pt x="639" y="77"/>
                  </a:cubicBezTo>
                  <a:cubicBezTo>
                    <a:pt x="639" y="77"/>
                    <a:pt x="639" y="76"/>
                    <a:pt x="639" y="76"/>
                  </a:cubicBezTo>
                  <a:cubicBezTo>
                    <a:pt x="639" y="76"/>
                    <a:pt x="639" y="76"/>
                    <a:pt x="639" y="76"/>
                  </a:cubicBezTo>
                  <a:cubicBezTo>
                    <a:pt x="639" y="76"/>
                    <a:pt x="639" y="76"/>
                    <a:pt x="639" y="76"/>
                  </a:cubicBezTo>
                  <a:cubicBezTo>
                    <a:pt x="640" y="76"/>
                    <a:pt x="640" y="75"/>
                    <a:pt x="640" y="75"/>
                  </a:cubicBezTo>
                  <a:cubicBezTo>
                    <a:pt x="640" y="75"/>
                    <a:pt x="640" y="75"/>
                    <a:pt x="640" y="75"/>
                  </a:cubicBezTo>
                  <a:cubicBezTo>
                    <a:pt x="640" y="75"/>
                    <a:pt x="640" y="75"/>
                    <a:pt x="640" y="75"/>
                  </a:cubicBezTo>
                  <a:cubicBezTo>
                    <a:pt x="640" y="74"/>
                    <a:pt x="640" y="74"/>
                    <a:pt x="640" y="74"/>
                  </a:cubicBezTo>
                  <a:cubicBezTo>
                    <a:pt x="640" y="74"/>
                    <a:pt x="640" y="74"/>
                    <a:pt x="640" y="74"/>
                  </a:cubicBezTo>
                  <a:cubicBezTo>
                    <a:pt x="640" y="74"/>
                    <a:pt x="640" y="73"/>
                    <a:pt x="640" y="73"/>
                  </a:cubicBezTo>
                  <a:cubicBezTo>
                    <a:pt x="640" y="73"/>
                    <a:pt x="640" y="73"/>
                    <a:pt x="640" y="73"/>
                  </a:cubicBezTo>
                  <a:cubicBezTo>
                    <a:pt x="640" y="73"/>
                    <a:pt x="640" y="73"/>
                    <a:pt x="640" y="73"/>
                  </a:cubicBezTo>
                  <a:cubicBezTo>
                    <a:pt x="641" y="73"/>
                    <a:pt x="641" y="72"/>
                    <a:pt x="641" y="72"/>
                  </a:cubicBezTo>
                  <a:cubicBezTo>
                    <a:pt x="641" y="72"/>
                    <a:pt x="641" y="72"/>
                    <a:pt x="641" y="72"/>
                  </a:cubicBezTo>
                  <a:cubicBezTo>
                    <a:pt x="641" y="72"/>
                    <a:pt x="641" y="72"/>
                    <a:pt x="641" y="71"/>
                  </a:cubicBezTo>
                  <a:cubicBezTo>
                    <a:pt x="641" y="71"/>
                    <a:pt x="641" y="71"/>
                    <a:pt x="641" y="71"/>
                  </a:cubicBezTo>
                  <a:cubicBezTo>
                    <a:pt x="641" y="71"/>
                    <a:pt x="641" y="71"/>
                    <a:pt x="641" y="71"/>
                  </a:cubicBezTo>
                  <a:cubicBezTo>
                    <a:pt x="641" y="71"/>
                    <a:pt x="641" y="71"/>
                    <a:pt x="641" y="70"/>
                  </a:cubicBezTo>
                  <a:cubicBezTo>
                    <a:pt x="641" y="71"/>
                    <a:pt x="641" y="71"/>
                    <a:pt x="641" y="71"/>
                  </a:cubicBezTo>
                  <a:cubicBezTo>
                    <a:pt x="642" y="70"/>
                    <a:pt x="642" y="70"/>
                    <a:pt x="642" y="70"/>
                  </a:cubicBezTo>
                  <a:cubicBezTo>
                    <a:pt x="642" y="70"/>
                    <a:pt x="642" y="70"/>
                    <a:pt x="642" y="70"/>
                  </a:cubicBezTo>
                  <a:cubicBezTo>
                    <a:pt x="642" y="69"/>
                    <a:pt x="642" y="69"/>
                    <a:pt x="642" y="69"/>
                  </a:cubicBezTo>
                  <a:cubicBezTo>
                    <a:pt x="642" y="69"/>
                    <a:pt x="642" y="69"/>
                    <a:pt x="642" y="69"/>
                  </a:cubicBezTo>
                  <a:cubicBezTo>
                    <a:pt x="642" y="69"/>
                    <a:pt x="642" y="69"/>
                    <a:pt x="642" y="69"/>
                  </a:cubicBezTo>
                  <a:cubicBezTo>
                    <a:pt x="643" y="69"/>
                    <a:pt x="642" y="68"/>
                    <a:pt x="643" y="68"/>
                  </a:cubicBezTo>
                  <a:cubicBezTo>
                    <a:pt x="643" y="68"/>
                    <a:pt x="643" y="68"/>
                    <a:pt x="643" y="68"/>
                  </a:cubicBezTo>
                  <a:cubicBezTo>
                    <a:pt x="643" y="68"/>
                    <a:pt x="643" y="67"/>
                    <a:pt x="643" y="67"/>
                  </a:cubicBezTo>
                  <a:cubicBezTo>
                    <a:pt x="643" y="67"/>
                    <a:pt x="643" y="67"/>
                    <a:pt x="643" y="67"/>
                  </a:cubicBezTo>
                  <a:cubicBezTo>
                    <a:pt x="643" y="67"/>
                    <a:pt x="643" y="66"/>
                    <a:pt x="643" y="66"/>
                  </a:cubicBezTo>
                  <a:cubicBezTo>
                    <a:pt x="643" y="66"/>
                    <a:pt x="643" y="66"/>
                    <a:pt x="643" y="66"/>
                  </a:cubicBezTo>
                  <a:cubicBezTo>
                    <a:pt x="643" y="66"/>
                    <a:pt x="643" y="65"/>
                    <a:pt x="644" y="65"/>
                  </a:cubicBezTo>
                  <a:cubicBezTo>
                    <a:pt x="644" y="65"/>
                    <a:pt x="644" y="65"/>
                    <a:pt x="644" y="65"/>
                  </a:cubicBezTo>
                  <a:cubicBezTo>
                    <a:pt x="644" y="65"/>
                    <a:pt x="644" y="65"/>
                    <a:pt x="644" y="64"/>
                  </a:cubicBezTo>
                  <a:cubicBezTo>
                    <a:pt x="644" y="64"/>
                    <a:pt x="644" y="64"/>
                    <a:pt x="644" y="64"/>
                  </a:cubicBezTo>
                  <a:cubicBezTo>
                    <a:pt x="644" y="64"/>
                    <a:pt x="644" y="64"/>
                    <a:pt x="644" y="64"/>
                  </a:cubicBezTo>
                  <a:cubicBezTo>
                    <a:pt x="644" y="64"/>
                    <a:pt x="644" y="64"/>
                    <a:pt x="644" y="64"/>
                  </a:cubicBezTo>
                  <a:cubicBezTo>
                    <a:pt x="645" y="63"/>
                    <a:pt x="644" y="63"/>
                    <a:pt x="645" y="63"/>
                  </a:cubicBezTo>
                  <a:cubicBezTo>
                    <a:pt x="645" y="63"/>
                    <a:pt x="645" y="63"/>
                    <a:pt x="645" y="63"/>
                  </a:cubicBezTo>
                  <a:cubicBezTo>
                    <a:pt x="645" y="62"/>
                    <a:pt x="645" y="62"/>
                    <a:pt x="645" y="62"/>
                  </a:cubicBezTo>
                  <a:cubicBezTo>
                    <a:pt x="645" y="62"/>
                    <a:pt x="645" y="62"/>
                    <a:pt x="645" y="62"/>
                  </a:cubicBezTo>
                  <a:cubicBezTo>
                    <a:pt x="645" y="62"/>
                    <a:pt x="645" y="61"/>
                    <a:pt x="645" y="61"/>
                  </a:cubicBezTo>
                  <a:cubicBezTo>
                    <a:pt x="645" y="61"/>
                    <a:pt x="645" y="61"/>
                    <a:pt x="645" y="61"/>
                  </a:cubicBezTo>
                  <a:cubicBezTo>
                    <a:pt x="646" y="61"/>
                    <a:pt x="646" y="60"/>
                    <a:pt x="646" y="60"/>
                  </a:cubicBezTo>
                  <a:cubicBezTo>
                    <a:pt x="646" y="60"/>
                    <a:pt x="646" y="60"/>
                    <a:pt x="646" y="60"/>
                  </a:cubicBezTo>
                  <a:cubicBezTo>
                    <a:pt x="646" y="60"/>
                    <a:pt x="646" y="59"/>
                    <a:pt x="646" y="59"/>
                  </a:cubicBezTo>
                  <a:cubicBezTo>
                    <a:pt x="646" y="59"/>
                    <a:pt x="646" y="59"/>
                    <a:pt x="646" y="59"/>
                  </a:cubicBezTo>
                  <a:cubicBezTo>
                    <a:pt x="646" y="59"/>
                    <a:pt x="646" y="58"/>
                    <a:pt x="646" y="58"/>
                  </a:cubicBezTo>
                  <a:cubicBezTo>
                    <a:pt x="646" y="58"/>
                    <a:pt x="646" y="58"/>
                    <a:pt x="646" y="58"/>
                  </a:cubicBezTo>
                  <a:cubicBezTo>
                    <a:pt x="647" y="58"/>
                    <a:pt x="647" y="57"/>
                    <a:pt x="647" y="57"/>
                  </a:cubicBezTo>
                  <a:cubicBezTo>
                    <a:pt x="647" y="57"/>
                    <a:pt x="647" y="57"/>
                    <a:pt x="647" y="57"/>
                  </a:cubicBezTo>
                  <a:cubicBezTo>
                    <a:pt x="647" y="57"/>
                    <a:pt x="647" y="57"/>
                    <a:pt x="647" y="56"/>
                  </a:cubicBezTo>
                  <a:cubicBezTo>
                    <a:pt x="647" y="56"/>
                    <a:pt x="647" y="56"/>
                    <a:pt x="647" y="56"/>
                  </a:cubicBezTo>
                  <a:cubicBezTo>
                    <a:pt x="647" y="56"/>
                    <a:pt x="647" y="56"/>
                    <a:pt x="647" y="56"/>
                  </a:cubicBezTo>
                  <a:cubicBezTo>
                    <a:pt x="647" y="56"/>
                    <a:pt x="647" y="56"/>
                    <a:pt x="647" y="56"/>
                  </a:cubicBezTo>
                  <a:cubicBezTo>
                    <a:pt x="648" y="55"/>
                    <a:pt x="648" y="55"/>
                    <a:pt x="648" y="55"/>
                  </a:cubicBezTo>
                  <a:cubicBezTo>
                    <a:pt x="648" y="55"/>
                    <a:pt x="648" y="55"/>
                    <a:pt x="648" y="55"/>
                  </a:cubicBezTo>
                  <a:cubicBezTo>
                    <a:pt x="648" y="55"/>
                    <a:pt x="648" y="55"/>
                    <a:pt x="648" y="55"/>
                  </a:cubicBezTo>
                  <a:cubicBezTo>
                    <a:pt x="648" y="54"/>
                    <a:pt x="648" y="54"/>
                    <a:pt x="648" y="54"/>
                  </a:cubicBezTo>
                  <a:cubicBezTo>
                    <a:pt x="648" y="54"/>
                    <a:pt x="648" y="54"/>
                    <a:pt x="648" y="54"/>
                  </a:cubicBezTo>
                  <a:cubicBezTo>
                    <a:pt x="648" y="54"/>
                    <a:pt x="648" y="53"/>
                    <a:pt x="648" y="53"/>
                  </a:cubicBezTo>
                  <a:cubicBezTo>
                    <a:pt x="648" y="53"/>
                    <a:pt x="648" y="53"/>
                    <a:pt x="648" y="53"/>
                  </a:cubicBezTo>
                  <a:cubicBezTo>
                    <a:pt x="648" y="53"/>
                    <a:pt x="648" y="53"/>
                    <a:pt x="648" y="53"/>
                  </a:cubicBezTo>
                  <a:cubicBezTo>
                    <a:pt x="649" y="53"/>
                    <a:pt x="649" y="52"/>
                    <a:pt x="649" y="52"/>
                  </a:cubicBezTo>
                  <a:cubicBezTo>
                    <a:pt x="649" y="52"/>
                    <a:pt x="649" y="52"/>
                    <a:pt x="649" y="52"/>
                  </a:cubicBezTo>
                  <a:cubicBezTo>
                    <a:pt x="649" y="52"/>
                    <a:pt x="649" y="52"/>
                    <a:pt x="649" y="51"/>
                  </a:cubicBezTo>
                  <a:cubicBezTo>
                    <a:pt x="649" y="51"/>
                    <a:pt x="649" y="51"/>
                    <a:pt x="649" y="51"/>
                  </a:cubicBezTo>
                  <a:cubicBezTo>
                    <a:pt x="649" y="51"/>
                    <a:pt x="649" y="51"/>
                    <a:pt x="649" y="51"/>
                  </a:cubicBezTo>
                  <a:cubicBezTo>
                    <a:pt x="649" y="51"/>
                    <a:pt x="649" y="51"/>
                    <a:pt x="649" y="50"/>
                  </a:cubicBezTo>
                  <a:cubicBezTo>
                    <a:pt x="649" y="50"/>
                    <a:pt x="649" y="50"/>
                    <a:pt x="649" y="50"/>
                  </a:cubicBezTo>
                  <a:cubicBezTo>
                    <a:pt x="650" y="50"/>
                    <a:pt x="650" y="50"/>
                    <a:pt x="650" y="49"/>
                  </a:cubicBezTo>
                  <a:cubicBezTo>
                    <a:pt x="650" y="49"/>
                    <a:pt x="650" y="49"/>
                    <a:pt x="650" y="49"/>
                  </a:cubicBezTo>
                  <a:cubicBezTo>
                    <a:pt x="650" y="49"/>
                    <a:pt x="650" y="49"/>
                    <a:pt x="650" y="49"/>
                  </a:cubicBezTo>
                  <a:cubicBezTo>
                    <a:pt x="650" y="49"/>
                    <a:pt x="650" y="49"/>
                    <a:pt x="650" y="49"/>
                  </a:cubicBezTo>
                  <a:cubicBezTo>
                    <a:pt x="650" y="49"/>
                    <a:pt x="650" y="49"/>
                    <a:pt x="650" y="49"/>
                  </a:cubicBezTo>
                  <a:cubicBezTo>
                    <a:pt x="651" y="48"/>
                    <a:pt x="650" y="48"/>
                    <a:pt x="651" y="48"/>
                  </a:cubicBezTo>
                  <a:cubicBezTo>
                    <a:pt x="651" y="48"/>
                    <a:pt x="651" y="48"/>
                    <a:pt x="651" y="48"/>
                  </a:cubicBezTo>
                  <a:cubicBezTo>
                    <a:pt x="651" y="47"/>
                    <a:pt x="651" y="47"/>
                    <a:pt x="651" y="47"/>
                  </a:cubicBezTo>
                  <a:cubicBezTo>
                    <a:pt x="651" y="47"/>
                    <a:pt x="651" y="47"/>
                    <a:pt x="651" y="47"/>
                  </a:cubicBezTo>
                  <a:cubicBezTo>
                    <a:pt x="651" y="47"/>
                    <a:pt x="651" y="46"/>
                    <a:pt x="651" y="46"/>
                  </a:cubicBezTo>
                  <a:cubicBezTo>
                    <a:pt x="651" y="46"/>
                    <a:pt x="651" y="46"/>
                    <a:pt x="651" y="46"/>
                  </a:cubicBezTo>
                  <a:cubicBezTo>
                    <a:pt x="651" y="46"/>
                    <a:pt x="651" y="45"/>
                    <a:pt x="652" y="45"/>
                  </a:cubicBezTo>
                  <a:cubicBezTo>
                    <a:pt x="652" y="45"/>
                    <a:pt x="652" y="45"/>
                    <a:pt x="652" y="45"/>
                  </a:cubicBezTo>
                  <a:cubicBezTo>
                    <a:pt x="652" y="45"/>
                    <a:pt x="652" y="44"/>
                    <a:pt x="652" y="44"/>
                  </a:cubicBezTo>
                  <a:cubicBezTo>
                    <a:pt x="652" y="44"/>
                    <a:pt x="652" y="44"/>
                    <a:pt x="652" y="44"/>
                  </a:cubicBezTo>
                  <a:cubicBezTo>
                    <a:pt x="652" y="44"/>
                    <a:pt x="652" y="44"/>
                    <a:pt x="652" y="43"/>
                  </a:cubicBezTo>
                  <a:cubicBezTo>
                    <a:pt x="652" y="43"/>
                    <a:pt x="652" y="43"/>
                    <a:pt x="652" y="43"/>
                  </a:cubicBezTo>
                  <a:cubicBezTo>
                    <a:pt x="653" y="43"/>
                    <a:pt x="652" y="43"/>
                    <a:pt x="653" y="42"/>
                  </a:cubicBezTo>
                  <a:cubicBezTo>
                    <a:pt x="653" y="42"/>
                    <a:pt x="653" y="42"/>
                    <a:pt x="653" y="42"/>
                  </a:cubicBezTo>
                  <a:cubicBezTo>
                    <a:pt x="653" y="42"/>
                    <a:pt x="653" y="42"/>
                    <a:pt x="653" y="42"/>
                  </a:cubicBezTo>
                  <a:cubicBezTo>
                    <a:pt x="653" y="42"/>
                    <a:pt x="653" y="42"/>
                    <a:pt x="653" y="42"/>
                  </a:cubicBezTo>
                  <a:cubicBezTo>
                    <a:pt x="653" y="41"/>
                    <a:pt x="653" y="41"/>
                    <a:pt x="653" y="41"/>
                  </a:cubicBezTo>
                  <a:cubicBezTo>
                    <a:pt x="653" y="41"/>
                    <a:pt x="653" y="41"/>
                    <a:pt x="653" y="41"/>
                  </a:cubicBezTo>
                  <a:cubicBezTo>
                    <a:pt x="654" y="40"/>
                    <a:pt x="654" y="40"/>
                    <a:pt x="654" y="40"/>
                  </a:cubicBezTo>
                  <a:cubicBezTo>
                    <a:pt x="654" y="40"/>
                    <a:pt x="654" y="40"/>
                    <a:pt x="654" y="40"/>
                  </a:cubicBezTo>
                  <a:cubicBezTo>
                    <a:pt x="654" y="39"/>
                    <a:pt x="654" y="39"/>
                    <a:pt x="654" y="39"/>
                  </a:cubicBezTo>
                  <a:cubicBezTo>
                    <a:pt x="654" y="39"/>
                    <a:pt x="654" y="39"/>
                    <a:pt x="654" y="39"/>
                  </a:cubicBezTo>
                  <a:cubicBezTo>
                    <a:pt x="654" y="39"/>
                    <a:pt x="654" y="38"/>
                    <a:pt x="654" y="38"/>
                  </a:cubicBezTo>
                  <a:cubicBezTo>
                    <a:pt x="654" y="38"/>
                    <a:pt x="654" y="38"/>
                    <a:pt x="654" y="38"/>
                  </a:cubicBezTo>
                  <a:cubicBezTo>
                    <a:pt x="655" y="38"/>
                    <a:pt x="655" y="37"/>
                    <a:pt x="655" y="37"/>
                  </a:cubicBezTo>
                  <a:cubicBezTo>
                    <a:pt x="655" y="37"/>
                    <a:pt x="655" y="37"/>
                    <a:pt x="655" y="37"/>
                  </a:cubicBezTo>
                  <a:cubicBezTo>
                    <a:pt x="655" y="37"/>
                    <a:pt x="655" y="37"/>
                    <a:pt x="655" y="36"/>
                  </a:cubicBezTo>
                  <a:cubicBezTo>
                    <a:pt x="655" y="36"/>
                    <a:pt x="655" y="36"/>
                    <a:pt x="655" y="36"/>
                  </a:cubicBezTo>
                  <a:cubicBezTo>
                    <a:pt x="655" y="36"/>
                    <a:pt x="655" y="36"/>
                    <a:pt x="655" y="36"/>
                  </a:cubicBezTo>
                  <a:cubicBezTo>
                    <a:pt x="655" y="36"/>
                    <a:pt x="655" y="36"/>
                    <a:pt x="655" y="35"/>
                  </a:cubicBezTo>
                  <a:cubicBezTo>
                    <a:pt x="655" y="35"/>
                    <a:pt x="655" y="35"/>
                    <a:pt x="655" y="35"/>
                  </a:cubicBezTo>
                  <a:cubicBezTo>
                    <a:pt x="656" y="35"/>
                    <a:pt x="656" y="35"/>
                    <a:pt x="656" y="35"/>
                  </a:cubicBezTo>
                  <a:cubicBezTo>
                    <a:pt x="656" y="35"/>
                    <a:pt x="656" y="35"/>
                    <a:pt x="656" y="35"/>
                  </a:cubicBezTo>
                  <a:cubicBezTo>
                    <a:pt x="656" y="34"/>
                    <a:pt x="655" y="34"/>
                    <a:pt x="655" y="34"/>
                  </a:cubicBezTo>
                  <a:cubicBezTo>
                    <a:pt x="652" y="34"/>
                    <a:pt x="648" y="34"/>
                    <a:pt x="645" y="34"/>
                  </a:cubicBezTo>
                  <a:cubicBezTo>
                    <a:pt x="645" y="34"/>
                    <a:pt x="644" y="34"/>
                    <a:pt x="644" y="34"/>
                  </a:cubicBezTo>
                  <a:cubicBezTo>
                    <a:pt x="644" y="35"/>
                    <a:pt x="644" y="35"/>
                    <a:pt x="644" y="35"/>
                  </a:cubicBezTo>
                  <a:cubicBezTo>
                    <a:pt x="644" y="35"/>
                    <a:pt x="644" y="35"/>
                    <a:pt x="644" y="35"/>
                  </a:cubicBezTo>
                  <a:cubicBezTo>
                    <a:pt x="644" y="35"/>
                    <a:pt x="644" y="35"/>
                    <a:pt x="644" y="35"/>
                  </a:cubicBezTo>
                  <a:cubicBezTo>
                    <a:pt x="644" y="35"/>
                    <a:pt x="644" y="35"/>
                    <a:pt x="644" y="35"/>
                  </a:cubicBezTo>
                  <a:cubicBezTo>
                    <a:pt x="644" y="36"/>
                    <a:pt x="644" y="36"/>
                    <a:pt x="644" y="36"/>
                  </a:cubicBezTo>
                  <a:cubicBezTo>
                    <a:pt x="644" y="36"/>
                    <a:pt x="644" y="36"/>
                    <a:pt x="644" y="36"/>
                  </a:cubicBezTo>
                  <a:cubicBezTo>
                    <a:pt x="643" y="37"/>
                    <a:pt x="643" y="37"/>
                    <a:pt x="643" y="37"/>
                  </a:cubicBezTo>
                  <a:cubicBezTo>
                    <a:pt x="643" y="37"/>
                    <a:pt x="643" y="37"/>
                    <a:pt x="643" y="37"/>
                  </a:cubicBezTo>
                  <a:cubicBezTo>
                    <a:pt x="643" y="37"/>
                    <a:pt x="643" y="37"/>
                    <a:pt x="643" y="37"/>
                  </a:cubicBezTo>
                  <a:cubicBezTo>
                    <a:pt x="643" y="38"/>
                    <a:pt x="643" y="38"/>
                    <a:pt x="643" y="38"/>
                  </a:cubicBezTo>
                  <a:cubicBezTo>
                    <a:pt x="643" y="38"/>
                    <a:pt x="643" y="38"/>
                    <a:pt x="643" y="39"/>
                  </a:cubicBezTo>
                  <a:cubicBezTo>
                    <a:pt x="643" y="39"/>
                    <a:pt x="643" y="39"/>
                    <a:pt x="643" y="39"/>
                  </a:cubicBezTo>
                  <a:cubicBezTo>
                    <a:pt x="643" y="39"/>
                    <a:pt x="643" y="39"/>
                    <a:pt x="643" y="39"/>
                  </a:cubicBezTo>
                  <a:cubicBezTo>
                    <a:pt x="642" y="39"/>
                    <a:pt x="643" y="40"/>
                    <a:pt x="642" y="40"/>
                  </a:cubicBezTo>
                  <a:cubicBezTo>
                    <a:pt x="642" y="40"/>
                    <a:pt x="642" y="40"/>
                    <a:pt x="642" y="40"/>
                  </a:cubicBezTo>
                  <a:cubicBezTo>
                    <a:pt x="642" y="40"/>
                    <a:pt x="642" y="41"/>
                    <a:pt x="642" y="41"/>
                  </a:cubicBezTo>
                  <a:cubicBezTo>
                    <a:pt x="642" y="41"/>
                    <a:pt x="642" y="41"/>
                    <a:pt x="642" y="41"/>
                  </a:cubicBezTo>
                  <a:cubicBezTo>
                    <a:pt x="642" y="42"/>
                    <a:pt x="642" y="42"/>
                    <a:pt x="642" y="42"/>
                  </a:cubicBezTo>
                  <a:cubicBezTo>
                    <a:pt x="642" y="42"/>
                    <a:pt x="642" y="42"/>
                    <a:pt x="642" y="42"/>
                  </a:cubicBezTo>
                  <a:cubicBezTo>
                    <a:pt x="641" y="42"/>
                    <a:pt x="641" y="43"/>
                    <a:pt x="641" y="43"/>
                  </a:cubicBezTo>
                  <a:cubicBezTo>
                    <a:pt x="641" y="43"/>
                    <a:pt x="641" y="43"/>
                    <a:pt x="641" y="43"/>
                  </a:cubicBezTo>
                  <a:cubicBezTo>
                    <a:pt x="641" y="43"/>
                    <a:pt x="641" y="44"/>
                    <a:pt x="641" y="44"/>
                  </a:cubicBezTo>
                  <a:cubicBezTo>
                    <a:pt x="641" y="44"/>
                    <a:pt x="641" y="44"/>
                    <a:pt x="641" y="44"/>
                  </a:cubicBezTo>
                  <a:cubicBezTo>
                    <a:pt x="641" y="44"/>
                    <a:pt x="641" y="44"/>
                    <a:pt x="641" y="44"/>
                  </a:cubicBezTo>
                  <a:cubicBezTo>
                    <a:pt x="641" y="44"/>
                    <a:pt x="641" y="45"/>
                    <a:pt x="640" y="45"/>
                  </a:cubicBezTo>
                  <a:cubicBezTo>
                    <a:pt x="641" y="45"/>
                    <a:pt x="641" y="45"/>
                    <a:pt x="640" y="45"/>
                  </a:cubicBezTo>
                  <a:cubicBezTo>
                    <a:pt x="640" y="45"/>
                    <a:pt x="640" y="46"/>
                    <a:pt x="640" y="46"/>
                  </a:cubicBezTo>
                  <a:cubicBezTo>
                    <a:pt x="640" y="46"/>
                    <a:pt x="640" y="46"/>
                    <a:pt x="640" y="46"/>
                  </a:cubicBezTo>
                  <a:cubicBezTo>
                    <a:pt x="640" y="46"/>
                    <a:pt x="640" y="47"/>
                    <a:pt x="640" y="47"/>
                  </a:cubicBezTo>
                  <a:cubicBezTo>
                    <a:pt x="640" y="47"/>
                    <a:pt x="640" y="47"/>
                    <a:pt x="640" y="47"/>
                  </a:cubicBezTo>
                  <a:cubicBezTo>
                    <a:pt x="640" y="47"/>
                    <a:pt x="640" y="47"/>
                    <a:pt x="639" y="48"/>
                  </a:cubicBezTo>
                  <a:cubicBezTo>
                    <a:pt x="639" y="48"/>
                    <a:pt x="639" y="48"/>
                    <a:pt x="639" y="48"/>
                  </a:cubicBezTo>
                  <a:cubicBezTo>
                    <a:pt x="639" y="48"/>
                    <a:pt x="639" y="48"/>
                    <a:pt x="639" y="48"/>
                  </a:cubicBezTo>
                  <a:cubicBezTo>
                    <a:pt x="639" y="48"/>
                    <a:pt x="639" y="48"/>
                    <a:pt x="639" y="49"/>
                  </a:cubicBezTo>
                  <a:cubicBezTo>
                    <a:pt x="639" y="49"/>
                    <a:pt x="639" y="49"/>
                    <a:pt x="639" y="49"/>
                  </a:cubicBezTo>
                  <a:cubicBezTo>
                    <a:pt x="639" y="49"/>
                    <a:pt x="639" y="49"/>
                    <a:pt x="639" y="50"/>
                  </a:cubicBezTo>
                  <a:cubicBezTo>
                    <a:pt x="639" y="50"/>
                    <a:pt x="639" y="50"/>
                    <a:pt x="639" y="50"/>
                  </a:cubicBezTo>
                  <a:cubicBezTo>
                    <a:pt x="638" y="50"/>
                    <a:pt x="639" y="50"/>
                    <a:pt x="638" y="51"/>
                  </a:cubicBezTo>
                  <a:cubicBezTo>
                    <a:pt x="638" y="51"/>
                    <a:pt x="638" y="51"/>
                    <a:pt x="638" y="51"/>
                  </a:cubicBezTo>
                  <a:cubicBezTo>
                    <a:pt x="638" y="51"/>
                    <a:pt x="638" y="51"/>
                    <a:pt x="638" y="52"/>
                  </a:cubicBezTo>
                  <a:cubicBezTo>
                    <a:pt x="638" y="52"/>
                    <a:pt x="638" y="52"/>
                    <a:pt x="638" y="52"/>
                  </a:cubicBezTo>
                  <a:cubicBezTo>
                    <a:pt x="638" y="52"/>
                    <a:pt x="638" y="52"/>
                    <a:pt x="638" y="52"/>
                  </a:cubicBezTo>
                  <a:cubicBezTo>
                    <a:pt x="638" y="52"/>
                    <a:pt x="638" y="52"/>
                    <a:pt x="638" y="52"/>
                  </a:cubicBezTo>
                  <a:cubicBezTo>
                    <a:pt x="637" y="53"/>
                    <a:pt x="638" y="53"/>
                    <a:pt x="637" y="53"/>
                  </a:cubicBezTo>
                  <a:cubicBezTo>
                    <a:pt x="637" y="53"/>
                    <a:pt x="637" y="53"/>
                    <a:pt x="637" y="53"/>
                  </a:cubicBezTo>
                  <a:cubicBezTo>
                    <a:pt x="637" y="54"/>
                    <a:pt x="637" y="54"/>
                    <a:pt x="637" y="54"/>
                  </a:cubicBezTo>
                  <a:cubicBezTo>
                    <a:pt x="637" y="54"/>
                    <a:pt x="637" y="54"/>
                    <a:pt x="637" y="54"/>
                  </a:cubicBezTo>
                  <a:cubicBezTo>
                    <a:pt x="637" y="55"/>
                    <a:pt x="637" y="55"/>
                    <a:pt x="637" y="55"/>
                  </a:cubicBezTo>
                  <a:cubicBezTo>
                    <a:pt x="637" y="55"/>
                    <a:pt x="637" y="55"/>
                    <a:pt x="637" y="55"/>
                  </a:cubicBezTo>
                  <a:cubicBezTo>
                    <a:pt x="637" y="55"/>
                    <a:pt x="637" y="56"/>
                    <a:pt x="637" y="56"/>
                  </a:cubicBezTo>
                  <a:cubicBezTo>
                    <a:pt x="636" y="56"/>
                    <a:pt x="636" y="56"/>
                    <a:pt x="636" y="56"/>
                  </a:cubicBezTo>
                  <a:cubicBezTo>
                    <a:pt x="636" y="56"/>
                    <a:pt x="636" y="56"/>
                    <a:pt x="636" y="56"/>
                  </a:cubicBezTo>
                  <a:cubicBezTo>
                    <a:pt x="636" y="57"/>
                    <a:pt x="636" y="57"/>
                    <a:pt x="636" y="57"/>
                  </a:cubicBezTo>
                  <a:cubicBezTo>
                    <a:pt x="636" y="57"/>
                    <a:pt x="636" y="57"/>
                    <a:pt x="636" y="57"/>
                  </a:cubicBezTo>
                  <a:cubicBezTo>
                    <a:pt x="636" y="58"/>
                    <a:pt x="636" y="58"/>
                    <a:pt x="636" y="58"/>
                  </a:cubicBezTo>
                  <a:cubicBezTo>
                    <a:pt x="636" y="58"/>
                    <a:pt x="636" y="58"/>
                    <a:pt x="636" y="58"/>
                  </a:cubicBezTo>
                  <a:cubicBezTo>
                    <a:pt x="636" y="58"/>
                    <a:pt x="636" y="58"/>
                    <a:pt x="636" y="58"/>
                  </a:cubicBezTo>
                  <a:cubicBezTo>
                    <a:pt x="635" y="59"/>
                    <a:pt x="635" y="59"/>
                    <a:pt x="635" y="59"/>
                  </a:cubicBezTo>
                  <a:cubicBezTo>
                    <a:pt x="635" y="59"/>
                    <a:pt x="635" y="59"/>
                    <a:pt x="635" y="59"/>
                  </a:cubicBezTo>
                  <a:cubicBezTo>
                    <a:pt x="635" y="59"/>
                    <a:pt x="635" y="60"/>
                    <a:pt x="635" y="60"/>
                  </a:cubicBezTo>
                  <a:cubicBezTo>
                    <a:pt x="635" y="60"/>
                    <a:pt x="635" y="60"/>
                    <a:pt x="635" y="60"/>
                  </a:cubicBezTo>
                  <a:cubicBezTo>
                    <a:pt x="635" y="60"/>
                    <a:pt x="635" y="61"/>
                    <a:pt x="635" y="61"/>
                  </a:cubicBezTo>
                  <a:cubicBezTo>
                    <a:pt x="635" y="61"/>
                    <a:pt x="635" y="61"/>
                    <a:pt x="635" y="61"/>
                  </a:cubicBezTo>
                  <a:cubicBezTo>
                    <a:pt x="635" y="61"/>
                    <a:pt x="635" y="61"/>
                    <a:pt x="635" y="61"/>
                  </a:cubicBezTo>
                  <a:cubicBezTo>
                    <a:pt x="634" y="61"/>
                    <a:pt x="634" y="62"/>
                    <a:pt x="634" y="62"/>
                  </a:cubicBezTo>
                  <a:cubicBezTo>
                    <a:pt x="634" y="62"/>
                    <a:pt x="634" y="62"/>
                    <a:pt x="634" y="62"/>
                  </a:cubicBezTo>
                  <a:cubicBezTo>
                    <a:pt x="634" y="62"/>
                    <a:pt x="634" y="63"/>
                    <a:pt x="634" y="63"/>
                  </a:cubicBezTo>
                  <a:cubicBezTo>
                    <a:pt x="634" y="63"/>
                    <a:pt x="634" y="63"/>
                    <a:pt x="634" y="63"/>
                  </a:cubicBezTo>
                  <a:cubicBezTo>
                    <a:pt x="634" y="63"/>
                    <a:pt x="634" y="64"/>
                    <a:pt x="634" y="64"/>
                  </a:cubicBezTo>
                  <a:cubicBezTo>
                    <a:pt x="634" y="64"/>
                    <a:pt x="634" y="64"/>
                    <a:pt x="634" y="64"/>
                  </a:cubicBezTo>
                  <a:cubicBezTo>
                    <a:pt x="633" y="64"/>
                    <a:pt x="633" y="64"/>
                    <a:pt x="633" y="65"/>
                  </a:cubicBezTo>
                  <a:cubicBezTo>
                    <a:pt x="633" y="65"/>
                    <a:pt x="633" y="65"/>
                    <a:pt x="633" y="65"/>
                  </a:cubicBezTo>
                  <a:cubicBezTo>
                    <a:pt x="633" y="65"/>
                    <a:pt x="633" y="65"/>
                    <a:pt x="633" y="65"/>
                  </a:cubicBezTo>
                  <a:cubicBezTo>
                    <a:pt x="633" y="65"/>
                    <a:pt x="633" y="65"/>
                    <a:pt x="633" y="66"/>
                  </a:cubicBezTo>
                  <a:cubicBezTo>
                    <a:pt x="633" y="66"/>
                    <a:pt x="633" y="66"/>
                    <a:pt x="633" y="66"/>
                  </a:cubicBezTo>
                  <a:cubicBezTo>
                    <a:pt x="632" y="66"/>
                    <a:pt x="633" y="66"/>
                    <a:pt x="632" y="67"/>
                  </a:cubicBezTo>
                  <a:cubicBezTo>
                    <a:pt x="632" y="67"/>
                    <a:pt x="632" y="67"/>
                    <a:pt x="632" y="67"/>
                  </a:cubicBezTo>
                  <a:cubicBezTo>
                    <a:pt x="632" y="67"/>
                    <a:pt x="632" y="67"/>
                    <a:pt x="632" y="68"/>
                  </a:cubicBezTo>
                  <a:cubicBezTo>
                    <a:pt x="632" y="68"/>
                    <a:pt x="632" y="68"/>
                    <a:pt x="632" y="68"/>
                  </a:cubicBezTo>
                  <a:cubicBezTo>
                    <a:pt x="632" y="68"/>
                    <a:pt x="632" y="68"/>
                    <a:pt x="632" y="69"/>
                  </a:cubicBezTo>
                  <a:cubicBezTo>
                    <a:pt x="632" y="69"/>
                    <a:pt x="632" y="69"/>
                    <a:pt x="632" y="69"/>
                  </a:cubicBezTo>
                  <a:cubicBezTo>
                    <a:pt x="632" y="69"/>
                    <a:pt x="632" y="69"/>
                    <a:pt x="631" y="70"/>
                  </a:cubicBezTo>
                  <a:cubicBezTo>
                    <a:pt x="631" y="70"/>
                    <a:pt x="631" y="70"/>
                    <a:pt x="631" y="70"/>
                  </a:cubicBezTo>
                  <a:cubicBezTo>
                    <a:pt x="631" y="70"/>
                    <a:pt x="631" y="70"/>
                    <a:pt x="631" y="71"/>
                  </a:cubicBezTo>
                  <a:cubicBezTo>
                    <a:pt x="631" y="71"/>
                    <a:pt x="631" y="71"/>
                    <a:pt x="631" y="71"/>
                  </a:cubicBezTo>
                  <a:cubicBezTo>
                    <a:pt x="631" y="71"/>
                    <a:pt x="631" y="71"/>
                    <a:pt x="631" y="71"/>
                  </a:cubicBezTo>
                  <a:cubicBezTo>
                    <a:pt x="631" y="72"/>
                    <a:pt x="631" y="72"/>
                    <a:pt x="631" y="72"/>
                  </a:cubicBezTo>
                  <a:cubicBezTo>
                    <a:pt x="631" y="72"/>
                    <a:pt x="631" y="72"/>
                    <a:pt x="631" y="72"/>
                  </a:cubicBezTo>
                  <a:cubicBezTo>
                    <a:pt x="631" y="72"/>
                    <a:pt x="631" y="72"/>
                    <a:pt x="630" y="72"/>
                  </a:cubicBezTo>
                  <a:cubicBezTo>
                    <a:pt x="630" y="72"/>
                    <a:pt x="630" y="73"/>
                    <a:pt x="630" y="73"/>
                  </a:cubicBezTo>
                  <a:cubicBezTo>
                    <a:pt x="630" y="73"/>
                    <a:pt x="630" y="73"/>
                    <a:pt x="630" y="73"/>
                  </a:cubicBezTo>
                  <a:cubicBezTo>
                    <a:pt x="630" y="73"/>
                    <a:pt x="630" y="73"/>
                    <a:pt x="630" y="73"/>
                  </a:cubicBezTo>
                  <a:cubicBezTo>
                    <a:pt x="630" y="74"/>
                    <a:pt x="630" y="74"/>
                    <a:pt x="630" y="74"/>
                  </a:cubicBezTo>
                  <a:cubicBezTo>
                    <a:pt x="630" y="74"/>
                    <a:pt x="630" y="74"/>
                    <a:pt x="630" y="74"/>
                  </a:cubicBezTo>
                  <a:cubicBezTo>
                    <a:pt x="629" y="75"/>
                    <a:pt x="629" y="75"/>
                    <a:pt x="629" y="75"/>
                  </a:cubicBezTo>
                  <a:cubicBezTo>
                    <a:pt x="629" y="75"/>
                    <a:pt x="629" y="75"/>
                    <a:pt x="629" y="75"/>
                  </a:cubicBezTo>
                  <a:cubicBezTo>
                    <a:pt x="629" y="75"/>
                    <a:pt x="629" y="75"/>
                    <a:pt x="629" y="75"/>
                  </a:cubicBezTo>
                  <a:cubicBezTo>
                    <a:pt x="629" y="76"/>
                    <a:pt x="629" y="76"/>
                    <a:pt x="629" y="76"/>
                  </a:cubicBezTo>
                  <a:cubicBezTo>
                    <a:pt x="629" y="76"/>
                    <a:pt x="629" y="76"/>
                    <a:pt x="629" y="76"/>
                  </a:cubicBezTo>
                  <a:cubicBezTo>
                    <a:pt x="629" y="76"/>
                    <a:pt x="629" y="77"/>
                    <a:pt x="629" y="77"/>
                  </a:cubicBezTo>
                  <a:cubicBezTo>
                    <a:pt x="629" y="77"/>
                    <a:pt x="629" y="77"/>
                    <a:pt x="629" y="77"/>
                  </a:cubicBezTo>
                  <a:cubicBezTo>
                    <a:pt x="628" y="77"/>
                    <a:pt x="628" y="78"/>
                    <a:pt x="628" y="78"/>
                  </a:cubicBezTo>
                  <a:cubicBezTo>
                    <a:pt x="628" y="78"/>
                    <a:pt x="628" y="78"/>
                    <a:pt x="628" y="78"/>
                  </a:cubicBezTo>
                  <a:cubicBezTo>
                    <a:pt x="628" y="78"/>
                    <a:pt x="628" y="78"/>
                    <a:pt x="628" y="78"/>
                  </a:cubicBezTo>
                  <a:cubicBezTo>
                    <a:pt x="628" y="78"/>
                    <a:pt x="628" y="79"/>
                    <a:pt x="628" y="79"/>
                  </a:cubicBezTo>
                  <a:cubicBezTo>
                    <a:pt x="628" y="79"/>
                    <a:pt x="628" y="79"/>
                    <a:pt x="628" y="79"/>
                  </a:cubicBezTo>
                  <a:cubicBezTo>
                    <a:pt x="628" y="79"/>
                    <a:pt x="628" y="80"/>
                    <a:pt x="628" y="80"/>
                  </a:cubicBezTo>
                  <a:cubicBezTo>
                    <a:pt x="628" y="80"/>
                    <a:pt x="628" y="80"/>
                    <a:pt x="628" y="80"/>
                  </a:cubicBezTo>
                  <a:cubicBezTo>
                    <a:pt x="627" y="80"/>
                    <a:pt x="628" y="81"/>
                    <a:pt x="627" y="81"/>
                  </a:cubicBezTo>
                  <a:cubicBezTo>
                    <a:pt x="627" y="81"/>
                    <a:pt x="627" y="81"/>
                    <a:pt x="627" y="81"/>
                  </a:cubicBezTo>
                  <a:cubicBezTo>
                    <a:pt x="627" y="81"/>
                    <a:pt x="627" y="82"/>
                    <a:pt x="627" y="82"/>
                  </a:cubicBezTo>
                  <a:cubicBezTo>
                    <a:pt x="627" y="82"/>
                    <a:pt x="627" y="82"/>
                    <a:pt x="627" y="82"/>
                  </a:cubicBezTo>
                  <a:cubicBezTo>
                    <a:pt x="627" y="82"/>
                    <a:pt x="627" y="82"/>
                    <a:pt x="627" y="82"/>
                  </a:cubicBezTo>
                  <a:cubicBezTo>
                    <a:pt x="627" y="82"/>
                    <a:pt x="627" y="83"/>
                    <a:pt x="627" y="83"/>
                  </a:cubicBezTo>
                  <a:cubicBezTo>
                    <a:pt x="627" y="83"/>
                    <a:pt x="627" y="83"/>
                    <a:pt x="626" y="83"/>
                  </a:cubicBezTo>
                  <a:cubicBezTo>
                    <a:pt x="626" y="83"/>
                    <a:pt x="626" y="84"/>
                    <a:pt x="626" y="84"/>
                  </a:cubicBezTo>
                  <a:cubicBezTo>
                    <a:pt x="626" y="84"/>
                    <a:pt x="626" y="84"/>
                    <a:pt x="626" y="84"/>
                  </a:cubicBezTo>
                  <a:cubicBezTo>
                    <a:pt x="626" y="84"/>
                    <a:pt x="626" y="85"/>
                    <a:pt x="626" y="85"/>
                  </a:cubicBezTo>
                  <a:cubicBezTo>
                    <a:pt x="626" y="85"/>
                    <a:pt x="626" y="85"/>
                    <a:pt x="626" y="85"/>
                  </a:cubicBezTo>
                  <a:cubicBezTo>
                    <a:pt x="626" y="85"/>
                    <a:pt x="626" y="85"/>
                    <a:pt x="626" y="86"/>
                  </a:cubicBezTo>
                  <a:cubicBezTo>
                    <a:pt x="626" y="86"/>
                    <a:pt x="626" y="86"/>
                    <a:pt x="626" y="86"/>
                  </a:cubicBezTo>
                  <a:cubicBezTo>
                    <a:pt x="625" y="86"/>
                    <a:pt x="625" y="86"/>
                    <a:pt x="625" y="86"/>
                  </a:cubicBezTo>
                  <a:cubicBezTo>
                    <a:pt x="625" y="86"/>
                    <a:pt x="625" y="86"/>
                    <a:pt x="625" y="87"/>
                  </a:cubicBezTo>
                  <a:cubicBezTo>
                    <a:pt x="625" y="87"/>
                    <a:pt x="625" y="87"/>
                    <a:pt x="625" y="87"/>
                  </a:cubicBezTo>
                  <a:cubicBezTo>
                    <a:pt x="625" y="87"/>
                    <a:pt x="625" y="87"/>
                    <a:pt x="625" y="88"/>
                  </a:cubicBezTo>
                  <a:cubicBezTo>
                    <a:pt x="625" y="88"/>
                    <a:pt x="625" y="88"/>
                    <a:pt x="625" y="88"/>
                  </a:cubicBezTo>
                  <a:cubicBezTo>
                    <a:pt x="625" y="88"/>
                    <a:pt x="625" y="88"/>
                    <a:pt x="625" y="88"/>
                  </a:cubicBezTo>
                  <a:cubicBezTo>
                    <a:pt x="625" y="89"/>
                    <a:pt x="625" y="89"/>
                    <a:pt x="625" y="89"/>
                  </a:cubicBezTo>
                  <a:cubicBezTo>
                    <a:pt x="624" y="89"/>
                    <a:pt x="624" y="89"/>
                    <a:pt x="624" y="89"/>
                  </a:cubicBezTo>
                  <a:cubicBezTo>
                    <a:pt x="624" y="89"/>
                    <a:pt x="624" y="89"/>
                    <a:pt x="624" y="89"/>
                  </a:cubicBezTo>
                  <a:cubicBezTo>
                    <a:pt x="624" y="89"/>
                    <a:pt x="624" y="89"/>
                    <a:pt x="624" y="89"/>
                  </a:cubicBezTo>
                  <a:cubicBezTo>
                    <a:pt x="623" y="90"/>
                    <a:pt x="624" y="89"/>
                    <a:pt x="623" y="89"/>
                  </a:cubicBezTo>
                  <a:cubicBezTo>
                    <a:pt x="623" y="89"/>
                    <a:pt x="623" y="89"/>
                    <a:pt x="623" y="89"/>
                  </a:cubicBezTo>
                  <a:cubicBezTo>
                    <a:pt x="623" y="88"/>
                    <a:pt x="623" y="88"/>
                    <a:pt x="623" y="88"/>
                  </a:cubicBezTo>
                  <a:cubicBezTo>
                    <a:pt x="623" y="88"/>
                    <a:pt x="623" y="88"/>
                    <a:pt x="623" y="88"/>
                  </a:cubicBezTo>
                  <a:cubicBezTo>
                    <a:pt x="623" y="87"/>
                    <a:pt x="623" y="87"/>
                    <a:pt x="623" y="87"/>
                  </a:cubicBezTo>
                  <a:cubicBezTo>
                    <a:pt x="623" y="87"/>
                    <a:pt x="623" y="87"/>
                    <a:pt x="623" y="87"/>
                  </a:cubicBezTo>
                  <a:cubicBezTo>
                    <a:pt x="623" y="86"/>
                    <a:pt x="623" y="86"/>
                    <a:pt x="622" y="86"/>
                  </a:cubicBezTo>
                  <a:cubicBezTo>
                    <a:pt x="622" y="86"/>
                    <a:pt x="622" y="86"/>
                    <a:pt x="622" y="86"/>
                  </a:cubicBezTo>
                  <a:cubicBezTo>
                    <a:pt x="622" y="85"/>
                    <a:pt x="622" y="85"/>
                    <a:pt x="622" y="85"/>
                  </a:cubicBezTo>
                  <a:cubicBezTo>
                    <a:pt x="622" y="85"/>
                    <a:pt x="622" y="85"/>
                    <a:pt x="622" y="85"/>
                  </a:cubicBezTo>
                  <a:cubicBezTo>
                    <a:pt x="622" y="84"/>
                    <a:pt x="622" y="84"/>
                    <a:pt x="622" y="84"/>
                  </a:cubicBezTo>
                  <a:cubicBezTo>
                    <a:pt x="622" y="84"/>
                    <a:pt x="622" y="84"/>
                    <a:pt x="622" y="84"/>
                  </a:cubicBezTo>
                  <a:cubicBezTo>
                    <a:pt x="622" y="84"/>
                    <a:pt x="622" y="84"/>
                    <a:pt x="622" y="84"/>
                  </a:cubicBezTo>
                  <a:cubicBezTo>
                    <a:pt x="622" y="83"/>
                    <a:pt x="622" y="83"/>
                    <a:pt x="621" y="83"/>
                  </a:cubicBezTo>
                  <a:cubicBezTo>
                    <a:pt x="621" y="83"/>
                    <a:pt x="621" y="83"/>
                    <a:pt x="621" y="83"/>
                  </a:cubicBezTo>
                  <a:cubicBezTo>
                    <a:pt x="621" y="83"/>
                    <a:pt x="621" y="83"/>
                    <a:pt x="621" y="83"/>
                  </a:cubicBezTo>
                  <a:cubicBezTo>
                    <a:pt x="621" y="82"/>
                    <a:pt x="621" y="82"/>
                    <a:pt x="621" y="82"/>
                  </a:cubicBezTo>
                  <a:cubicBezTo>
                    <a:pt x="621" y="82"/>
                    <a:pt x="621" y="82"/>
                    <a:pt x="621" y="82"/>
                  </a:cubicBezTo>
                  <a:cubicBezTo>
                    <a:pt x="621" y="81"/>
                    <a:pt x="621" y="81"/>
                    <a:pt x="621" y="81"/>
                  </a:cubicBezTo>
                  <a:cubicBezTo>
                    <a:pt x="621" y="81"/>
                    <a:pt x="621" y="81"/>
                    <a:pt x="621" y="81"/>
                  </a:cubicBezTo>
                  <a:cubicBezTo>
                    <a:pt x="620" y="80"/>
                    <a:pt x="621" y="80"/>
                    <a:pt x="620" y="80"/>
                  </a:cubicBezTo>
                  <a:cubicBezTo>
                    <a:pt x="620" y="80"/>
                    <a:pt x="620" y="80"/>
                    <a:pt x="620" y="80"/>
                  </a:cubicBezTo>
                  <a:cubicBezTo>
                    <a:pt x="620" y="79"/>
                    <a:pt x="620" y="79"/>
                    <a:pt x="620" y="79"/>
                  </a:cubicBezTo>
                  <a:cubicBezTo>
                    <a:pt x="620" y="79"/>
                    <a:pt x="620" y="79"/>
                    <a:pt x="620" y="79"/>
                  </a:cubicBezTo>
                  <a:cubicBezTo>
                    <a:pt x="620" y="78"/>
                    <a:pt x="620" y="78"/>
                    <a:pt x="620" y="78"/>
                  </a:cubicBezTo>
                  <a:cubicBezTo>
                    <a:pt x="619" y="78"/>
                    <a:pt x="619" y="78"/>
                    <a:pt x="620" y="78"/>
                  </a:cubicBezTo>
                  <a:cubicBezTo>
                    <a:pt x="619" y="77"/>
                    <a:pt x="619" y="77"/>
                    <a:pt x="619" y="77"/>
                  </a:cubicBezTo>
                  <a:cubicBezTo>
                    <a:pt x="619" y="77"/>
                    <a:pt x="619" y="77"/>
                    <a:pt x="619" y="77"/>
                  </a:cubicBezTo>
                  <a:cubicBezTo>
                    <a:pt x="619" y="77"/>
                    <a:pt x="619" y="77"/>
                    <a:pt x="619" y="77"/>
                  </a:cubicBezTo>
                  <a:cubicBezTo>
                    <a:pt x="619" y="76"/>
                    <a:pt x="619" y="76"/>
                    <a:pt x="619" y="76"/>
                  </a:cubicBezTo>
                  <a:cubicBezTo>
                    <a:pt x="619" y="76"/>
                    <a:pt x="619" y="76"/>
                    <a:pt x="619" y="76"/>
                  </a:cubicBezTo>
                  <a:cubicBezTo>
                    <a:pt x="619" y="76"/>
                    <a:pt x="619" y="76"/>
                    <a:pt x="619" y="76"/>
                  </a:cubicBezTo>
                  <a:cubicBezTo>
                    <a:pt x="619" y="75"/>
                    <a:pt x="619" y="75"/>
                    <a:pt x="619" y="75"/>
                  </a:cubicBezTo>
                  <a:cubicBezTo>
                    <a:pt x="619" y="75"/>
                    <a:pt x="619" y="75"/>
                    <a:pt x="619" y="75"/>
                  </a:cubicBezTo>
                  <a:cubicBezTo>
                    <a:pt x="618" y="74"/>
                    <a:pt x="619" y="74"/>
                    <a:pt x="618" y="74"/>
                  </a:cubicBezTo>
                  <a:cubicBezTo>
                    <a:pt x="618" y="74"/>
                    <a:pt x="618" y="74"/>
                    <a:pt x="618" y="74"/>
                  </a:cubicBezTo>
                  <a:cubicBezTo>
                    <a:pt x="618" y="73"/>
                    <a:pt x="618" y="73"/>
                    <a:pt x="618" y="73"/>
                  </a:cubicBezTo>
                  <a:cubicBezTo>
                    <a:pt x="618" y="73"/>
                    <a:pt x="618" y="73"/>
                    <a:pt x="618" y="73"/>
                  </a:cubicBezTo>
                  <a:cubicBezTo>
                    <a:pt x="618" y="72"/>
                    <a:pt x="618" y="72"/>
                    <a:pt x="617" y="72"/>
                  </a:cubicBezTo>
                  <a:cubicBezTo>
                    <a:pt x="617" y="72"/>
                    <a:pt x="617" y="72"/>
                    <a:pt x="617" y="72"/>
                  </a:cubicBezTo>
                  <a:cubicBezTo>
                    <a:pt x="617" y="71"/>
                    <a:pt x="617" y="71"/>
                    <a:pt x="617" y="71"/>
                  </a:cubicBezTo>
                  <a:cubicBezTo>
                    <a:pt x="617" y="71"/>
                    <a:pt x="617" y="71"/>
                    <a:pt x="617" y="71"/>
                  </a:cubicBezTo>
                  <a:cubicBezTo>
                    <a:pt x="617" y="70"/>
                    <a:pt x="617" y="70"/>
                    <a:pt x="617" y="70"/>
                  </a:cubicBezTo>
                  <a:cubicBezTo>
                    <a:pt x="617" y="70"/>
                    <a:pt x="617" y="70"/>
                    <a:pt x="617" y="70"/>
                  </a:cubicBezTo>
                  <a:cubicBezTo>
                    <a:pt x="617" y="70"/>
                    <a:pt x="617" y="70"/>
                    <a:pt x="617" y="70"/>
                  </a:cubicBezTo>
                  <a:cubicBezTo>
                    <a:pt x="617" y="69"/>
                    <a:pt x="617" y="69"/>
                    <a:pt x="616" y="69"/>
                  </a:cubicBezTo>
                  <a:cubicBezTo>
                    <a:pt x="616" y="69"/>
                    <a:pt x="616" y="69"/>
                    <a:pt x="616" y="69"/>
                  </a:cubicBezTo>
                  <a:cubicBezTo>
                    <a:pt x="616" y="69"/>
                    <a:pt x="616" y="69"/>
                    <a:pt x="616" y="69"/>
                  </a:cubicBezTo>
                  <a:cubicBezTo>
                    <a:pt x="616" y="68"/>
                    <a:pt x="616" y="68"/>
                    <a:pt x="616" y="68"/>
                  </a:cubicBezTo>
                  <a:cubicBezTo>
                    <a:pt x="616" y="68"/>
                    <a:pt x="616" y="68"/>
                    <a:pt x="616" y="68"/>
                  </a:cubicBezTo>
                  <a:cubicBezTo>
                    <a:pt x="616" y="67"/>
                    <a:pt x="616" y="67"/>
                    <a:pt x="616" y="67"/>
                  </a:cubicBezTo>
                  <a:cubicBezTo>
                    <a:pt x="616" y="67"/>
                    <a:pt x="616" y="67"/>
                    <a:pt x="616" y="67"/>
                  </a:cubicBezTo>
                  <a:cubicBezTo>
                    <a:pt x="615" y="66"/>
                    <a:pt x="616" y="66"/>
                    <a:pt x="615" y="66"/>
                  </a:cubicBezTo>
                  <a:cubicBezTo>
                    <a:pt x="615" y="66"/>
                    <a:pt x="615" y="66"/>
                    <a:pt x="615" y="66"/>
                  </a:cubicBezTo>
                  <a:cubicBezTo>
                    <a:pt x="615" y="65"/>
                    <a:pt x="615" y="65"/>
                    <a:pt x="615" y="65"/>
                  </a:cubicBezTo>
                  <a:cubicBezTo>
                    <a:pt x="615" y="65"/>
                    <a:pt x="615" y="65"/>
                    <a:pt x="615" y="65"/>
                  </a:cubicBezTo>
                  <a:cubicBezTo>
                    <a:pt x="615" y="64"/>
                    <a:pt x="615" y="64"/>
                    <a:pt x="615" y="64"/>
                  </a:cubicBezTo>
                  <a:cubicBezTo>
                    <a:pt x="615" y="64"/>
                    <a:pt x="615" y="64"/>
                    <a:pt x="615" y="64"/>
                  </a:cubicBezTo>
                  <a:cubicBezTo>
                    <a:pt x="615" y="63"/>
                    <a:pt x="615" y="63"/>
                    <a:pt x="614" y="63"/>
                  </a:cubicBezTo>
                  <a:cubicBezTo>
                    <a:pt x="614" y="63"/>
                    <a:pt x="614" y="63"/>
                    <a:pt x="614" y="63"/>
                  </a:cubicBezTo>
                  <a:cubicBezTo>
                    <a:pt x="614" y="62"/>
                    <a:pt x="614" y="62"/>
                    <a:pt x="614" y="62"/>
                  </a:cubicBezTo>
                  <a:cubicBezTo>
                    <a:pt x="614" y="62"/>
                    <a:pt x="614" y="62"/>
                    <a:pt x="614" y="62"/>
                  </a:cubicBezTo>
                  <a:cubicBezTo>
                    <a:pt x="614" y="62"/>
                    <a:pt x="614" y="62"/>
                    <a:pt x="614" y="62"/>
                  </a:cubicBezTo>
                  <a:cubicBezTo>
                    <a:pt x="614" y="61"/>
                    <a:pt x="614" y="61"/>
                    <a:pt x="614" y="61"/>
                  </a:cubicBezTo>
                  <a:cubicBezTo>
                    <a:pt x="614" y="61"/>
                    <a:pt x="614" y="61"/>
                    <a:pt x="614" y="61"/>
                  </a:cubicBezTo>
                  <a:cubicBezTo>
                    <a:pt x="613" y="61"/>
                    <a:pt x="614" y="60"/>
                    <a:pt x="613" y="60"/>
                  </a:cubicBezTo>
                  <a:cubicBezTo>
                    <a:pt x="613" y="60"/>
                    <a:pt x="613" y="60"/>
                    <a:pt x="613" y="60"/>
                  </a:cubicBezTo>
                  <a:cubicBezTo>
                    <a:pt x="613" y="59"/>
                    <a:pt x="613" y="59"/>
                    <a:pt x="613" y="59"/>
                  </a:cubicBezTo>
                  <a:cubicBezTo>
                    <a:pt x="613" y="59"/>
                    <a:pt x="613" y="59"/>
                    <a:pt x="613" y="59"/>
                  </a:cubicBezTo>
                  <a:cubicBezTo>
                    <a:pt x="613" y="58"/>
                    <a:pt x="613" y="58"/>
                    <a:pt x="613" y="58"/>
                  </a:cubicBezTo>
                  <a:cubicBezTo>
                    <a:pt x="613" y="58"/>
                    <a:pt x="613" y="58"/>
                    <a:pt x="613" y="58"/>
                  </a:cubicBezTo>
                  <a:cubicBezTo>
                    <a:pt x="612" y="57"/>
                    <a:pt x="612" y="57"/>
                    <a:pt x="612" y="57"/>
                  </a:cubicBezTo>
                  <a:cubicBezTo>
                    <a:pt x="612" y="57"/>
                    <a:pt x="612" y="57"/>
                    <a:pt x="612" y="57"/>
                  </a:cubicBezTo>
                  <a:cubicBezTo>
                    <a:pt x="612" y="56"/>
                    <a:pt x="612" y="56"/>
                    <a:pt x="612" y="56"/>
                  </a:cubicBezTo>
                  <a:cubicBezTo>
                    <a:pt x="612" y="56"/>
                    <a:pt x="612" y="56"/>
                    <a:pt x="612" y="56"/>
                  </a:cubicBezTo>
                  <a:cubicBezTo>
                    <a:pt x="612" y="55"/>
                    <a:pt x="612" y="55"/>
                    <a:pt x="612" y="55"/>
                  </a:cubicBezTo>
                  <a:cubicBezTo>
                    <a:pt x="611" y="55"/>
                    <a:pt x="611" y="55"/>
                    <a:pt x="611" y="55"/>
                  </a:cubicBezTo>
                  <a:cubicBezTo>
                    <a:pt x="612" y="55"/>
                    <a:pt x="612" y="55"/>
                    <a:pt x="612" y="55"/>
                  </a:cubicBezTo>
                  <a:cubicBezTo>
                    <a:pt x="611" y="54"/>
                    <a:pt x="611" y="54"/>
                    <a:pt x="611" y="54"/>
                  </a:cubicBezTo>
                  <a:cubicBezTo>
                    <a:pt x="611" y="54"/>
                    <a:pt x="611" y="54"/>
                    <a:pt x="611" y="54"/>
                  </a:cubicBezTo>
                  <a:cubicBezTo>
                    <a:pt x="611" y="54"/>
                    <a:pt x="611" y="54"/>
                    <a:pt x="611" y="54"/>
                  </a:cubicBezTo>
                  <a:cubicBezTo>
                    <a:pt x="611" y="53"/>
                    <a:pt x="611" y="53"/>
                    <a:pt x="611" y="53"/>
                  </a:cubicBezTo>
                  <a:cubicBezTo>
                    <a:pt x="611" y="53"/>
                    <a:pt x="611" y="53"/>
                    <a:pt x="611" y="53"/>
                  </a:cubicBezTo>
                  <a:cubicBezTo>
                    <a:pt x="611" y="53"/>
                    <a:pt x="611" y="52"/>
                    <a:pt x="611" y="52"/>
                  </a:cubicBezTo>
                  <a:cubicBezTo>
                    <a:pt x="611" y="52"/>
                    <a:pt x="611" y="52"/>
                    <a:pt x="611" y="52"/>
                  </a:cubicBezTo>
                  <a:cubicBezTo>
                    <a:pt x="610" y="51"/>
                    <a:pt x="611" y="51"/>
                    <a:pt x="610" y="51"/>
                  </a:cubicBezTo>
                  <a:cubicBezTo>
                    <a:pt x="610" y="51"/>
                    <a:pt x="610" y="51"/>
                    <a:pt x="610" y="51"/>
                  </a:cubicBezTo>
                  <a:cubicBezTo>
                    <a:pt x="610" y="50"/>
                    <a:pt x="610" y="50"/>
                    <a:pt x="610" y="50"/>
                  </a:cubicBezTo>
                  <a:cubicBezTo>
                    <a:pt x="610" y="50"/>
                    <a:pt x="610" y="50"/>
                    <a:pt x="610" y="50"/>
                  </a:cubicBezTo>
                  <a:cubicBezTo>
                    <a:pt x="610" y="49"/>
                    <a:pt x="610" y="49"/>
                    <a:pt x="610" y="49"/>
                  </a:cubicBezTo>
                  <a:cubicBezTo>
                    <a:pt x="609" y="49"/>
                    <a:pt x="609" y="49"/>
                    <a:pt x="609" y="49"/>
                  </a:cubicBezTo>
                  <a:cubicBezTo>
                    <a:pt x="609" y="48"/>
                    <a:pt x="609" y="48"/>
                    <a:pt x="609" y="48"/>
                  </a:cubicBezTo>
                  <a:cubicBezTo>
                    <a:pt x="609" y="48"/>
                    <a:pt x="609" y="48"/>
                    <a:pt x="609" y="48"/>
                  </a:cubicBezTo>
                  <a:cubicBezTo>
                    <a:pt x="609" y="48"/>
                    <a:pt x="609" y="48"/>
                    <a:pt x="609" y="48"/>
                  </a:cubicBezTo>
                  <a:cubicBezTo>
                    <a:pt x="609" y="47"/>
                    <a:pt x="609" y="47"/>
                    <a:pt x="609" y="47"/>
                  </a:cubicBezTo>
                  <a:cubicBezTo>
                    <a:pt x="609" y="47"/>
                    <a:pt x="609" y="47"/>
                    <a:pt x="609" y="47"/>
                  </a:cubicBezTo>
                  <a:cubicBezTo>
                    <a:pt x="609" y="47"/>
                    <a:pt x="609" y="47"/>
                    <a:pt x="609" y="47"/>
                  </a:cubicBezTo>
                  <a:cubicBezTo>
                    <a:pt x="609" y="46"/>
                    <a:pt x="609" y="46"/>
                    <a:pt x="608" y="46"/>
                  </a:cubicBezTo>
                  <a:cubicBezTo>
                    <a:pt x="608" y="46"/>
                    <a:pt x="608" y="46"/>
                    <a:pt x="608" y="46"/>
                  </a:cubicBezTo>
                  <a:cubicBezTo>
                    <a:pt x="608" y="46"/>
                    <a:pt x="608" y="45"/>
                    <a:pt x="608" y="45"/>
                  </a:cubicBezTo>
                  <a:cubicBezTo>
                    <a:pt x="608" y="45"/>
                    <a:pt x="608" y="45"/>
                    <a:pt x="608" y="45"/>
                  </a:cubicBezTo>
                  <a:cubicBezTo>
                    <a:pt x="608" y="45"/>
                    <a:pt x="608" y="44"/>
                    <a:pt x="608" y="44"/>
                  </a:cubicBezTo>
                  <a:cubicBezTo>
                    <a:pt x="608" y="44"/>
                    <a:pt x="608" y="44"/>
                    <a:pt x="608" y="44"/>
                  </a:cubicBezTo>
                  <a:cubicBezTo>
                    <a:pt x="607" y="43"/>
                    <a:pt x="608" y="43"/>
                    <a:pt x="607" y="43"/>
                  </a:cubicBezTo>
                  <a:cubicBezTo>
                    <a:pt x="607" y="43"/>
                    <a:pt x="607" y="43"/>
                    <a:pt x="607" y="43"/>
                  </a:cubicBezTo>
                  <a:cubicBezTo>
                    <a:pt x="607" y="43"/>
                    <a:pt x="607" y="42"/>
                    <a:pt x="607" y="42"/>
                  </a:cubicBezTo>
                  <a:cubicBezTo>
                    <a:pt x="607" y="42"/>
                    <a:pt x="607" y="42"/>
                    <a:pt x="607" y="42"/>
                  </a:cubicBezTo>
                  <a:cubicBezTo>
                    <a:pt x="607" y="41"/>
                    <a:pt x="607" y="41"/>
                    <a:pt x="607" y="41"/>
                  </a:cubicBezTo>
                  <a:cubicBezTo>
                    <a:pt x="607" y="41"/>
                    <a:pt x="607" y="41"/>
                    <a:pt x="607" y="41"/>
                  </a:cubicBezTo>
                  <a:cubicBezTo>
                    <a:pt x="607" y="41"/>
                    <a:pt x="607" y="41"/>
                    <a:pt x="607" y="41"/>
                  </a:cubicBezTo>
                  <a:cubicBezTo>
                    <a:pt x="607" y="40"/>
                    <a:pt x="607" y="40"/>
                    <a:pt x="606" y="40"/>
                  </a:cubicBezTo>
                  <a:cubicBezTo>
                    <a:pt x="606" y="40"/>
                    <a:pt x="606" y="40"/>
                    <a:pt x="606" y="40"/>
                  </a:cubicBezTo>
                  <a:cubicBezTo>
                    <a:pt x="606" y="40"/>
                    <a:pt x="606" y="40"/>
                    <a:pt x="606" y="40"/>
                  </a:cubicBezTo>
                  <a:cubicBezTo>
                    <a:pt x="606" y="39"/>
                    <a:pt x="606" y="39"/>
                    <a:pt x="606" y="39"/>
                  </a:cubicBezTo>
                  <a:cubicBezTo>
                    <a:pt x="606" y="39"/>
                    <a:pt x="606" y="39"/>
                    <a:pt x="606" y="39"/>
                  </a:cubicBezTo>
                  <a:cubicBezTo>
                    <a:pt x="606" y="39"/>
                    <a:pt x="606" y="38"/>
                    <a:pt x="606" y="38"/>
                  </a:cubicBezTo>
                  <a:cubicBezTo>
                    <a:pt x="606" y="38"/>
                    <a:pt x="606" y="38"/>
                    <a:pt x="606" y="38"/>
                  </a:cubicBezTo>
                  <a:cubicBezTo>
                    <a:pt x="605" y="38"/>
                    <a:pt x="606" y="37"/>
                    <a:pt x="605" y="37"/>
                  </a:cubicBezTo>
                  <a:cubicBezTo>
                    <a:pt x="605" y="37"/>
                    <a:pt x="605" y="37"/>
                    <a:pt x="605" y="37"/>
                  </a:cubicBezTo>
                  <a:cubicBezTo>
                    <a:pt x="605" y="37"/>
                    <a:pt x="605" y="36"/>
                    <a:pt x="605" y="36"/>
                  </a:cubicBezTo>
                  <a:cubicBezTo>
                    <a:pt x="605" y="36"/>
                    <a:pt x="605" y="36"/>
                    <a:pt x="605" y="36"/>
                  </a:cubicBezTo>
                  <a:cubicBezTo>
                    <a:pt x="605" y="36"/>
                    <a:pt x="605" y="35"/>
                    <a:pt x="605" y="35"/>
                  </a:cubicBezTo>
                  <a:cubicBezTo>
                    <a:pt x="605" y="35"/>
                    <a:pt x="605" y="35"/>
                    <a:pt x="605" y="35"/>
                  </a:cubicBezTo>
                  <a:cubicBezTo>
                    <a:pt x="604" y="34"/>
                    <a:pt x="604" y="34"/>
                    <a:pt x="604" y="34"/>
                  </a:cubicBezTo>
                  <a:cubicBezTo>
                    <a:pt x="600" y="34"/>
                    <a:pt x="597" y="34"/>
                    <a:pt x="593" y="34"/>
                  </a:cubicBezTo>
                  <a:cubicBezTo>
                    <a:pt x="592" y="34"/>
                    <a:pt x="592" y="35"/>
                    <a:pt x="592" y="35"/>
                  </a:cubicBezTo>
                  <a:cubicBezTo>
                    <a:pt x="593" y="35"/>
                    <a:pt x="593" y="35"/>
                    <a:pt x="593" y="35"/>
                  </a:cubicBezTo>
                  <a:cubicBezTo>
                    <a:pt x="592" y="35"/>
                    <a:pt x="592" y="35"/>
                    <a:pt x="592" y="35"/>
                  </a:cubicBezTo>
                  <a:cubicBezTo>
                    <a:pt x="593" y="36"/>
                    <a:pt x="593" y="36"/>
                    <a:pt x="593" y="36"/>
                  </a:cubicBezTo>
                  <a:cubicBezTo>
                    <a:pt x="593" y="36"/>
                    <a:pt x="593" y="36"/>
                    <a:pt x="593" y="36"/>
                  </a:cubicBezTo>
                  <a:cubicBezTo>
                    <a:pt x="593" y="36"/>
                    <a:pt x="593" y="37"/>
                    <a:pt x="593" y="37"/>
                  </a:cubicBezTo>
                  <a:cubicBezTo>
                    <a:pt x="593" y="37"/>
                    <a:pt x="593" y="37"/>
                    <a:pt x="593" y="37"/>
                  </a:cubicBezTo>
                  <a:cubicBezTo>
                    <a:pt x="593" y="37"/>
                    <a:pt x="593" y="38"/>
                    <a:pt x="593" y="38"/>
                  </a:cubicBezTo>
                  <a:cubicBezTo>
                    <a:pt x="593" y="38"/>
                    <a:pt x="593" y="38"/>
                    <a:pt x="593" y="38"/>
                  </a:cubicBezTo>
                  <a:cubicBezTo>
                    <a:pt x="594" y="38"/>
                    <a:pt x="594" y="38"/>
                    <a:pt x="594" y="39"/>
                  </a:cubicBezTo>
                  <a:cubicBezTo>
                    <a:pt x="594" y="39"/>
                    <a:pt x="594" y="39"/>
                    <a:pt x="594" y="39"/>
                  </a:cubicBezTo>
                  <a:cubicBezTo>
                    <a:pt x="594" y="39"/>
                    <a:pt x="594" y="39"/>
                    <a:pt x="594" y="40"/>
                  </a:cubicBezTo>
                  <a:cubicBezTo>
                    <a:pt x="594" y="40"/>
                    <a:pt x="594" y="40"/>
                    <a:pt x="594" y="40"/>
                  </a:cubicBezTo>
                  <a:cubicBezTo>
                    <a:pt x="595" y="40"/>
                    <a:pt x="594" y="40"/>
                    <a:pt x="595" y="41"/>
                  </a:cubicBezTo>
                  <a:cubicBezTo>
                    <a:pt x="595" y="41"/>
                    <a:pt x="595" y="41"/>
                    <a:pt x="595" y="41"/>
                  </a:cubicBezTo>
                  <a:cubicBezTo>
                    <a:pt x="595" y="41"/>
                    <a:pt x="595" y="41"/>
                    <a:pt x="595" y="41"/>
                  </a:cubicBezTo>
                  <a:cubicBezTo>
                    <a:pt x="595" y="41"/>
                    <a:pt x="595" y="41"/>
                    <a:pt x="595" y="41"/>
                  </a:cubicBezTo>
                  <a:cubicBezTo>
                    <a:pt x="595" y="42"/>
                    <a:pt x="595" y="42"/>
                    <a:pt x="595" y="42"/>
                  </a:cubicBezTo>
                  <a:cubicBezTo>
                    <a:pt x="595" y="42"/>
                    <a:pt x="595" y="42"/>
                    <a:pt x="595" y="42"/>
                  </a:cubicBezTo>
                  <a:cubicBezTo>
                    <a:pt x="595" y="43"/>
                    <a:pt x="595" y="43"/>
                    <a:pt x="596" y="43"/>
                  </a:cubicBezTo>
                  <a:cubicBezTo>
                    <a:pt x="596" y="43"/>
                    <a:pt x="596" y="43"/>
                    <a:pt x="596" y="43"/>
                  </a:cubicBezTo>
                  <a:cubicBezTo>
                    <a:pt x="596" y="43"/>
                    <a:pt x="596" y="43"/>
                    <a:pt x="596" y="43"/>
                  </a:cubicBezTo>
                  <a:cubicBezTo>
                    <a:pt x="596" y="44"/>
                    <a:pt x="596" y="44"/>
                    <a:pt x="596" y="44"/>
                  </a:cubicBezTo>
                  <a:cubicBezTo>
                    <a:pt x="596" y="44"/>
                    <a:pt x="596" y="44"/>
                    <a:pt x="596" y="44"/>
                  </a:cubicBezTo>
                  <a:cubicBezTo>
                    <a:pt x="596" y="44"/>
                    <a:pt x="596" y="45"/>
                    <a:pt x="596" y="45"/>
                  </a:cubicBezTo>
                  <a:cubicBezTo>
                    <a:pt x="596" y="45"/>
                    <a:pt x="596" y="45"/>
                    <a:pt x="596" y="45"/>
                  </a:cubicBezTo>
                  <a:cubicBezTo>
                    <a:pt x="596" y="45"/>
                    <a:pt x="596" y="46"/>
                    <a:pt x="597" y="46"/>
                  </a:cubicBezTo>
                  <a:cubicBezTo>
                    <a:pt x="597" y="46"/>
                    <a:pt x="597" y="46"/>
                    <a:pt x="597" y="46"/>
                  </a:cubicBezTo>
                  <a:cubicBezTo>
                    <a:pt x="597" y="46"/>
                    <a:pt x="597" y="46"/>
                    <a:pt x="597" y="47"/>
                  </a:cubicBezTo>
                  <a:cubicBezTo>
                    <a:pt x="597" y="47"/>
                    <a:pt x="597" y="47"/>
                    <a:pt x="597" y="47"/>
                  </a:cubicBezTo>
                  <a:cubicBezTo>
                    <a:pt x="597" y="47"/>
                    <a:pt x="597" y="47"/>
                    <a:pt x="597" y="48"/>
                  </a:cubicBezTo>
                  <a:cubicBezTo>
                    <a:pt x="597" y="48"/>
                    <a:pt x="597" y="48"/>
                    <a:pt x="597" y="48"/>
                  </a:cubicBezTo>
                  <a:cubicBezTo>
                    <a:pt x="598" y="48"/>
                    <a:pt x="597" y="48"/>
                    <a:pt x="598" y="49"/>
                  </a:cubicBezTo>
                  <a:cubicBezTo>
                    <a:pt x="598" y="49"/>
                    <a:pt x="598" y="49"/>
                    <a:pt x="598" y="49"/>
                  </a:cubicBezTo>
                  <a:cubicBezTo>
                    <a:pt x="598" y="49"/>
                    <a:pt x="598" y="49"/>
                    <a:pt x="598" y="49"/>
                  </a:cubicBezTo>
                  <a:cubicBezTo>
                    <a:pt x="598" y="49"/>
                    <a:pt x="598" y="49"/>
                    <a:pt x="598" y="49"/>
                  </a:cubicBezTo>
                  <a:cubicBezTo>
                    <a:pt x="598" y="50"/>
                    <a:pt x="598" y="50"/>
                    <a:pt x="598" y="50"/>
                  </a:cubicBezTo>
                  <a:cubicBezTo>
                    <a:pt x="598" y="50"/>
                    <a:pt x="598" y="50"/>
                    <a:pt x="598" y="50"/>
                  </a:cubicBezTo>
                  <a:cubicBezTo>
                    <a:pt x="599" y="51"/>
                    <a:pt x="598" y="51"/>
                    <a:pt x="599" y="51"/>
                  </a:cubicBezTo>
                  <a:cubicBezTo>
                    <a:pt x="599" y="51"/>
                    <a:pt x="599" y="51"/>
                    <a:pt x="599" y="51"/>
                  </a:cubicBezTo>
                  <a:cubicBezTo>
                    <a:pt x="599" y="51"/>
                    <a:pt x="599" y="51"/>
                    <a:pt x="599" y="51"/>
                  </a:cubicBezTo>
                  <a:cubicBezTo>
                    <a:pt x="599" y="52"/>
                    <a:pt x="599" y="52"/>
                    <a:pt x="599" y="52"/>
                  </a:cubicBezTo>
                  <a:cubicBezTo>
                    <a:pt x="599" y="52"/>
                    <a:pt x="599" y="52"/>
                    <a:pt x="599" y="52"/>
                  </a:cubicBezTo>
                  <a:cubicBezTo>
                    <a:pt x="599" y="52"/>
                    <a:pt x="599" y="53"/>
                    <a:pt x="599" y="53"/>
                  </a:cubicBezTo>
                  <a:cubicBezTo>
                    <a:pt x="599" y="53"/>
                    <a:pt x="599" y="53"/>
                    <a:pt x="599" y="53"/>
                  </a:cubicBezTo>
                  <a:cubicBezTo>
                    <a:pt x="600" y="53"/>
                    <a:pt x="600" y="54"/>
                    <a:pt x="600" y="54"/>
                  </a:cubicBezTo>
                  <a:cubicBezTo>
                    <a:pt x="600" y="54"/>
                    <a:pt x="600" y="54"/>
                    <a:pt x="600" y="54"/>
                  </a:cubicBezTo>
                  <a:cubicBezTo>
                    <a:pt x="600" y="54"/>
                    <a:pt x="600" y="54"/>
                    <a:pt x="600" y="55"/>
                  </a:cubicBezTo>
                  <a:cubicBezTo>
                    <a:pt x="600" y="55"/>
                    <a:pt x="600" y="55"/>
                    <a:pt x="600" y="55"/>
                  </a:cubicBezTo>
                  <a:cubicBezTo>
                    <a:pt x="600" y="55"/>
                    <a:pt x="600" y="55"/>
                    <a:pt x="600" y="56"/>
                  </a:cubicBezTo>
                  <a:cubicBezTo>
                    <a:pt x="600" y="56"/>
                    <a:pt x="600" y="56"/>
                    <a:pt x="600" y="56"/>
                  </a:cubicBezTo>
                  <a:cubicBezTo>
                    <a:pt x="601" y="56"/>
                    <a:pt x="600" y="56"/>
                    <a:pt x="601" y="57"/>
                  </a:cubicBezTo>
                  <a:cubicBezTo>
                    <a:pt x="601" y="57"/>
                    <a:pt x="601" y="57"/>
                    <a:pt x="601" y="57"/>
                  </a:cubicBezTo>
                  <a:cubicBezTo>
                    <a:pt x="601" y="57"/>
                    <a:pt x="601" y="57"/>
                    <a:pt x="601" y="57"/>
                  </a:cubicBezTo>
                  <a:cubicBezTo>
                    <a:pt x="601" y="57"/>
                    <a:pt x="601" y="57"/>
                    <a:pt x="601" y="57"/>
                  </a:cubicBezTo>
                  <a:cubicBezTo>
                    <a:pt x="601" y="58"/>
                    <a:pt x="601" y="58"/>
                    <a:pt x="602" y="58"/>
                  </a:cubicBezTo>
                  <a:cubicBezTo>
                    <a:pt x="602" y="58"/>
                    <a:pt x="602" y="58"/>
                    <a:pt x="602" y="58"/>
                  </a:cubicBezTo>
                  <a:cubicBezTo>
                    <a:pt x="602" y="59"/>
                    <a:pt x="602" y="59"/>
                    <a:pt x="602" y="59"/>
                  </a:cubicBezTo>
                  <a:cubicBezTo>
                    <a:pt x="602" y="59"/>
                    <a:pt x="602" y="59"/>
                    <a:pt x="602" y="59"/>
                  </a:cubicBezTo>
                  <a:cubicBezTo>
                    <a:pt x="602" y="59"/>
                    <a:pt x="602" y="59"/>
                    <a:pt x="602" y="59"/>
                  </a:cubicBezTo>
                  <a:cubicBezTo>
                    <a:pt x="602" y="60"/>
                    <a:pt x="602" y="60"/>
                    <a:pt x="602" y="60"/>
                  </a:cubicBezTo>
                  <a:cubicBezTo>
                    <a:pt x="602" y="60"/>
                    <a:pt x="602" y="60"/>
                    <a:pt x="602" y="60"/>
                  </a:cubicBezTo>
                  <a:cubicBezTo>
                    <a:pt x="602" y="60"/>
                    <a:pt x="602" y="61"/>
                    <a:pt x="602" y="61"/>
                  </a:cubicBezTo>
                  <a:cubicBezTo>
                    <a:pt x="603" y="61"/>
                    <a:pt x="603" y="61"/>
                    <a:pt x="603" y="61"/>
                  </a:cubicBezTo>
                  <a:cubicBezTo>
                    <a:pt x="603" y="61"/>
                    <a:pt x="603" y="62"/>
                    <a:pt x="603" y="62"/>
                  </a:cubicBezTo>
                  <a:cubicBezTo>
                    <a:pt x="603" y="62"/>
                    <a:pt x="603" y="62"/>
                    <a:pt x="603" y="62"/>
                  </a:cubicBezTo>
                  <a:cubicBezTo>
                    <a:pt x="603" y="62"/>
                    <a:pt x="603" y="62"/>
                    <a:pt x="603" y="63"/>
                  </a:cubicBezTo>
                  <a:cubicBezTo>
                    <a:pt x="603" y="63"/>
                    <a:pt x="603" y="63"/>
                    <a:pt x="603" y="63"/>
                  </a:cubicBezTo>
                  <a:cubicBezTo>
                    <a:pt x="603" y="63"/>
                    <a:pt x="603" y="63"/>
                    <a:pt x="604" y="64"/>
                  </a:cubicBezTo>
                  <a:cubicBezTo>
                    <a:pt x="604" y="64"/>
                    <a:pt x="604" y="64"/>
                    <a:pt x="604" y="64"/>
                  </a:cubicBezTo>
                  <a:cubicBezTo>
                    <a:pt x="604" y="64"/>
                    <a:pt x="604" y="64"/>
                    <a:pt x="604" y="65"/>
                  </a:cubicBezTo>
                  <a:cubicBezTo>
                    <a:pt x="604" y="65"/>
                    <a:pt x="604" y="65"/>
                    <a:pt x="604" y="65"/>
                  </a:cubicBezTo>
                  <a:cubicBezTo>
                    <a:pt x="604" y="65"/>
                    <a:pt x="604" y="65"/>
                    <a:pt x="604" y="65"/>
                  </a:cubicBezTo>
                  <a:cubicBezTo>
                    <a:pt x="604" y="65"/>
                    <a:pt x="604" y="65"/>
                    <a:pt x="604" y="65"/>
                  </a:cubicBezTo>
                  <a:cubicBezTo>
                    <a:pt x="605" y="66"/>
                    <a:pt x="604" y="66"/>
                    <a:pt x="605" y="66"/>
                  </a:cubicBezTo>
                  <a:cubicBezTo>
                    <a:pt x="605" y="66"/>
                    <a:pt x="605" y="66"/>
                    <a:pt x="605" y="66"/>
                  </a:cubicBezTo>
                  <a:cubicBezTo>
                    <a:pt x="605" y="67"/>
                    <a:pt x="605" y="67"/>
                    <a:pt x="605" y="67"/>
                  </a:cubicBezTo>
                  <a:cubicBezTo>
                    <a:pt x="605" y="67"/>
                    <a:pt x="605" y="67"/>
                    <a:pt x="605" y="67"/>
                  </a:cubicBezTo>
                  <a:cubicBezTo>
                    <a:pt x="605" y="67"/>
                    <a:pt x="605" y="67"/>
                    <a:pt x="605" y="67"/>
                  </a:cubicBezTo>
                  <a:cubicBezTo>
                    <a:pt x="605" y="68"/>
                    <a:pt x="605" y="68"/>
                    <a:pt x="605" y="68"/>
                  </a:cubicBezTo>
                  <a:cubicBezTo>
                    <a:pt x="605" y="68"/>
                    <a:pt x="605" y="68"/>
                    <a:pt x="605" y="68"/>
                  </a:cubicBezTo>
                  <a:cubicBezTo>
                    <a:pt x="605" y="68"/>
                    <a:pt x="605" y="69"/>
                    <a:pt x="606" y="69"/>
                  </a:cubicBezTo>
                  <a:cubicBezTo>
                    <a:pt x="606" y="69"/>
                    <a:pt x="606" y="69"/>
                    <a:pt x="606" y="69"/>
                  </a:cubicBezTo>
                  <a:cubicBezTo>
                    <a:pt x="606" y="69"/>
                    <a:pt x="606" y="70"/>
                    <a:pt x="606" y="70"/>
                  </a:cubicBezTo>
                  <a:cubicBezTo>
                    <a:pt x="606" y="70"/>
                    <a:pt x="606" y="70"/>
                    <a:pt x="606" y="70"/>
                  </a:cubicBezTo>
                  <a:cubicBezTo>
                    <a:pt x="606" y="70"/>
                    <a:pt x="606" y="70"/>
                    <a:pt x="606" y="71"/>
                  </a:cubicBezTo>
                  <a:cubicBezTo>
                    <a:pt x="606" y="71"/>
                    <a:pt x="606" y="71"/>
                    <a:pt x="606" y="71"/>
                  </a:cubicBezTo>
                  <a:cubicBezTo>
                    <a:pt x="607" y="71"/>
                    <a:pt x="606" y="71"/>
                    <a:pt x="607" y="72"/>
                  </a:cubicBezTo>
                  <a:cubicBezTo>
                    <a:pt x="607" y="72"/>
                    <a:pt x="607" y="72"/>
                    <a:pt x="607" y="72"/>
                  </a:cubicBezTo>
                  <a:cubicBezTo>
                    <a:pt x="607" y="72"/>
                    <a:pt x="607" y="72"/>
                    <a:pt x="607" y="73"/>
                  </a:cubicBezTo>
                  <a:cubicBezTo>
                    <a:pt x="607" y="73"/>
                    <a:pt x="607" y="73"/>
                    <a:pt x="607" y="73"/>
                  </a:cubicBezTo>
                  <a:cubicBezTo>
                    <a:pt x="607" y="73"/>
                    <a:pt x="607" y="73"/>
                    <a:pt x="607" y="73"/>
                  </a:cubicBezTo>
                  <a:cubicBezTo>
                    <a:pt x="607" y="73"/>
                    <a:pt x="607" y="73"/>
                    <a:pt x="607" y="73"/>
                  </a:cubicBezTo>
                  <a:cubicBezTo>
                    <a:pt x="608" y="74"/>
                    <a:pt x="607" y="74"/>
                    <a:pt x="608" y="74"/>
                  </a:cubicBezTo>
                  <a:cubicBezTo>
                    <a:pt x="608" y="74"/>
                    <a:pt x="608" y="74"/>
                    <a:pt x="608" y="74"/>
                  </a:cubicBezTo>
                  <a:cubicBezTo>
                    <a:pt x="608" y="75"/>
                    <a:pt x="608" y="75"/>
                    <a:pt x="608" y="75"/>
                  </a:cubicBezTo>
                  <a:cubicBezTo>
                    <a:pt x="608" y="75"/>
                    <a:pt x="608" y="75"/>
                    <a:pt x="608" y="75"/>
                  </a:cubicBezTo>
                  <a:cubicBezTo>
                    <a:pt x="608" y="75"/>
                    <a:pt x="608" y="75"/>
                    <a:pt x="608" y="75"/>
                  </a:cubicBezTo>
                  <a:cubicBezTo>
                    <a:pt x="608" y="76"/>
                    <a:pt x="608" y="76"/>
                    <a:pt x="608" y="76"/>
                  </a:cubicBezTo>
                  <a:cubicBezTo>
                    <a:pt x="608" y="76"/>
                    <a:pt x="608" y="76"/>
                    <a:pt x="608" y="76"/>
                  </a:cubicBezTo>
                  <a:cubicBezTo>
                    <a:pt x="609" y="76"/>
                    <a:pt x="609" y="77"/>
                    <a:pt x="609" y="77"/>
                  </a:cubicBezTo>
                  <a:cubicBezTo>
                    <a:pt x="609" y="77"/>
                    <a:pt x="609" y="77"/>
                    <a:pt x="609" y="77"/>
                  </a:cubicBezTo>
                  <a:cubicBezTo>
                    <a:pt x="609" y="77"/>
                    <a:pt x="609" y="77"/>
                    <a:pt x="609" y="77"/>
                  </a:cubicBezTo>
                  <a:cubicBezTo>
                    <a:pt x="609" y="77"/>
                    <a:pt x="609" y="78"/>
                    <a:pt x="609" y="78"/>
                  </a:cubicBezTo>
                  <a:cubicBezTo>
                    <a:pt x="609" y="78"/>
                    <a:pt x="609" y="78"/>
                    <a:pt x="609" y="78"/>
                  </a:cubicBezTo>
                  <a:cubicBezTo>
                    <a:pt x="609" y="78"/>
                    <a:pt x="609" y="78"/>
                    <a:pt x="609" y="79"/>
                  </a:cubicBezTo>
                  <a:cubicBezTo>
                    <a:pt x="610" y="79"/>
                    <a:pt x="610" y="79"/>
                    <a:pt x="610" y="79"/>
                  </a:cubicBezTo>
                  <a:cubicBezTo>
                    <a:pt x="610" y="79"/>
                    <a:pt x="610" y="79"/>
                    <a:pt x="610" y="80"/>
                  </a:cubicBezTo>
                  <a:cubicBezTo>
                    <a:pt x="610" y="80"/>
                    <a:pt x="610" y="80"/>
                    <a:pt x="610" y="80"/>
                  </a:cubicBezTo>
                  <a:cubicBezTo>
                    <a:pt x="610" y="80"/>
                    <a:pt x="610" y="80"/>
                    <a:pt x="610" y="81"/>
                  </a:cubicBezTo>
                  <a:cubicBezTo>
                    <a:pt x="610" y="81"/>
                    <a:pt x="610" y="81"/>
                    <a:pt x="610" y="81"/>
                  </a:cubicBezTo>
                  <a:cubicBezTo>
                    <a:pt x="610" y="81"/>
                    <a:pt x="610" y="81"/>
                    <a:pt x="611" y="81"/>
                  </a:cubicBezTo>
                  <a:cubicBezTo>
                    <a:pt x="611" y="81"/>
                    <a:pt x="611" y="81"/>
                    <a:pt x="611" y="81"/>
                  </a:cubicBezTo>
                  <a:cubicBezTo>
                    <a:pt x="611" y="82"/>
                    <a:pt x="611" y="82"/>
                    <a:pt x="611" y="82"/>
                  </a:cubicBezTo>
                  <a:cubicBezTo>
                    <a:pt x="611" y="82"/>
                    <a:pt x="611" y="82"/>
                    <a:pt x="611" y="82"/>
                  </a:cubicBezTo>
                  <a:cubicBezTo>
                    <a:pt x="611" y="83"/>
                    <a:pt x="611" y="83"/>
                    <a:pt x="611" y="83"/>
                  </a:cubicBezTo>
                  <a:cubicBezTo>
                    <a:pt x="611" y="83"/>
                    <a:pt x="611" y="83"/>
                    <a:pt x="611" y="83"/>
                  </a:cubicBezTo>
                  <a:cubicBezTo>
                    <a:pt x="611" y="83"/>
                    <a:pt x="611" y="83"/>
                    <a:pt x="611" y="83"/>
                  </a:cubicBezTo>
                  <a:cubicBezTo>
                    <a:pt x="611" y="84"/>
                    <a:pt x="611" y="84"/>
                    <a:pt x="612" y="84"/>
                  </a:cubicBezTo>
                  <a:cubicBezTo>
                    <a:pt x="612" y="84"/>
                    <a:pt x="612" y="84"/>
                    <a:pt x="612" y="84"/>
                  </a:cubicBezTo>
                  <a:cubicBezTo>
                    <a:pt x="612" y="84"/>
                    <a:pt x="612" y="85"/>
                    <a:pt x="612" y="85"/>
                  </a:cubicBezTo>
                  <a:cubicBezTo>
                    <a:pt x="612" y="85"/>
                    <a:pt x="612" y="85"/>
                    <a:pt x="612" y="85"/>
                  </a:cubicBezTo>
                  <a:cubicBezTo>
                    <a:pt x="612" y="85"/>
                    <a:pt x="612" y="85"/>
                    <a:pt x="612" y="85"/>
                  </a:cubicBezTo>
                  <a:cubicBezTo>
                    <a:pt x="612" y="85"/>
                    <a:pt x="612" y="86"/>
                    <a:pt x="612" y="86"/>
                  </a:cubicBezTo>
                  <a:cubicBezTo>
                    <a:pt x="612" y="86"/>
                    <a:pt x="612" y="86"/>
                    <a:pt x="612" y="86"/>
                  </a:cubicBezTo>
                  <a:cubicBezTo>
                    <a:pt x="612" y="86"/>
                    <a:pt x="612" y="86"/>
                    <a:pt x="613" y="87"/>
                  </a:cubicBezTo>
                  <a:cubicBezTo>
                    <a:pt x="613" y="87"/>
                    <a:pt x="613" y="87"/>
                    <a:pt x="613" y="87"/>
                  </a:cubicBezTo>
                  <a:cubicBezTo>
                    <a:pt x="613" y="87"/>
                    <a:pt x="613" y="87"/>
                    <a:pt x="613" y="88"/>
                  </a:cubicBezTo>
                  <a:cubicBezTo>
                    <a:pt x="613" y="88"/>
                    <a:pt x="613" y="88"/>
                    <a:pt x="613" y="88"/>
                  </a:cubicBezTo>
                  <a:cubicBezTo>
                    <a:pt x="613" y="88"/>
                    <a:pt x="613" y="88"/>
                    <a:pt x="613" y="89"/>
                  </a:cubicBezTo>
                  <a:cubicBezTo>
                    <a:pt x="613" y="89"/>
                    <a:pt x="613" y="89"/>
                    <a:pt x="613" y="89"/>
                  </a:cubicBezTo>
                  <a:cubicBezTo>
                    <a:pt x="613" y="89"/>
                    <a:pt x="613" y="89"/>
                    <a:pt x="614" y="89"/>
                  </a:cubicBezTo>
                  <a:cubicBezTo>
                    <a:pt x="614" y="89"/>
                    <a:pt x="614" y="89"/>
                    <a:pt x="614" y="89"/>
                  </a:cubicBezTo>
                  <a:cubicBezTo>
                    <a:pt x="614" y="90"/>
                    <a:pt x="614" y="90"/>
                    <a:pt x="614" y="90"/>
                  </a:cubicBezTo>
                  <a:cubicBezTo>
                    <a:pt x="614" y="90"/>
                    <a:pt x="614" y="90"/>
                    <a:pt x="614" y="90"/>
                  </a:cubicBezTo>
                  <a:cubicBezTo>
                    <a:pt x="614" y="91"/>
                    <a:pt x="614" y="91"/>
                    <a:pt x="614" y="91"/>
                  </a:cubicBezTo>
                  <a:cubicBezTo>
                    <a:pt x="614" y="91"/>
                    <a:pt x="614" y="91"/>
                    <a:pt x="614" y="91"/>
                  </a:cubicBezTo>
                  <a:cubicBezTo>
                    <a:pt x="614" y="91"/>
                    <a:pt x="614" y="91"/>
                    <a:pt x="614" y="91"/>
                  </a:cubicBezTo>
                  <a:cubicBezTo>
                    <a:pt x="615" y="92"/>
                    <a:pt x="614" y="92"/>
                    <a:pt x="615" y="92"/>
                  </a:cubicBezTo>
                  <a:cubicBezTo>
                    <a:pt x="615" y="92"/>
                    <a:pt x="615" y="92"/>
                    <a:pt x="615" y="92"/>
                  </a:cubicBezTo>
                  <a:cubicBezTo>
                    <a:pt x="615" y="92"/>
                    <a:pt x="615" y="93"/>
                    <a:pt x="615" y="93"/>
                  </a:cubicBezTo>
                  <a:cubicBezTo>
                    <a:pt x="615" y="93"/>
                    <a:pt x="615" y="93"/>
                    <a:pt x="615" y="93"/>
                  </a:cubicBezTo>
                  <a:cubicBezTo>
                    <a:pt x="615" y="93"/>
                    <a:pt x="615" y="93"/>
                    <a:pt x="615" y="93"/>
                  </a:cubicBezTo>
                  <a:cubicBezTo>
                    <a:pt x="615" y="93"/>
                    <a:pt x="615" y="94"/>
                    <a:pt x="615" y="94"/>
                  </a:cubicBezTo>
                  <a:cubicBezTo>
                    <a:pt x="615" y="94"/>
                    <a:pt x="615" y="94"/>
                    <a:pt x="615" y="94"/>
                  </a:cubicBezTo>
                  <a:cubicBezTo>
                    <a:pt x="616" y="94"/>
                    <a:pt x="616" y="94"/>
                    <a:pt x="616" y="95"/>
                  </a:cubicBezTo>
                  <a:cubicBezTo>
                    <a:pt x="616" y="95"/>
                    <a:pt x="616" y="95"/>
                    <a:pt x="616" y="95"/>
                  </a:cubicBezTo>
                  <a:cubicBezTo>
                    <a:pt x="616" y="95"/>
                    <a:pt x="616" y="95"/>
                    <a:pt x="616" y="96"/>
                  </a:cubicBezTo>
                  <a:cubicBezTo>
                    <a:pt x="616" y="96"/>
                    <a:pt x="616" y="96"/>
                    <a:pt x="616" y="96"/>
                  </a:cubicBezTo>
                  <a:cubicBezTo>
                    <a:pt x="616" y="96"/>
                    <a:pt x="616" y="96"/>
                    <a:pt x="617" y="97"/>
                  </a:cubicBezTo>
                  <a:cubicBezTo>
                    <a:pt x="616" y="97"/>
                    <a:pt x="616" y="97"/>
                    <a:pt x="616" y="97"/>
                  </a:cubicBezTo>
                  <a:cubicBezTo>
                    <a:pt x="617" y="97"/>
                    <a:pt x="617" y="97"/>
                    <a:pt x="617" y="97"/>
                  </a:cubicBezTo>
                  <a:cubicBezTo>
                    <a:pt x="617" y="97"/>
                    <a:pt x="617" y="97"/>
                    <a:pt x="617" y="97"/>
                  </a:cubicBezTo>
                  <a:cubicBezTo>
                    <a:pt x="617" y="98"/>
                    <a:pt x="617" y="98"/>
                    <a:pt x="617" y="98"/>
                  </a:cubicBezTo>
                  <a:cubicBezTo>
                    <a:pt x="617" y="98"/>
                    <a:pt x="617" y="98"/>
                    <a:pt x="617" y="98"/>
                  </a:cubicBezTo>
                  <a:cubicBezTo>
                    <a:pt x="617" y="99"/>
                    <a:pt x="617" y="99"/>
                    <a:pt x="617" y="99"/>
                  </a:cubicBezTo>
                  <a:cubicBezTo>
                    <a:pt x="618" y="99"/>
                    <a:pt x="618" y="99"/>
                    <a:pt x="618" y="99"/>
                  </a:cubicBezTo>
                  <a:cubicBezTo>
                    <a:pt x="618" y="99"/>
                    <a:pt x="618" y="99"/>
                    <a:pt x="618" y="99"/>
                  </a:cubicBezTo>
                  <a:cubicBezTo>
                    <a:pt x="618" y="100"/>
                    <a:pt x="618" y="100"/>
                    <a:pt x="618" y="100"/>
                  </a:cubicBezTo>
                  <a:cubicBezTo>
                    <a:pt x="618" y="100"/>
                    <a:pt x="618" y="100"/>
                    <a:pt x="618" y="100"/>
                  </a:cubicBezTo>
                  <a:cubicBezTo>
                    <a:pt x="618" y="100"/>
                    <a:pt x="618" y="101"/>
                    <a:pt x="618" y="101"/>
                  </a:cubicBezTo>
                  <a:cubicBezTo>
                    <a:pt x="618" y="101"/>
                    <a:pt x="619" y="101"/>
                    <a:pt x="618" y="102"/>
                  </a:cubicBezTo>
                  <a:cubicBezTo>
                    <a:pt x="618" y="102"/>
                    <a:pt x="618" y="102"/>
                    <a:pt x="618" y="103"/>
                  </a:cubicBezTo>
                  <a:cubicBezTo>
                    <a:pt x="618" y="103"/>
                    <a:pt x="618" y="103"/>
                    <a:pt x="618" y="103"/>
                  </a:cubicBezTo>
                  <a:cubicBezTo>
                    <a:pt x="618" y="103"/>
                    <a:pt x="618" y="103"/>
                    <a:pt x="618" y="103"/>
                  </a:cubicBezTo>
                  <a:cubicBezTo>
                    <a:pt x="618" y="103"/>
                    <a:pt x="618" y="103"/>
                    <a:pt x="618" y="103"/>
                  </a:cubicBezTo>
                  <a:cubicBezTo>
                    <a:pt x="617" y="103"/>
                    <a:pt x="617" y="104"/>
                    <a:pt x="617" y="104"/>
                  </a:cubicBezTo>
                  <a:cubicBezTo>
                    <a:pt x="617" y="104"/>
                    <a:pt x="617" y="104"/>
                    <a:pt x="617" y="104"/>
                  </a:cubicBezTo>
                  <a:cubicBezTo>
                    <a:pt x="617" y="104"/>
                    <a:pt x="617" y="104"/>
                    <a:pt x="617" y="104"/>
                  </a:cubicBezTo>
                  <a:cubicBezTo>
                    <a:pt x="617" y="105"/>
                    <a:pt x="617" y="105"/>
                    <a:pt x="617" y="105"/>
                  </a:cubicBezTo>
                  <a:cubicBezTo>
                    <a:pt x="617" y="105"/>
                    <a:pt x="617" y="105"/>
                    <a:pt x="617" y="105"/>
                  </a:cubicBezTo>
                  <a:cubicBezTo>
                    <a:pt x="617" y="105"/>
                    <a:pt x="617" y="106"/>
                    <a:pt x="616" y="106"/>
                  </a:cubicBezTo>
                  <a:cubicBezTo>
                    <a:pt x="617" y="106"/>
                    <a:pt x="617" y="106"/>
                    <a:pt x="617" y="106"/>
                  </a:cubicBezTo>
                  <a:cubicBezTo>
                    <a:pt x="616" y="106"/>
                    <a:pt x="616" y="106"/>
                    <a:pt x="616" y="107"/>
                  </a:cubicBezTo>
                  <a:cubicBezTo>
                    <a:pt x="616" y="107"/>
                    <a:pt x="616" y="107"/>
                    <a:pt x="616" y="107"/>
                  </a:cubicBezTo>
                  <a:cubicBezTo>
                    <a:pt x="616" y="107"/>
                    <a:pt x="616" y="107"/>
                    <a:pt x="616" y="107"/>
                  </a:cubicBezTo>
                  <a:cubicBezTo>
                    <a:pt x="616" y="107"/>
                    <a:pt x="616" y="107"/>
                    <a:pt x="616" y="107"/>
                  </a:cubicBezTo>
                  <a:cubicBezTo>
                    <a:pt x="616" y="107"/>
                    <a:pt x="616" y="107"/>
                    <a:pt x="616" y="107"/>
                  </a:cubicBezTo>
                  <a:cubicBezTo>
                    <a:pt x="616" y="108"/>
                    <a:pt x="616" y="108"/>
                    <a:pt x="615" y="108"/>
                  </a:cubicBezTo>
                  <a:cubicBezTo>
                    <a:pt x="615" y="108"/>
                    <a:pt x="615" y="108"/>
                    <a:pt x="615" y="108"/>
                  </a:cubicBezTo>
                  <a:cubicBezTo>
                    <a:pt x="615" y="109"/>
                    <a:pt x="615" y="109"/>
                    <a:pt x="615" y="109"/>
                  </a:cubicBezTo>
                  <a:cubicBezTo>
                    <a:pt x="615" y="109"/>
                    <a:pt x="615" y="109"/>
                    <a:pt x="615" y="109"/>
                  </a:cubicBezTo>
                  <a:cubicBezTo>
                    <a:pt x="615" y="109"/>
                    <a:pt x="615" y="110"/>
                    <a:pt x="615" y="110"/>
                  </a:cubicBezTo>
                  <a:cubicBezTo>
                    <a:pt x="615" y="110"/>
                    <a:pt x="615" y="110"/>
                    <a:pt x="615" y="110"/>
                  </a:cubicBezTo>
                  <a:cubicBezTo>
                    <a:pt x="614" y="110"/>
                    <a:pt x="615" y="110"/>
                    <a:pt x="614" y="111"/>
                  </a:cubicBezTo>
                  <a:cubicBezTo>
                    <a:pt x="614" y="111"/>
                    <a:pt x="614" y="111"/>
                    <a:pt x="614" y="111"/>
                  </a:cubicBezTo>
                  <a:cubicBezTo>
                    <a:pt x="614" y="111"/>
                    <a:pt x="614" y="111"/>
                    <a:pt x="614" y="111"/>
                  </a:cubicBezTo>
                  <a:cubicBezTo>
                    <a:pt x="614" y="111"/>
                    <a:pt x="614" y="111"/>
                    <a:pt x="614" y="112"/>
                  </a:cubicBezTo>
                  <a:cubicBezTo>
                    <a:pt x="614" y="112"/>
                    <a:pt x="614" y="112"/>
                    <a:pt x="614" y="112"/>
                  </a:cubicBezTo>
                  <a:cubicBezTo>
                    <a:pt x="614" y="112"/>
                    <a:pt x="614" y="112"/>
                    <a:pt x="614" y="112"/>
                  </a:cubicBezTo>
                  <a:cubicBezTo>
                    <a:pt x="614" y="112"/>
                    <a:pt x="614" y="112"/>
                    <a:pt x="614" y="112"/>
                  </a:cubicBezTo>
                  <a:cubicBezTo>
                    <a:pt x="613" y="113"/>
                    <a:pt x="613" y="113"/>
                    <a:pt x="613" y="113"/>
                  </a:cubicBezTo>
                  <a:cubicBezTo>
                    <a:pt x="613" y="113"/>
                    <a:pt x="613" y="113"/>
                    <a:pt x="613" y="113"/>
                  </a:cubicBezTo>
                  <a:cubicBezTo>
                    <a:pt x="613" y="113"/>
                    <a:pt x="613" y="113"/>
                    <a:pt x="613" y="113"/>
                  </a:cubicBezTo>
                  <a:cubicBezTo>
                    <a:pt x="613" y="114"/>
                    <a:pt x="613" y="114"/>
                    <a:pt x="613" y="114"/>
                  </a:cubicBezTo>
                  <a:cubicBezTo>
                    <a:pt x="613" y="114"/>
                    <a:pt x="613" y="114"/>
                    <a:pt x="613" y="114"/>
                  </a:cubicBezTo>
                  <a:cubicBezTo>
                    <a:pt x="613" y="114"/>
                    <a:pt x="613" y="115"/>
                    <a:pt x="613" y="115"/>
                  </a:cubicBezTo>
                  <a:cubicBezTo>
                    <a:pt x="613" y="115"/>
                    <a:pt x="613" y="115"/>
                    <a:pt x="613" y="115"/>
                  </a:cubicBezTo>
                  <a:cubicBezTo>
                    <a:pt x="612" y="115"/>
                    <a:pt x="612" y="115"/>
                    <a:pt x="612" y="116"/>
                  </a:cubicBezTo>
                  <a:cubicBezTo>
                    <a:pt x="612" y="115"/>
                    <a:pt x="612" y="115"/>
                    <a:pt x="612" y="115"/>
                  </a:cubicBezTo>
                  <a:cubicBezTo>
                    <a:pt x="612" y="116"/>
                    <a:pt x="612" y="116"/>
                    <a:pt x="612" y="116"/>
                  </a:cubicBezTo>
                  <a:cubicBezTo>
                    <a:pt x="612" y="116"/>
                    <a:pt x="612" y="116"/>
                    <a:pt x="612" y="116"/>
                  </a:cubicBezTo>
                  <a:cubicBezTo>
                    <a:pt x="612" y="116"/>
                    <a:pt x="612" y="117"/>
                    <a:pt x="612" y="117"/>
                  </a:cubicBezTo>
                  <a:cubicBezTo>
                    <a:pt x="612" y="117"/>
                    <a:pt x="612" y="117"/>
                    <a:pt x="612" y="117"/>
                  </a:cubicBezTo>
                  <a:cubicBezTo>
                    <a:pt x="611" y="117"/>
                    <a:pt x="611" y="117"/>
                    <a:pt x="611" y="118"/>
                  </a:cubicBezTo>
                  <a:cubicBezTo>
                    <a:pt x="611" y="118"/>
                    <a:pt x="611" y="118"/>
                    <a:pt x="611" y="118"/>
                  </a:cubicBezTo>
                  <a:cubicBezTo>
                    <a:pt x="611" y="118"/>
                    <a:pt x="611" y="118"/>
                    <a:pt x="611" y="118"/>
                  </a:cubicBezTo>
                  <a:cubicBezTo>
                    <a:pt x="611" y="118"/>
                    <a:pt x="611" y="118"/>
                    <a:pt x="611" y="118"/>
                  </a:cubicBezTo>
                  <a:cubicBezTo>
                    <a:pt x="611" y="118"/>
                    <a:pt x="611" y="118"/>
                    <a:pt x="611" y="119"/>
                  </a:cubicBezTo>
                  <a:cubicBezTo>
                    <a:pt x="611" y="119"/>
                    <a:pt x="611" y="119"/>
                    <a:pt x="611" y="119"/>
                  </a:cubicBezTo>
                  <a:cubicBezTo>
                    <a:pt x="610" y="119"/>
                    <a:pt x="610" y="119"/>
                    <a:pt x="610" y="119"/>
                  </a:cubicBezTo>
                  <a:cubicBezTo>
                    <a:pt x="610" y="119"/>
                    <a:pt x="610" y="119"/>
                    <a:pt x="610" y="119"/>
                  </a:cubicBezTo>
                  <a:cubicBezTo>
                    <a:pt x="610" y="119"/>
                    <a:pt x="610" y="119"/>
                    <a:pt x="610" y="119"/>
                  </a:cubicBezTo>
                  <a:cubicBezTo>
                    <a:pt x="610" y="119"/>
                    <a:pt x="610" y="119"/>
                    <a:pt x="610" y="119"/>
                  </a:cubicBezTo>
                  <a:cubicBezTo>
                    <a:pt x="610" y="119"/>
                    <a:pt x="610" y="119"/>
                    <a:pt x="610" y="120"/>
                  </a:cubicBezTo>
                  <a:cubicBezTo>
                    <a:pt x="610" y="120"/>
                    <a:pt x="610" y="120"/>
                    <a:pt x="610" y="120"/>
                  </a:cubicBezTo>
                  <a:cubicBezTo>
                    <a:pt x="609" y="120"/>
                    <a:pt x="609" y="120"/>
                    <a:pt x="609" y="120"/>
                  </a:cubicBezTo>
                  <a:cubicBezTo>
                    <a:pt x="609" y="120"/>
                    <a:pt x="609" y="120"/>
                    <a:pt x="609" y="120"/>
                  </a:cubicBezTo>
                  <a:cubicBezTo>
                    <a:pt x="609" y="120"/>
                    <a:pt x="609" y="120"/>
                    <a:pt x="609" y="120"/>
                  </a:cubicBezTo>
                  <a:cubicBezTo>
                    <a:pt x="609" y="120"/>
                    <a:pt x="609" y="120"/>
                    <a:pt x="609" y="120"/>
                  </a:cubicBezTo>
                  <a:cubicBezTo>
                    <a:pt x="609" y="120"/>
                    <a:pt x="609" y="121"/>
                    <a:pt x="609" y="121"/>
                  </a:cubicBezTo>
                  <a:cubicBezTo>
                    <a:pt x="609" y="121"/>
                    <a:pt x="609" y="121"/>
                    <a:pt x="609" y="121"/>
                  </a:cubicBezTo>
                  <a:cubicBezTo>
                    <a:pt x="608" y="121"/>
                    <a:pt x="608" y="121"/>
                    <a:pt x="608" y="121"/>
                  </a:cubicBezTo>
                  <a:cubicBezTo>
                    <a:pt x="608" y="121"/>
                    <a:pt x="608" y="121"/>
                    <a:pt x="608" y="121"/>
                  </a:cubicBezTo>
                  <a:cubicBezTo>
                    <a:pt x="608" y="121"/>
                    <a:pt x="608" y="121"/>
                    <a:pt x="608" y="121"/>
                  </a:cubicBezTo>
                  <a:cubicBezTo>
                    <a:pt x="608" y="121"/>
                    <a:pt x="608" y="121"/>
                    <a:pt x="608" y="121"/>
                  </a:cubicBezTo>
                  <a:cubicBezTo>
                    <a:pt x="607" y="122"/>
                    <a:pt x="607" y="122"/>
                    <a:pt x="607" y="122"/>
                  </a:cubicBezTo>
                  <a:cubicBezTo>
                    <a:pt x="607" y="122"/>
                    <a:pt x="607" y="122"/>
                    <a:pt x="607" y="122"/>
                  </a:cubicBezTo>
                  <a:cubicBezTo>
                    <a:pt x="607" y="122"/>
                    <a:pt x="606" y="122"/>
                    <a:pt x="606" y="122"/>
                  </a:cubicBezTo>
                  <a:cubicBezTo>
                    <a:pt x="606" y="122"/>
                    <a:pt x="606" y="122"/>
                    <a:pt x="606" y="122"/>
                  </a:cubicBezTo>
                  <a:cubicBezTo>
                    <a:pt x="606" y="123"/>
                    <a:pt x="606" y="123"/>
                    <a:pt x="605" y="123"/>
                  </a:cubicBezTo>
                  <a:cubicBezTo>
                    <a:pt x="605" y="123"/>
                    <a:pt x="605" y="123"/>
                    <a:pt x="605" y="123"/>
                  </a:cubicBezTo>
                  <a:cubicBezTo>
                    <a:pt x="605" y="123"/>
                    <a:pt x="605" y="123"/>
                    <a:pt x="605" y="123"/>
                  </a:cubicBezTo>
                  <a:cubicBezTo>
                    <a:pt x="605" y="123"/>
                    <a:pt x="604" y="123"/>
                    <a:pt x="604" y="123"/>
                  </a:cubicBezTo>
                  <a:cubicBezTo>
                    <a:pt x="604" y="123"/>
                    <a:pt x="604" y="123"/>
                    <a:pt x="603" y="123"/>
                  </a:cubicBezTo>
                  <a:close/>
                  <a:moveTo>
                    <a:pt x="1154" y="49"/>
                  </a:moveTo>
                  <a:cubicBezTo>
                    <a:pt x="1154" y="49"/>
                    <a:pt x="1154" y="49"/>
                    <a:pt x="1154" y="49"/>
                  </a:cubicBezTo>
                  <a:cubicBezTo>
                    <a:pt x="1154" y="49"/>
                    <a:pt x="1154" y="49"/>
                    <a:pt x="1154" y="49"/>
                  </a:cubicBezTo>
                  <a:cubicBezTo>
                    <a:pt x="1154" y="49"/>
                    <a:pt x="1154" y="49"/>
                    <a:pt x="1154" y="48"/>
                  </a:cubicBezTo>
                  <a:cubicBezTo>
                    <a:pt x="1153" y="48"/>
                    <a:pt x="1153" y="48"/>
                    <a:pt x="1154" y="48"/>
                  </a:cubicBezTo>
                  <a:cubicBezTo>
                    <a:pt x="1153" y="48"/>
                    <a:pt x="1154" y="47"/>
                    <a:pt x="1153" y="47"/>
                  </a:cubicBezTo>
                  <a:cubicBezTo>
                    <a:pt x="1153" y="47"/>
                    <a:pt x="1153" y="47"/>
                    <a:pt x="1153" y="47"/>
                  </a:cubicBezTo>
                  <a:cubicBezTo>
                    <a:pt x="1153" y="47"/>
                    <a:pt x="1153" y="46"/>
                    <a:pt x="1153" y="46"/>
                  </a:cubicBezTo>
                  <a:cubicBezTo>
                    <a:pt x="1153" y="46"/>
                    <a:pt x="1153" y="46"/>
                    <a:pt x="1153" y="46"/>
                  </a:cubicBezTo>
                  <a:cubicBezTo>
                    <a:pt x="1153" y="46"/>
                    <a:pt x="1153" y="45"/>
                    <a:pt x="1152" y="45"/>
                  </a:cubicBezTo>
                  <a:cubicBezTo>
                    <a:pt x="1152" y="45"/>
                    <a:pt x="1152" y="45"/>
                    <a:pt x="1152" y="45"/>
                  </a:cubicBezTo>
                  <a:cubicBezTo>
                    <a:pt x="1152" y="45"/>
                    <a:pt x="1152" y="45"/>
                    <a:pt x="1152" y="44"/>
                  </a:cubicBezTo>
                  <a:cubicBezTo>
                    <a:pt x="1152" y="44"/>
                    <a:pt x="1152" y="44"/>
                    <a:pt x="1152" y="44"/>
                  </a:cubicBezTo>
                  <a:cubicBezTo>
                    <a:pt x="1152" y="44"/>
                    <a:pt x="1152" y="44"/>
                    <a:pt x="1152" y="44"/>
                  </a:cubicBezTo>
                  <a:cubicBezTo>
                    <a:pt x="1152" y="44"/>
                    <a:pt x="1152" y="44"/>
                    <a:pt x="1152" y="44"/>
                  </a:cubicBezTo>
                  <a:cubicBezTo>
                    <a:pt x="1152" y="44"/>
                    <a:pt x="1152" y="43"/>
                    <a:pt x="1151" y="43"/>
                  </a:cubicBezTo>
                  <a:cubicBezTo>
                    <a:pt x="1151" y="43"/>
                    <a:pt x="1151" y="43"/>
                    <a:pt x="1151" y="43"/>
                  </a:cubicBezTo>
                  <a:cubicBezTo>
                    <a:pt x="1151" y="43"/>
                    <a:pt x="1151" y="43"/>
                    <a:pt x="1151" y="42"/>
                  </a:cubicBezTo>
                  <a:cubicBezTo>
                    <a:pt x="1151" y="42"/>
                    <a:pt x="1151" y="42"/>
                    <a:pt x="1151" y="42"/>
                  </a:cubicBezTo>
                  <a:cubicBezTo>
                    <a:pt x="1151" y="42"/>
                    <a:pt x="1151" y="42"/>
                    <a:pt x="1151" y="42"/>
                  </a:cubicBezTo>
                  <a:cubicBezTo>
                    <a:pt x="1151" y="42"/>
                    <a:pt x="1151" y="42"/>
                    <a:pt x="1151" y="42"/>
                  </a:cubicBezTo>
                  <a:cubicBezTo>
                    <a:pt x="1151" y="42"/>
                    <a:pt x="1151" y="41"/>
                    <a:pt x="1150" y="41"/>
                  </a:cubicBezTo>
                  <a:cubicBezTo>
                    <a:pt x="1150" y="41"/>
                    <a:pt x="1150" y="41"/>
                    <a:pt x="1150" y="41"/>
                  </a:cubicBezTo>
                  <a:cubicBezTo>
                    <a:pt x="1150" y="41"/>
                    <a:pt x="1150" y="41"/>
                    <a:pt x="1150" y="41"/>
                  </a:cubicBezTo>
                  <a:cubicBezTo>
                    <a:pt x="1150" y="41"/>
                    <a:pt x="1150" y="41"/>
                    <a:pt x="1150" y="41"/>
                  </a:cubicBezTo>
                  <a:cubicBezTo>
                    <a:pt x="1150" y="40"/>
                    <a:pt x="1150" y="40"/>
                    <a:pt x="1150" y="40"/>
                  </a:cubicBezTo>
                  <a:cubicBezTo>
                    <a:pt x="1150" y="40"/>
                    <a:pt x="1150" y="40"/>
                    <a:pt x="1150" y="40"/>
                  </a:cubicBezTo>
                  <a:cubicBezTo>
                    <a:pt x="1150" y="40"/>
                    <a:pt x="1149" y="40"/>
                    <a:pt x="1149" y="40"/>
                  </a:cubicBezTo>
                  <a:cubicBezTo>
                    <a:pt x="1149" y="40"/>
                    <a:pt x="1149" y="40"/>
                    <a:pt x="1149" y="40"/>
                  </a:cubicBezTo>
                  <a:cubicBezTo>
                    <a:pt x="1149" y="40"/>
                    <a:pt x="1149" y="39"/>
                    <a:pt x="1149" y="39"/>
                  </a:cubicBezTo>
                  <a:cubicBezTo>
                    <a:pt x="1149" y="39"/>
                    <a:pt x="1149" y="39"/>
                    <a:pt x="1149" y="39"/>
                  </a:cubicBezTo>
                  <a:cubicBezTo>
                    <a:pt x="1149" y="39"/>
                    <a:pt x="1148" y="39"/>
                    <a:pt x="1148" y="39"/>
                  </a:cubicBezTo>
                  <a:cubicBezTo>
                    <a:pt x="1148" y="39"/>
                    <a:pt x="1148" y="39"/>
                    <a:pt x="1148" y="39"/>
                  </a:cubicBezTo>
                  <a:cubicBezTo>
                    <a:pt x="1148" y="38"/>
                    <a:pt x="1148" y="38"/>
                    <a:pt x="1148" y="38"/>
                  </a:cubicBezTo>
                  <a:cubicBezTo>
                    <a:pt x="1148" y="38"/>
                    <a:pt x="1148" y="38"/>
                    <a:pt x="1148" y="38"/>
                  </a:cubicBezTo>
                  <a:cubicBezTo>
                    <a:pt x="1148" y="38"/>
                    <a:pt x="1148" y="38"/>
                    <a:pt x="1148" y="38"/>
                  </a:cubicBezTo>
                  <a:cubicBezTo>
                    <a:pt x="1148" y="38"/>
                    <a:pt x="1148" y="38"/>
                    <a:pt x="1148" y="38"/>
                  </a:cubicBezTo>
                  <a:cubicBezTo>
                    <a:pt x="1148" y="38"/>
                    <a:pt x="1147" y="38"/>
                    <a:pt x="1147" y="38"/>
                  </a:cubicBezTo>
                  <a:cubicBezTo>
                    <a:pt x="1147" y="38"/>
                    <a:pt x="1147" y="38"/>
                    <a:pt x="1147" y="38"/>
                  </a:cubicBezTo>
                  <a:cubicBezTo>
                    <a:pt x="1147" y="37"/>
                    <a:pt x="1147" y="37"/>
                    <a:pt x="1146" y="37"/>
                  </a:cubicBezTo>
                  <a:cubicBezTo>
                    <a:pt x="1146" y="37"/>
                    <a:pt x="1146" y="37"/>
                    <a:pt x="1146" y="37"/>
                  </a:cubicBezTo>
                  <a:cubicBezTo>
                    <a:pt x="1146" y="37"/>
                    <a:pt x="1146" y="37"/>
                    <a:pt x="1146" y="36"/>
                  </a:cubicBezTo>
                  <a:cubicBezTo>
                    <a:pt x="1146" y="36"/>
                    <a:pt x="1146" y="36"/>
                    <a:pt x="1146" y="36"/>
                  </a:cubicBezTo>
                  <a:cubicBezTo>
                    <a:pt x="1146" y="36"/>
                    <a:pt x="1145" y="36"/>
                    <a:pt x="1145" y="36"/>
                  </a:cubicBezTo>
                  <a:cubicBezTo>
                    <a:pt x="1145" y="36"/>
                    <a:pt x="1145" y="36"/>
                    <a:pt x="1145" y="36"/>
                  </a:cubicBezTo>
                  <a:cubicBezTo>
                    <a:pt x="1145" y="36"/>
                    <a:pt x="1145" y="36"/>
                    <a:pt x="1145" y="36"/>
                  </a:cubicBezTo>
                  <a:cubicBezTo>
                    <a:pt x="1145" y="36"/>
                    <a:pt x="1145" y="36"/>
                    <a:pt x="1145" y="36"/>
                  </a:cubicBezTo>
                  <a:cubicBezTo>
                    <a:pt x="1145" y="36"/>
                    <a:pt x="1144" y="36"/>
                    <a:pt x="1144" y="35"/>
                  </a:cubicBezTo>
                  <a:cubicBezTo>
                    <a:pt x="1144" y="35"/>
                    <a:pt x="1144" y="35"/>
                    <a:pt x="1144" y="35"/>
                  </a:cubicBezTo>
                  <a:cubicBezTo>
                    <a:pt x="1144" y="35"/>
                    <a:pt x="1144" y="35"/>
                    <a:pt x="1144" y="35"/>
                  </a:cubicBezTo>
                  <a:cubicBezTo>
                    <a:pt x="1144" y="35"/>
                    <a:pt x="1144" y="35"/>
                    <a:pt x="1144" y="35"/>
                  </a:cubicBezTo>
                  <a:cubicBezTo>
                    <a:pt x="1143" y="35"/>
                    <a:pt x="1143" y="35"/>
                    <a:pt x="1143" y="35"/>
                  </a:cubicBezTo>
                  <a:cubicBezTo>
                    <a:pt x="1143" y="35"/>
                    <a:pt x="1143" y="35"/>
                    <a:pt x="1143" y="35"/>
                  </a:cubicBezTo>
                  <a:cubicBezTo>
                    <a:pt x="1143" y="35"/>
                    <a:pt x="1143" y="35"/>
                    <a:pt x="1143" y="35"/>
                  </a:cubicBezTo>
                  <a:cubicBezTo>
                    <a:pt x="1143" y="35"/>
                    <a:pt x="1143" y="35"/>
                    <a:pt x="1143" y="35"/>
                  </a:cubicBezTo>
                  <a:cubicBezTo>
                    <a:pt x="1143" y="34"/>
                    <a:pt x="1142" y="35"/>
                    <a:pt x="1142" y="34"/>
                  </a:cubicBezTo>
                  <a:cubicBezTo>
                    <a:pt x="1142" y="34"/>
                    <a:pt x="1142" y="34"/>
                    <a:pt x="1142" y="34"/>
                  </a:cubicBezTo>
                  <a:cubicBezTo>
                    <a:pt x="1142" y="34"/>
                    <a:pt x="1142" y="34"/>
                    <a:pt x="1141" y="34"/>
                  </a:cubicBezTo>
                  <a:cubicBezTo>
                    <a:pt x="1141" y="34"/>
                    <a:pt x="1141" y="34"/>
                    <a:pt x="1141" y="34"/>
                  </a:cubicBezTo>
                  <a:cubicBezTo>
                    <a:pt x="1141" y="34"/>
                    <a:pt x="1141" y="34"/>
                    <a:pt x="1140" y="34"/>
                  </a:cubicBezTo>
                  <a:cubicBezTo>
                    <a:pt x="1140" y="34"/>
                    <a:pt x="1140" y="34"/>
                    <a:pt x="1140" y="34"/>
                  </a:cubicBezTo>
                  <a:cubicBezTo>
                    <a:pt x="1140" y="33"/>
                    <a:pt x="1139" y="34"/>
                    <a:pt x="1139" y="33"/>
                  </a:cubicBezTo>
                  <a:cubicBezTo>
                    <a:pt x="1139" y="33"/>
                    <a:pt x="1139" y="33"/>
                    <a:pt x="1139" y="33"/>
                  </a:cubicBezTo>
                  <a:cubicBezTo>
                    <a:pt x="1139" y="33"/>
                    <a:pt x="1139" y="33"/>
                    <a:pt x="1139" y="33"/>
                  </a:cubicBezTo>
                  <a:cubicBezTo>
                    <a:pt x="1138" y="33"/>
                    <a:pt x="1138" y="33"/>
                    <a:pt x="1137" y="33"/>
                  </a:cubicBezTo>
                  <a:cubicBezTo>
                    <a:pt x="1137" y="33"/>
                    <a:pt x="1137" y="33"/>
                    <a:pt x="1137" y="33"/>
                  </a:cubicBezTo>
                  <a:cubicBezTo>
                    <a:pt x="1136" y="33"/>
                    <a:pt x="1135" y="33"/>
                    <a:pt x="1135" y="33"/>
                  </a:cubicBezTo>
                  <a:cubicBezTo>
                    <a:pt x="1133" y="33"/>
                    <a:pt x="1132" y="33"/>
                    <a:pt x="1130" y="33"/>
                  </a:cubicBezTo>
                  <a:cubicBezTo>
                    <a:pt x="1129" y="33"/>
                    <a:pt x="1128" y="33"/>
                    <a:pt x="1127" y="33"/>
                  </a:cubicBezTo>
                  <a:cubicBezTo>
                    <a:pt x="1127" y="33"/>
                    <a:pt x="1127" y="33"/>
                    <a:pt x="1127" y="33"/>
                  </a:cubicBezTo>
                  <a:cubicBezTo>
                    <a:pt x="1127" y="33"/>
                    <a:pt x="1127" y="33"/>
                    <a:pt x="1127" y="33"/>
                  </a:cubicBezTo>
                  <a:cubicBezTo>
                    <a:pt x="1127" y="33"/>
                    <a:pt x="1126" y="33"/>
                    <a:pt x="1126" y="33"/>
                  </a:cubicBezTo>
                  <a:cubicBezTo>
                    <a:pt x="1126" y="33"/>
                    <a:pt x="1126" y="33"/>
                    <a:pt x="1126" y="33"/>
                  </a:cubicBezTo>
                  <a:cubicBezTo>
                    <a:pt x="1126" y="33"/>
                    <a:pt x="1126" y="33"/>
                    <a:pt x="1126" y="33"/>
                  </a:cubicBezTo>
                  <a:cubicBezTo>
                    <a:pt x="1125" y="34"/>
                    <a:pt x="1125" y="33"/>
                    <a:pt x="1124" y="34"/>
                  </a:cubicBezTo>
                  <a:cubicBezTo>
                    <a:pt x="1124" y="34"/>
                    <a:pt x="1124" y="34"/>
                    <a:pt x="1124" y="34"/>
                  </a:cubicBezTo>
                  <a:cubicBezTo>
                    <a:pt x="1124" y="34"/>
                    <a:pt x="1124" y="34"/>
                    <a:pt x="1123" y="34"/>
                  </a:cubicBezTo>
                  <a:cubicBezTo>
                    <a:pt x="1123" y="34"/>
                    <a:pt x="1123" y="34"/>
                    <a:pt x="1123" y="34"/>
                  </a:cubicBezTo>
                  <a:cubicBezTo>
                    <a:pt x="1123" y="34"/>
                    <a:pt x="1123" y="34"/>
                    <a:pt x="1123" y="34"/>
                  </a:cubicBezTo>
                  <a:cubicBezTo>
                    <a:pt x="1123" y="34"/>
                    <a:pt x="1122" y="34"/>
                    <a:pt x="1122" y="34"/>
                  </a:cubicBezTo>
                  <a:cubicBezTo>
                    <a:pt x="1122" y="35"/>
                    <a:pt x="1122" y="34"/>
                    <a:pt x="1122" y="35"/>
                  </a:cubicBezTo>
                  <a:cubicBezTo>
                    <a:pt x="1122" y="35"/>
                    <a:pt x="1122" y="35"/>
                    <a:pt x="1122" y="35"/>
                  </a:cubicBezTo>
                  <a:cubicBezTo>
                    <a:pt x="1121" y="35"/>
                    <a:pt x="1121" y="35"/>
                    <a:pt x="1121" y="35"/>
                  </a:cubicBezTo>
                  <a:cubicBezTo>
                    <a:pt x="1121" y="35"/>
                    <a:pt x="1121" y="35"/>
                    <a:pt x="1121" y="35"/>
                  </a:cubicBezTo>
                  <a:cubicBezTo>
                    <a:pt x="1121" y="35"/>
                    <a:pt x="1120" y="35"/>
                    <a:pt x="1120" y="35"/>
                  </a:cubicBezTo>
                  <a:cubicBezTo>
                    <a:pt x="1120" y="35"/>
                    <a:pt x="1120" y="35"/>
                    <a:pt x="1120" y="35"/>
                  </a:cubicBezTo>
                  <a:cubicBezTo>
                    <a:pt x="1120" y="36"/>
                    <a:pt x="1120" y="36"/>
                    <a:pt x="1119" y="36"/>
                  </a:cubicBezTo>
                  <a:cubicBezTo>
                    <a:pt x="1119" y="36"/>
                    <a:pt x="1119" y="36"/>
                    <a:pt x="1119" y="36"/>
                  </a:cubicBezTo>
                  <a:cubicBezTo>
                    <a:pt x="1119" y="36"/>
                    <a:pt x="1119" y="36"/>
                    <a:pt x="1119" y="36"/>
                  </a:cubicBezTo>
                  <a:cubicBezTo>
                    <a:pt x="1119" y="36"/>
                    <a:pt x="1119" y="36"/>
                    <a:pt x="1119" y="36"/>
                  </a:cubicBezTo>
                  <a:cubicBezTo>
                    <a:pt x="1119" y="36"/>
                    <a:pt x="1119" y="36"/>
                    <a:pt x="1118" y="36"/>
                  </a:cubicBezTo>
                  <a:cubicBezTo>
                    <a:pt x="1118" y="36"/>
                    <a:pt x="1118" y="36"/>
                    <a:pt x="1118" y="36"/>
                  </a:cubicBezTo>
                  <a:cubicBezTo>
                    <a:pt x="1118" y="37"/>
                    <a:pt x="1118" y="37"/>
                    <a:pt x="1118" y="37"/>
                  </a:cubicBezTo>
                  <a:cubicBezTo>
                    <a:pt x="1118" y="37"/>
                    <a:pt x="1118" y="37"/>
                    <a:pt x="1118" y="37"/>
                  </a:cubicBezTo>
                  <a:cubicBezTo>
                    <a:pt x="1118" y="37"/>
                    <a:pt x="1117" y="37"/>
                    <a:pt x="1117" y="37"/>
                  </a:cubicBezTo>
                  <a:cubicBezTo>
                    <a:pt x="1117" y="37"/>
                    <a:pt x="1117" y="37"/>
                    <a:pt x="1117" y="37"/>
                  </a:cubicBezTo>
                  <a:cubicBezTo>
                    <a:pt x="1117" y="37"/>
                    <a:pt x="1117" y="37"/>
                    <a:pt x="1117" y="37"/>
                  </a:cubicBezTo>
                  <a:cubicBezTo>
                    <a:pt x="1117" y="37"/>
                    <a:pt x="1117" y="37"/>
                    <a:pt x="1117" y="37"/>
                  </a:cubicBezTo>
                  <a:cubicBezTo>
                    <a:pt x="1117" y="38"/>
                    <a:pt x="1116" y="38"/>
                    <a:pt x="1116" y="38"/>
                  </a:cubicBezTo>
                  <a:cubicBezTo>
                    <a:pt x="1116" y="38"/>
                    <a:pt x="1116" y="38"/>
                    <a:pt x="1116" y="38"/>
                  </a:cubicBezTo>
                  <a:cubicBezTo>
                    <a:pt x="1116" y="38"/>
                    <a:pt x="1116" y="38"/>
                    <a:pt x="1116" y="39"/>
                  </a:cubicBezTo>
                  <a:cubicBezTo>
                    <a:pt x="1116" y="39"/>
                    <a:pt x="1116" y="39"/>
                    <a:pt x="1116" y="39"/>
                  </a:cubicBezTo>
                  <a:cubicBezTo>
                    <a:pt x="1115" y="39"/>
                    <a:pt x="1115" y="39"/>
                    <a:pt x="1115" y="39"/>
                  </a:cubicBezTo>
                  <a:cubicBezTo>
                    <a:pt x="1115" y="39"/>
                    <a:pt x="1115" y="39"/>
                    <a:pt x="1115" y="39"/>
                  </a:cubicBezTo>
                  <a:cubicBezTo>
                    <a:pt x="1115" y="39"/>
                    <a:pt x="1115" y="39"/>
                    <a:pt x="1115" y="39"/>
                  </a:cubicBezTo>
                  <a:cubicBezTo>
                    <a:pt x="1115" y="39"/>
                    <a:pt x="1115" y="39"/>
                    <a:pt x="1115" y="39"/>
                  </a:cubicBezTo>
                  <a:cubicBezTo>
                    <a:pt x="1115" y="39"/>
                    <a:pt x="1115" y="39"/>
                    <a:pt x="1115" y="40"/>
                  </a:cubicBezTo>
                  <a:cubicBezTo>
                    <a:pt x="1115" y="40"/>
                    <a:pt x="1115" y="40"/>
                    <a:pt x="1115" y="40"/>
                  </a:cubicBezTo>
                  <a:cubicBezTo>
                    <a:pt x="1114" y="40"/>
                    <a:pt x="1114" y="40"/>
                    <a:pt x="1114" y="40"/>
                  </a:cubicBezTo>
                  <a:cubicBezTo>
                    <a:pt x="1114" y="40"/>
                    <a:pt x="1114" y="40"/>
                    <a:pt x="1114" y="40"/>
                  </a:cubicBezTo>
                  <a:cubicBezTo>
                    <a:pt x="1114" y="40"/>
                    <a:pt x="1114" y="40"/>
                    <a:pt x="1114" y="40"/>
                  </a:cubicBezTo>
                  <a:cubicBezTo>
                    <a:pt x="1114" y="40"/>
                    <a:pt x="1114" y="40"/>
                    <a:pt x="1114" y="40"/>
                  </a:cubicBezTo>
                  <a:cubicBezTo>
                    <a:pt x="1114" y="40"/>
                    <a:pt x="1114" y="40"/>
                    <a:pt x="1114" y="41"/>
                  </a:cubicBezTo>
                  <a:cubicBezTo>
                    <a:pt x="1114" y="41"/>
                    <a:pt x="1114" y="41"/>
                    <a:pt x="1114" y="41"/>
                  </a:cubicBezTo>
                  <a:cubicBezTo>
                    <a:pt x="1113" y="41"/>
                    <a:pt x="1113" y="41"/>
                    <a:pt x="1113" y="41"/>
                  </a:cubicBezTo>
                  <a:cubicBezTo>
                    <a:pt x="1113" y="41"/>
                    <a:pt x="1113" y="41"/>
                    <a:pt x="1113" y="41"/>
                  </a:cubicBezTo>
                  <a:cubicBezTo>
                    <a:pt x="1113" y="41"/>
                    <a:pt x="1113" y="42"/>
                    <a:pt x="1112" y="42"/>
                  </a:cubicBezTo>
                  <a:cubicBezTo>
                    <a:pt x="1112" y="42"/>
                    <a:pt x="1112" y="42"/>
                    <a:pt x="1112" y="42"/>
                  </a:cubicBezTo>
                  <a:cubicBezTo>
                    <a:pt x="1112" y="42"/>
                    <a:pt x="1112" y="42"/>
                    <a:pt x="1112" y="42"/>
                  </a:cubicBezTo>
                  <a:cubicBezTo>
                    <a:pt x="1112" y="42"/>
                    <a:pt x="1112" y="42"/>
                    <a:pt x="1112" y="42"/>
                  </a:cubicBezTo>
                  <a:cubicBezTo>
                    <a:pt x="1112" y="43"/>
                    <a:pt x="1112" y="43"/>
                    <a:pt x="1111" y="43"/>
                  </a:cubicBezTo>
                  <a:cubicBezTo>
                    <a:pt x="1111" y="43"/>
                    <a:pt x="1111" y="43"/>
                    <a:pt x="1111" y="43"/>
                  </a:cubicBezTo>
                  <a:cubicBezTo>
                    <a:pt x="1111" y="44"/>
                    <a:pt x="1111" y="44"/>
                    <a:pt x="1111" y="44"/>
                  </a:cubicBezTo>
                  <a:cubicBezTo>
                    <a:pt x="1111" y="44"/>
                    <a:pt x="1111" y="44"/>
                    <a:pt x="1111" y="44"/>
                  </a:cubicBezTo>
                  <a:cubicBezTo>
                    <a:pt x="1111" y="44"/>
                    <a:pt x="1111" y="44"/>
                    <a:pt x="1111" y="44"/>
                  </a:cubicBezTo>
                  <a:cubicBezTo>
                    <a:pt x="1111" y="44"/>
                    <a:pt x="1111" y="44"/>
                    <a:pt x="1111" y="44"/>
                  </a:cubicBezTo>
                  <a:cubicBezTo>
                    <a:pt x="1110" y="44"/>
                    <a:pt x="1110" y="44"/>
                    <a:pt x="1110" y="43"/>
                  </a:cubicBezTo>
                  <a:cubicBezTo>
                    <a:pt x="1110" y="41"/>
                    <a:pt x="1110" y="38"/>
                    <a:pt x="1110" y="35"/>
                  </a:cubicBezTo>
                  <a:cubicBezTo>
                    <a:pt x="1110" y="34"/>
                    <a:pt x="1110" y="34"/>
                    <a:pt x="1109" y="34"/>
                  </a:cubicBezTo>
                  <a:cubicBezTo>
                    <a:pt x="1106" y="34"/>
                    <a:pt x="1104" y="34"/>
                    <a:pt x="1101" y="34"/>
                  </a:cubicBezTo>
                  <a:cubicBezTo>
                    <a:pt x="1099" y="34"/>
                    <a:pt x="1099" y="34"/>
                    <a:pt x="1099" y="36"/>
                  </a:cubicBezTo>
                  <a:cubicBezTo>
                    <a:pt x="1099" y="57"/>
                    <a:pt x="1099" y="79"/>
                    <a:pt x="1099" y="100"/>
                  </a:cubicBezTo>
                  <a:cubicBezTo>
                    <a:pt x="1099" y="100"/>
                    <a:pt x="1099" y="101"/>
                    <a:pt x="1099" y="101"/>
                  </a:cubicBezTo>
                  <a:cubicBezTo>
                    <a:pt x="1099" y="101"/>
                    <a:pt x="1099" y="101"/>
                    <a:pt x="1099" y="101"/>
                  </a:cubicBezTo>
                  <a:cubicBezTo>
                    <a:pt x="1101" y="102"/>
                    <a:pt x="1104" y="102"/>
                    <a:pt x="1106" y="102"/>
                  </a:cubicBezTo>
                  <a:cubicBezTo>
                    <a:pt x="1107" y="102"/>
                    <a:pt x="1109" y="102"/>
                    <a:pt x="1110" y="101"/>
                  </a:cubicBezTo>
                  <a:cubicBezTo>
                    <a:pt x="1110" y="101"/>
                    <a:pt x="1110" y="101"/>
                    <a:pt x="1110" y="101"/>
                  </a:cubicBezTo>
                  <a:cubicBezTo>
                    <a:pt x="1110" y="101"/>
                    <a:pt x="1110" y="100"/>
                    <a:pt x="1110" y="100"/>
                  </a:cubicBezTo>
                  <a:cubicBezTo>
                    <a:pt x="1110" y="87"/>
                    <a:pt x="1110" y="74"/>
                    <a:pt x="1110" y="62"/>
                  </a:cubicBezTo>
                  <a:cubicBezTo>
                    <a:pt x="1110" y="61"/>
                    <a:pt x="1110" y="61"/>
                    <a:pt x="1110" y="60"/>
                  </a:cubicBezTo>
                  <a:cubicBezTo>
                    <a:pt x="1110" y="60"/>
                    <a:pt x="1110" y="60"/>
                    <a:pt x="1110" y="59"/>
                  </a:cubicBezTo>
                  <a:cubicBezTo>
                    <a:pt x="1111" y="59"/>
                    <a:pt x="1110" y="58"/>
                    <a:pt x="1111" y="58"/>
                  </a:cubicBezTo>
                  <a:cubicBezTo>
                    <a:pt x="1111" y="57"/>
                    <a:pt x="1111" y="57"/>
                    <a:pt x="1111" y="57"/>
                  </a:cubicBezTo>
                  <a:cubicBezTo>
                    <a:pt x="1111" y="57"/>
                    <a:pt x="1111" y="57"/>
                    <a:pt x="1111" y="56"/>
                  </a:cubicBezTo>
                  <a:cubicBezTo>
                    <a:pt x="1111" y="56"/>
                    <a:pt x="1111" y="56"/>
                    <a:pt x="1111" y="56"/>
                  </a:cubicBezTo>
                  <a:cubicBezTo>
                    <a:pt x="1111" y="56"/>
                    <a:pt x="1111" y="55"/>
                    <a:pt x="1111" y="55"/>
                  </a:cubicBezTo>
                  <a:cubicBezTo>
                    <a:pt x="1111" y="55"/>
                    <a:pt x="1111" y="55"/>
                    <a:pt x="1111" y="55"/>
                  </a:cubicBezTo>
                  <a:cubicBezTo>
                    <a:pt x="1111" y="55"/>
                    <a:pt x="1111" y="55"/>
                    <a:pt x="1111" y="55"/>
                  </a:cubicBezTo>
                  <a:cubicBezTo>
                    <a:pt x="1112" y="55"/>
                    <a:pt x="1112" y="54"/>
                    <a:pt x="1112" y="54"/>
                  </a:cubicBezTo>
                  <a:cubicBezTo>
                    <a:pt x="1112" y="54"/>
                    <a:pt x="1112" y="54"/>
                    <a:pt x="1112" y="54"/>
                  </a:cubicBezTo>
                  <a:cubicBezTo>
                    <a:pt x="1112" y="54"/>
                    <a:pt x="1112" y="53"/>
                    <a:pt x="1112" y="53"/>
                  </a:cubicBezTo>
                  <a:cubicBezTo>
                    <a:pt x="1112" y="53"/>
                    <a:pt x="1112" y="53"/>
                    <a:pt x="1112" y="53"/>
                  </a:cubicBezTo>
                  <a:cubicBezTo>
                    <a:pt x="1112" y="53"/>
                    <a:pt x="1112" y="53"/>
                    <a:pt x="1112" y="52"/>
                  </a:cubicBezTo>
                  <a:cubicBezTo>
                    <a:pt x="1112" y="52"/>
                    <a:pt x="1112" y="52"/>
                    <a:pt x="1112" y="52"/>
                  </a:cubicBezTo>
                  <a:cubicBezTo>
                    <a:pt x="1113" y="52"/>
                    <a:pt x="1113" y="52"/>
                    <a:pt x="1113" y="52"/>
                  </a:cubicBezTo>
                  <a:cubicBezTo>
                    <a:pt x="1113" y="52"/>
                    <a:pt x="1113" y="52"/>
                    <a:pt x="1113" y="52"/>
                  </a:cubicBezTo>
                  <a:cubicBezTo>
                    <a:pt x="1113" y="52"/>
                    <a:pt x="1113" y="51"/>
                    <a:pt x="1113" y="51"/>
                  </a:cubicBezTo>
                  <a:cubicBezTo>
                    <a:pt x="1113" y="51"/>
                    <a:pt x="1113" y="51"/>
                    <a:pt x="1113" y="51"/>
                  </a:cubicBezTo>
                  <a:cubicBezTo>
                    <a:pt x="1113" y="51"/>
                    <a:pt x="1113" y="51"/>
                    <a:pt x="1113" y="51"/>
                  </a:cubicBezTo>
                  <a:cubicBezTo>
                    <a:pt x="1113" y="51"/>
                    <a:pt x="1113" y="51"/>
                    <a:pt x="1113" y="51"/>
                  </a:cubicBezTo>
                  <a:cubicBezTo>
                    <a:pt x="1114" y="51"/>
                    <a:pt x="1114" y="50"/>
                    <a:pt x="1114" y="50"/>
                  </a:cubicBezTo>
                  <a:cubicBezTo>
                    <a:pt x="1114" y="50"/>
                    <a:pt x="1114" y="50"/>
                    <a:pt x="1114" y="50"/>
                  </a:cubicBezTo>
                  <a:cubicBezTo>
                    <a:pt x="1114" y="50"/>
                    <a:pt x="1114" y="50"/>
                    <a:pt x="1114" y="50"/>
                  </a:cubicBezTo>
                  <a:cubicBezTo>
                    <a:pt x="1114" y="50"/>
                    <a:pt x="1114" y="50"/>
                    <a:pt x="1114" y="50"/>
                  </a:cubicBezTo>
                  <a:cubicBezTo>
                    <a:pt x="1115" y="49"/>
                    <a:pt x="1115" y="49"/>
                    <a:pt x="1115" y="49"/>
                  </a:cubicBezTo>
                  <a:cubicBezTo>
                    <a:pt x="1115" y="49"/>
                    <a:pt x="1115" y="49"/>
                    <a:pt x="1115" y="49"/>
                  </a:cubicBezTo>
                  <a:cubicBezTo>
                    <a:pt x="1115" y="48"/>
                    <a:pt x="1115" y="48"/>
                    <a:pt x="1115" y="48"/>
                  </a:cubicBezTo>
                  <a:cubicBezTo>
                    <a:pt x="1115" y="48"/>
                    <a:pt x="1115" y="48"/>
                    <a:pt x="1115" y="48"/>
                  </a:cubicBezTo>
                  <a:cubicBezTo>
                    <a:pt x="1115" y="48"/>
                    <a:pt x="1116" y="48"/>
                    <a:pt x="1116" y="48"/>
                  </a:cubicBezTo>
                  <a:cubicBezTo>
                    <a:pt x="1116" y="48"/>
                    <a:pt x="1116" y="48"/>
                    <a:pt x="1116" y="48"/>
                  </a:cubicBezTo>
                  <a:cubicBezTo>
                    <a:pt x="1116" y="48"/>
                    <a:pt x="1116" y="48"/>
                    <a:pt x="1116" y="47"/>
                  </a:cubicBezTo>
                  <a:cubicBezTo>
                    <a:pt x="1116" y="48"/>
                    <a:pt x="1116" y="48"/>
                    <a:pt x="1116" y="48"/>
                  </a:cubicBezTo>
                  <a:cubicBezTo>
                    <a:pt x="1116" y="47"/>
                    <a:pt x="1116" y="47"/>
                    <a:pt x="1116" y="47"/>
                  </a:cubicBezTo>
                  <a:cubicBezTo>
                    <a:pt x="1116" y="47"/>
                    <a:pt x="1116" y="47"/>
                    <a:pt x="1116" y="47"/>
                  </a:cubicBezTo>
                  <a:cubicBezTo>
                    <a:pt x="1116" y="47"/>
                    <a:pt x="1117" y="47"/>
                    <a:pt x="1117" y="47"/>
                  </a:cubicBezTo>
                  <a:cubicBezTo>
                    <a:pt x="1117" y="47"/>
                    <a:pt x="1117" y="47"/>
                    <a:pt x="1117" y="47"/>
                  </a:cubicBezTo>
                  <a:cubicBezTo>
                    <a:pt x="1117" y="47"/>
                    <a:pt x="1117" y="47"/>
                    <a:pt x="1117" y="46"/>
                  </a:cubicBezTo>
                  <a:cubicBezTo>
                    <a:pt x="1117" y="46"/>
                    <a:pt x="1117" y="46"/>
                    <a:pt x="1117" y="46"/>
                  </a:cubicBezTo>
                  <a:cubicBezTo>
                    <a:pt x="1117" y="46"/>
                    <a:pt x="1117" y="46"/>
                    <a:pt x="1117" y="46"/>
                  </a:cubicBezTo>
                  <a:cubicBezTo>
                    <a:pt x="1117" y="46"/>
                    <a:pt x="1117" y="46"/>
                    <a:pt x="1117" y="46"/>
                  </a:cubicBezTo>
                  <a:cubicBezTo>
                    <a:pt x="1117" y="46"/>
                    <a:pt x="1118" y="46"/>
                    <a:pt x="1118" y="46"/>
                  </a:cubicBezTo>
                  <a:cubicBezTo>
                    <a:pt x="1118" y="46"/>
                    <a:pt x="1118" y="46"/>
                    <a:pt x="1118" y="46"/>
                  </a:cubicBezTo>
                  <a:cubicBezTo>
                    <a:pt x="1118" y="46"/>
                    <a:pt x="1118" y="45"/>
                    <a:pt x="1119" y="45"/>
                  </a:cubicBezTo>
                  <a:cubicBezTo>
                    <a:pt x="1119" y="45"/>
                    <a:pt x="1119" y="45"/>
                    <a:pt x="1119" y="45"/>
                  </a:cubicBezTo>
                  <a:cubicBezTo>
                    <a:pt x="1119" y="45"/>
                    <a:pt x="1119" y="45"/>
                    <a:pt x="1119" y="45"/>
                  </a:cubicBezTo>
                  <a:cubicBezTo>
                    <a:pt x="1119" y="45"/>
                    <a:pt x="1119" y="45"/>
                    <a:pt x="1119" y="45"/>
                  </a:cubicBezTo>
                  <a:cubicBezTo>
                    <a:pt x="1119" y="45"/>
                    <a:pt x="1120" y="45"/>
                    <a:pt x="1120" y="44"/>
                  </a:cubicBezTo>
                  <a:cubicBezTo>
                    <a:pt x="1120" y="44"/>
                    <a:pt x="1120" y="44"/>
                    <a:pt x="1120" y="44"/>
                  </a:cubicBezTo>
                  <a:cubicBezTo>
                    <a:pt x="1120" y="44"/>
                    <a:pt x="1120" y="44"/>
                    <a:pt x="1120" y="44"/>
                  </a:cubicBezTo>
                  <a:cubicBezTo>
                    <a:pt x="1120" y="44"/>
                    <a:pt x="1120" y="44"/>
                    <a:pt x="1120" y="44"/>
                  </a:cubicBezTo>
                  <a:cubicBezTo>
                    <a:pt x="1120" y="44"/>
                    <a:pt x="1120" y="44"/>
                    <a:pt x="1120" y="44"/>
                  </a:cubicBezTo>
                  <a:cubicBezTo>
                    <a:pt x="1121" y="44"/>
                    <a:pt x="1121" y="44"/>
                    <a:pt x="1121" y="44"/>
                  </a:cubicBezTo>
                  <a:cubicBezTo>
                    <a:pt x="1121" y="44"/>
                    <a:pt x="1121" y="44"/>
                    <a:pt x="1121" y="44"/>
                  </a:cubicBezTo>
                  <a:cubicBezTo>
                    <a:pt x="1121" y="44"/>
                    <a:pt x="1121" y="44"/>
                    <a:pt x="1121" y="44"/>
                  </a:cubicBezTo>
                  <a:cubicBezTo>
                    <a:pt x="1121" y="44"/>
                    <a:pt x="1121" y="44"/>
                    <a:pt x="1122" y="43"/>
                  </a:cubicBezTo>
                  <a:cubicBezTo>
                    <a:pt x="1122" y="43"/>
                    <a:pt x="1122" y="43"/>
                    <a:pt x="1122" y="43"/>
                  </a:cubicBezTo>
                  <a:cubicBezTo>
                    <a:pt x="1122" y="43"/>
                    <a:pt x="1122" y="43"/>
                    <a:pt x="1122" y="43"/>
                  </a:cubicBezTo>
                  <a:cubicBezTo>
                    <a:pt x="1122" y="43"/>
                    <a:pt x="1122" y="43"/>
                    <a:pt x="1123" y="43"/>
                  </a:cubicBezTo>
                  <a:cubicBezTo>
                    <a:pt x="1123" y="43"/>
                    <a:pt x="1123" y="43"/>
                    <a:pt x="1123" y="43"/>
                  </a:cubicBezTo>
                  <a:cubicBezTo>
                    <a:pt x="1123" y="43"/>
                    <a:pt x="1123" y="43"/>
                    <a:pt x="1124" y="43"/>
                  </a:cubicBezTo>
                  <a:cubicBezTo>
                    <a:pt x="1124" y="43"/>
                    <a:pt x="1124" y="43"/>
                    <a:pt x="1124" y="43"/>
                  </a:cubicBezTo>
                  <a:cubicBezTo>
                    <a:pt x="1124" y="43"/>
                    <a:pt x="1124" y="43"/>
                    <a:pt x="1124" y="43"/>
                  </a:cubicBezTo>
                  <a:cubicBezTo>
                    <a:pt x="1124" y="42"/>
                    <a:pt x="1125" y="43"/>
                    <a:pt x="1125" y="42"/>
                  </a:cubicBezTo>
                  <a:cubicBezTo>
                    <a:pt x="1125" y="42"/>
                    <a:pt x="1125" y="42"/>
                    <a:pt x="1125" y="42"/>
                  </a:cubicBezTo>
                  <a:cubicBezTo>
                    <a:pt x="1125" y="42"/>
                    <a:pt x="1125" y="42"/>
                    <a:pt x="1125" y="42"/>
                  </a:cubicBezTo>
                  <a:cubicBezTo>
                    <a:pt x="1126" y="42"/>
                    <a:pt x="1127" y="42"/>
                    <a:pt x="1127" y="42"/>
                  </a:cubicBezTo>
                  <a:cubicBezTo>
                    <a:pt x="1128" y="42"/>
                    <a:pt x="1129" y="42"/>
                    <a:pt x="1130" y="42"/>
                  </a:cubicBezTo>
                  <a:cubicBezTo>
                    <a:pt x="1131" y="42"/>
                    <a:pt x="1131" y="42"/>
                    <a:pt x="1132" y="42"/>
                  </a:cubicBezTo>
                  <a:cubicBezTo>
                    <a:pt x="1132" y="42"/>
                    <a:pt x="1132" y="42"/>
                    <a:pt x="1132" y="42"/>
                  </a:cubicBezTo>
                  <a:cubicBezTo>
                    <a:pt x="1132" y="42"/>
                    <a:pt x="1132" y="42"/>
                    <a:pt x="1132" y="42"/>
                  </a:cubicBezTo>
                  <a:cubicBezTo>
                    <a:pt x="1133" y="43"/>
                    <a:pt x="1133" y="42"/>
                    <a:pt x="1134" y="43"/>
                  </a:cubicBezTo>
                  <a:cubicBezTo>
                    <a:pt x="1134" y="43"/>
                    <a:pt x="1134" y="43"/>
                    <a:pt x="1134" y="43"/>
                  </a:cubicBezTo>
                  <a:cubicBezTo>
                    <a:pt x="1134" y="43"/>
                    <a:pt x="1134" y="43"/>
                    <a:pt x="1135" y="43"/>
                  </a:cubicBezTo>
                  <a:cubicBezTo>
                    <a:pt x="1135" y="43"/>
                    <a:pt x="1135" y="43"/>
                    <a:pt x="1135" y="43"/>
                  </a:cubicBezTo>
                  <a:cubicBezTo>
                    <a:pt x="1135" y="43"/>
                    <a:pt x="1135" y="43"/>
                    <a:pt x="1135" y="43"/>
                  </a:cubicBezTo>
                  <a:cubicBezTo>
                    <a:pt x="1135" y="43"/>
                    <a:pt x="1135" y="43"/>
                    <a:pt x="1135" y="43"/>
                  </a:cubicBezTo>
                  <a:cubicBezTo>
                    <a:pt x="1136" y="44"/>
                    <a:pt x="1136" y="44"/>
                    <a:pt x="1136" y="44"/>
                  </a:cubicBezTo>
                  <a:cubicBezTo>
                    <a:pt x="1136" y="44"/>
                    <a:pt x="1136" y="44"/>
                    <a:pt x="1136" y="44"/>
                  </a:cubicBezTo>
                  <a:cubicBezTo>
                    <a:pt x="1136" y="44"/>
                    <a:pt x="1137" y="44"/>
                    <a:pt x="1137" y="44"/>
                  </a:cubicBezTo>
                  <a:cubicBezTo>
                    <a:pt x="1137" y="44"/>
                    <a:pt x="1137" y="44"/>
                    <a:pt x="1137" y="44"/>
                  </a:cubicBezTo>
                  <a:cubicBezTo>
                    <a:pt x="1137" y="44"/>
                    <a:pt x="1137" y="44"/>
                    <a:pt x="1137" y="44"/>
                  </a:cubicBezTo>
                  <a:cubicBezTo>
                    <a:pt x="1137" y="44"/>
                    <a:pt x="1137" y="44"/>
                    <a:pt x="1137" y="44"/>
                  </a:cubicBezTo>
                  <a:cubicBezTo>
                    <a:pt x="1137" y="45"/>
                    <a:pt x="1138" y="45"/>
                    <a:pt x="1138" y="45"/>
                  </a:cubicBezTo>
                  <a:cubicBezTo>
                    <a:pt x="1138" y="45"/>
                    <a:pt x="1138" y="45"/>
                    <a:pt x="1138" y="45"/>
                  </a:cubicBezTo>
                  <a:cubicBezTo>
                    <a:pt x="1138" y="45"/>
                    <a:pt x="1138" y="45"/>
                    <a:pt x="1138" y="45"/>
                  </a:cubicBezTo>
                  <a:cubicBezTo>
                    <a:pt x="1138" y="45"/>
                    <a:pt x="1138" y="45"/>
                    <a:pt x="1138" y="45"/>
                  </a:cubicBezTo>
                  <a:cubicBezTo>
                    <a:pt x="1138" y="45"/>
                    <a:pt x="1138" y="45"/>
                    <a:pt x="1139" y="45"/>
                  </a:cubicBezTo>
                  <a:cubicBezTo>
                    <a:pt x="1139" y="45"/>
                    <a:pt x="1139" y="45"/>
                    <a:pt x="1139" y="45"/>
                  </a:cubicBezTo>
                  <a:cubicBezTo>
                    <a:pt x="1139" y="46"/>
                    <a:pt x="1139" y="46"/>
                    <a:pt x="1139" y="46"/>
                  </a:cubicBezTo>
                  <a:cubicBezTo>
                    <a:pt x="1139" y="46"/>
                    <a:pt x="1139" y="46"/>
                    <a:pt x="1139" y="46"/>
                  </a:cubicBezTo>
                  <a:cubicBezTo>
                    <a:pt x="1139" y="46"/>
                    <a:pt x="1139" y="46"/>
                    <a:pt x="1139" y="46"/>
                  </a:cubicBezTo>
                  <a:cubicBezTo>
                    <a:pt x="1139" y="46"/>
                    <a:pt x="1139" y="46"/>
                    <a:pt x="1139" y="46"/>
                  </a:cubicBezTo>
                  <a:cubicBezTo>
                    <a:pt x="1139" y="46"/>
                    <a:pt x="1140" y="46"/>
                    <a:pt x="1140" y="47"/>
                  </a:cubicBezTo>
                  <a:cubicBezTo>
                    <a:pt x="1140" y="46"/>
                    <a:pt x="1140" y="46"/>
                    <a:pt x="1140" y="46"/>
                  </a:cubicBezTo>
                  <a:cubicBezTo>
                    <a:pt x="1140" y="47"/>
                    <a:pt x="1140" y="47"/>
                    <a:pt x="1140" y="47"/>
                  </a:cubicBezTo>
                  <a:cubicBezTo>
                    <a:pt x="1140" y="47"/>
                    <a:pt x="1140" y="47"/>
                    <a:pt x="1140" y="47"/>
                  </a:cubicBezTo>
                  <a:cubicBezTo>
                    <a:pt x="1140" y="47"/>
                    <a:pt x="1140" y="47"/>
                    <a:pt x="1140" y="47"/>
                  </a:cubicBezTo>
                  <a:cubicBezTo>
                    <a:pt x="1140" y="47"/>
                    <a:pt x="1140" y="47"/>
                    <a:pt x="1140" y="47"/>
                  </a:cubicBezTo>
                  <a:cubicBezTo>
                    <a:pt x="1140" y="48"/>
                    <a:pt x="1141" y="48"/>
                    <a:pt x="1141" y="48"/>
                  </a:cubicBezTo>
                  <a:cubicBezTo>
                    <a:pt x="1141" y="48"/>
                    <a:pt x="1141" y="48"/>
                    <a:pt x="1141" y="48"/>
                  </a:cubicBezTo>
                  <a:cubicBezTo>
                    <a:pt x="1141" y="48"/>
                    <a:pt x="1141" y="48"/>
                    <a:pt x="1141" y="49"/>
                  </a:cubicBezTo>
                  <a:cubicBezTo>
                    <a:pt x="1141" y="49"/>
                    <a:pt x="1141" y="49"/>
                    <a:pt x="1141" y="49"/>
                  </a:cubicBezTo>
                  <a:cubicBezTo>
                    <a:pt x="1141" y="49"/>
                    <a:pt x="1141" y="49"/>
                    <a:pt x="1141" y="49"/>
                  </a:cubicBezTo>
                  <a:cubicBezTo>
                    <a:pt x="1141" y="49"/>
                    <a:pt x="1141" y="49"/>
                    <a:pt x="1141" y="49"/>
                  </a:cubicBezTo>
                  <a:cubicBezTo>
                    <a:pt x="1141" y="49"/>
                    <a:pt x="1141" y="49"/>
                    <a:pt x="1141" y="49"/>
                  </a:cubicBezTo>
                  <a:cubicBezTo>
                    <a:pt x="1141" y="49"/>
                    <a:pt x="1142" y="49"/>
                    <a:pt x="1142" y="50"/>
                  </a:cubicBezTo>
                  <a:cubicBezTo>
                    <a:pt x="1142" y="50"/>
                    <a:pt x="1142" y="50"/>
                    <a:pt x="1142" y="50"/>
                  </a:cubicBezTo>
                  <a:cubicBezTo>
                    <a:pt x="1142" y="50"/>
                    <a:pt x="1142" y="50"/>
                    <a:pt x="1142" y="50"/>
                  </a:cubicBezTo>
                  <a:cubicBezTo>
                    <a:pt x="1142" y="50"/>
                    <a:pt x="1142" y="50"/>
                    <a:pt x="1142" y="51"/>
                  </a:cubicBezTo>
                  <a:cubicBezTo>
                    <a:pt x="1142" y="51"/>
                    <a:pt x="1142" y="51"/>
                    <a:pt x="1142" y="51"/>
                  </a:cubicBezTo>
                  <a:cubicBezTo>
                    <a:pt x="1142" y="51"/>
                    <a:pt x="1142" y="51"/>
                    <a:pt x="1142" y="51"/>
                  </a:cubicBezTo>
                  <a:cubicBezTo>
                    <a:pt x="1142" y="51"/>
                    <a:pt x="1142" y="51"/>
                    <a:pt x="1142" y="51"/>
                  </a:cubicBezTo>
                  <a:cubicBezTo>
                    <a:pt x="1142" y="52"/>
                    <a:pt x="1142" y="52"/>
                    <a:pt x="1142" y="52"/>
                  </a:cubicBezTo>
                  <a:cubicBezTo>
                    <a:pt x="1143" y="52"/>
                    <a:pt x="1143" y="52"/>
                    <a:pt x="1143" y="52"/>
                  </a:cubicBezTo>
                  <a:cubicBezTo>
                    <a:pt x="1143" y="53"/>
                    <a:pt x="1143" y="53"/>
                    <a:pt x="1143" y="53"/>
                  </a:cubicBezTo>
                  <a:cubicBezTo>
                    <a:pt x="1143" y="53"/>
                    <a:pt x="1143" y="53"/>
                    <a:pt x="1143" y="53"/>
                  </a:cubicBezTo>
                  <a:cubicBezTo>
                    <a:pt x="1143" y="53"/>
                    <a:pt x="1143" y="53"/>
                    <a:pt x="1143" y="54"/>
                  </a:cubicBezTo>
                  <a:cubicBezTo>
                    <a:pt x="1143" y="54"/>
                    <a:pt x="1143" y="54"/>
                    <a:pt x="1143" y="54"/>
                  </a:cubicBezTo>
                  <a:cubicBezTo>
                    <a:pt x="1143" y="54"/>
                    <a:pt x="1143" y="55"/>
                    <a:pt x="1143" y="55"/>
                  </a:cubicBezTo>
                  <a:cubicBezTo>
                    <a:pt x="1144" y="55"/>
                    <a:pt x="1144" y="55"/>
                    <a:pt x="1143" y="55"/>
                  </a:cubicBezTo>
                  <a:cubicBezTo>
                    <a:pt x="1144" y="56"/>
                    <a:pt x="1143" y="57"/>
                    <a:pt x="1144" y="57"/>
                  </a:cubicBezTo>
                  <a:cubicBezTo>
                    <a:pt x="1144" y="57"/>
                    <a:pt x="1144" y="58"/>
                    <a:pt x="1144" y="58"/>
                  </a:cubicBezTo>
                  <a:cubicBezTo>
                    <a:pt x="1144" y="59"/>
                    <a:pt x="1144" y="61"/>
                    <a:pt x="1144" y="62"/>
                  </a:cubicBezTo>
                  <a:cubicBezTo>
                    <a:pt x="1144" y="62"/>
                    <a:pt x="1144" y="62"/>
                    <a:pt x="1144" y="63"/>
                  </a:cubicBezTo>
                  <a:cubicBezTo>
                    <a:pt x="1144" y="76"/>
                    <a:pt x="1144" y="88"/>
                    <a:pt x="1144" y="101"/>
                  </a:cubicBezTo>
                  <a:cubicBezTo>
                    <a:pt x="1145" y="102"/>
                    <a:pt x="1145" y="102"/>
                    <a:pt x="1146" y="102"/>
                  </a:cubicBezTo>
                  <a:cubicBezTo>
                    <a:pt x="1148" y="102"/>
                    <a:pt x="1151" y="102"/>
                    <a:pt x="1153" y="102"/>
                  </a:cubicBezTo>
                  <a:cubicBezTo>
                    <a:pt x="1155" y="102"/>
                    <a:pt x="1155" y="102"/>
                    <a:pt x="1155" y="100"/>
                  </a:cubicBezTo>
                  <a:cubicBezTo>
                    <a:pt x="1155" y="86"/>
                    <a:pt x="1155" y="72"/>
                    <a:pt x="1155" y="58"/>
                  </a:cubicBezTo>
                  <a:cubicBezTo>
                    <a:pt x="1155" y="57"/>
                    <a:pt x="1155" y="56"/>
                    <a:pt x="1155" y="56"/>
                  </a:cubicBezTo>
                  <a:cubicBezTo>
                    <a:pt x="1155" y="56"/>
                    <a:pt x="1155" y="55"/>
                    <a:pt x="1155" y="55"/>
                  </a:cubicBezTo>
                  <a:cubicBezTo>
                    <a:pt x="1155" y="54"/>
                    <a:pt x="1155" y="53"/>
                    <a:pt x="1155" y="53"/>
                  </a:cubicBezTo>
                  <a:cubicBezTo>
                    <a:pt x="1154" y="53"/>
                    <a:pt x="1154" y="53"/>
                    <a:pt x="1155" y="53"/>
                  </a:cubicBezTo>
                  <a:cubicBezTo>
                    <a:pt x="1154" y="52"/>
                    <a:pt x="1155" y="51"/>
                    <a:pt x="1154" y="51"/>
                  </a:cubicBezTo>
                  <a:cubicBezTo>
                    <a:pt x="1154" y="51"/>
                    <a:pt x="1154" y="51"/>
                    <a:pt x="1154" y="51"/>
                  </a:cubicBezTo>
                  <a:cubicBezTo>
                    <a:pt x="1154" y="50"/>
                    <a:pt x="1154" y="50"/>
                    <a:pt x="1154" y="49"/>
                  </a:cubicBezTo>
                  <a:close/>
                  <a:moveTo>
                    <a:pt x="680" y="63"/>
                  </a:moveTo>
                  <a:cubicBezTo>
                    <a:pt x="680" y="63"/>
                    <a:pt x="680" y="63"/>
                    <a:pt x="680" y="63"/>
                  </a:cubicBezTo>
                  <a:cubicBezTo>
                    <a:pt x="680" y="62"/>
                    <a:pt x="679" y="62"/>
                    <a:pt x="679" y="62"/>
                  </a:cubicBezTo>
                  <a:cubicBezTo>
                    <a:pt x="679" y="62"/>
                    <a:pt x="679" y="62"/>
                    <a:pt x="679" y="62"/>
                  </a:cubicBezTo>
                  <a:cubicBezTo>
                    <a:pt x="679" y="62"/>
                    <a:pt x="679" y="62"/>
                    <a:pt x="678" y="62"/>
                  </a:cubicBezTo>
                  <a:cubicBezTo>
                    <a:pt x="678" y="62"/>
                    <a:pt x="678" y="62"/>
                    <a:pt x="678" y="62"/>
                  </a:cubicBezTo>
                  <a:cubicBezTo>
                    <a:pt x="678" y="62"/>
                    <a:pt x="678" y="62"/>
                    <a:pt x="678" y="62"/>
                  </a:cubicBezTo>
                  <a:cubicBezTo>
                    <a:pt x="678" y="62"/>
                    <a:pt x="678" y="62"/>
                    <a:pt x="678" y="62"/>
                  </a:cubicBezTo>
                  <a:cubicBezTo>
                    <a:pt x="678" y="61"/>
                    <a:pt x="677" y="61"/>
                    <a:pt x="677" y="61"/>
                  </a:cubicBezTo>
                  <a:cubicBezTo>
                    <a:pt x="677" y="61"/>
                    <a:pt x="677" y="61"/>
                    <a:pt x="677" y="61"/>
                  </a:cubicBezTo>
                  <a:cubicBezTo>
                    <a:pt x="677" y="61"/>
                    <a:pt x="676" y="61"/>
                    <a:pt x="676" y="61"/>
                  </a:cubicBezTo>
                  <a:cubicBezTo>
                    <a:pt x="676" y="61"/>
                    <a:pt x="676" y="61"/>
                    <a:pt x="676" y="61"/>
                  </a:cubicBezTo>
                  <a:cubicBezTo>
                    <a:pt x="676" y="61"/>
                    <a:pt x="676" y="61"/>
                    <a:pt x="676" y="60"/>
                  </a:cubicBezTo>
                  <a:cubicBezTo>
                    <a:pt x="676" y="60"/>
                    <a:pt x="676" y="60"/>
                    <a:pt x="676" y="60"/>
                  </a:cubicBezTo>
                  <a:cubicBezTo>
                    <a:pt x="675" y="60"/>
                    <a:pt x="675" y="60"/>
                    <a:pt x="675" y="60"/>
                  </a:cubicBezTo>
                  <a:cubicBezTo>
                    <a:pt x="675" y="60"/>
                    <a:pt x="675" y="60"/>
                    <a:pt x="675" y="60"/>
                  </a:cubicBezTo>
                  <a:cubicBezTo>
                    <a:pt x="675" y="60"/>
                    <a:pt x="675" y="60"/>
                    <a:pt x="675" y="60"/>
                  </a:cubicBezTo>
                  <a:cubicBezTo>
                    <a:pt x="675" y="60"/>
                    <a:pt x="675" y="60"/>
                    <a:pt x="675" y="60"/>
                  </a:cubicBezTo>
                  <a:cubicBezTo>
                    <a:pt x="674" y="60"/>
                    <a:pt x="674" y="60"/>
                    <a:pt x="674" y="59"/>
                  </a:cubicBezTo>
                  <a:cubicBezTo>
                    <a:pt x="674" y="59"/>
                    <a:pt x="674" y="59"/>
                    <a:pt x="674" y="59"/>
                  </a:cubicBezTo>
                  <a:cubicBezTo>
                    <a:pt x="674" y="59"/>
                    <a:pt x="674" y="59"/>
                    <a:pt x="673" y="59"/>
                  </a:cubicBezTo>
                  <a:cubicBezTo>
                    <a:pt x="673" y="59"/>
                    <a:pt x="673" y="59"/>
                    <a:pt x="673" y="59"/>
                  </a:cubicBezTo>
                  <a:cubicBezTo>
                    <a:pt x="673" y="59"/>
                    <a:pt x="673" y="59"/>
                    <a:pt x="673" y="59"/>
                  </a:cubicBezTo>
                  <a:cubicBezTo>
                    <a:pt x="673" y="59"/>
                    <a:pt x="673" y="59"/>
                    <a:pt x="673" y="59"/>
                  </a:cubicBezTo>
                  <a:cubicBezTo>
                    <a:pt x="673" y="59"/>
                    <a:pt x="673"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8"/>
                    <a:pt x="672" y="58"/>
                  </a:cubicBezTo>
                  <a:cubicBezTo>
                    <a:pt x="672" y="58"/>
                    <a:pt x="672" y="57"/>
                    <a:pt x="671" y="57"/>
                  </a:cubicBezTo>
                  <a:cubicBezTo>
                    <a:pt x="671" y="57"/>
                    <a:pt x="671" y="57"/>
                    <a:pt x="671" y="57"/>
                  </a:cubicBezTo>
                  <a:cubicBezTo>
                    <a:pt x="671" y="57"/>
                    <a:pt x="671" y="57"/>
                    <a:pt x="671" y="57"/>
                  </a:cubicBezTo>
                  <a:cubicBezTo>
                    <a:pt x="671" y="57"/>
                    <a:pt x="671" y="57"/>
                    <a:pt x="671" y="57"/>
                  </a:cubicBezTo>
                  <a:cubicBezTo>
                    <a:pt x="671" y="56"/>
                    <a:pt x="671" y="56"/>
                    <a:pt x="671" y="56"/>
                  </a:cubicBezTo>
                  <a:cubicBezTo>
                    <a:pt x="671" y="56"/>
                    <a:pt x="671" y="56"/>
                    <a:pt x="671" y="56"/>
                  </a:cubicBezTo>
                  <a:cubicBezTo>
                    <a:pt x="671" y="56"/>
                    <a:pt x="671" y="56"/>
                    <a:pt x="670" y="56"/>
                  </a:cubicBezTo>
                  <a:cubicBezTo>
                    <a:pt x="670" y="56"/>
                    <a:pt x="670" y="56"/>
                    <a:pt x="670" y="56"/>
                  </a:cubicBezTo>
                  <a:cubicBezTo>
                    <a:pt x="670" y="55"/>
                    <a:pt x="670" y="55"/>
                    <a:pt x="670" y="55"/>
                  </a:cubicBezTo>
                  <a:cubicBezTo>
                    <a:pt x="670" y="54"/>
                    <a:pt x="670" y="54"/>
                    <a:pt x="670" y="54"/>
                  </a:cubicBezTo>
                  <a:cubicBezTo>
                    <a:pt x="670" y="54"/>
                    <a:pt x="670" y="54"/>
                    <a:pt x="670" y="54"/>
                  </a:cubicBezTo>
                  <a:cubicBezTo>
                    <a:pt x="670" y="54"/>
                    <a:pt x="670" y="54"/>
                    <a:pt x="670" y="53"/>
                  </a:cubicBezTo>
                  <a:cubicBezTo>
                    <a:pt x="670" y="53"/>
                    <a:pt x="670" y="53"/>
                    <a:pt x="670" y="52"/>
                  </a:cubicBezTo>
                  <a:cubicBezTo>
                    <a:pt x="669" y="52"/>
                    <a:pt x="669" y="51"/>
                    <a:pt x="670" y="50"/>
                  </a:cubicBezTo>
                  <a:cubicBezTo>
                    <a:pt x="670" y="50"/>
                    <a:pt x="670" y="50"/>
                    <a:pt x="670" y="50"/>
                  </a:cubicBezTo>
                  <a:cubicBezTo>
                    <a:pt x="670" y="50"/>
                    <a:pt x="670" y="49"/>
                    <a:pt x="670" y="49"/>
                  </a:cubicBezTo>
                  <a:cubicBezTo>
                    <a:pt x="670" y="49"/>
                    <a:pt x="670" y="49"/>
                    <a:pt x="670" y="49"/>
                  </a:cubicBezTo>
                  <a:cubicBezTo>
                    <a:pt x="670" y="48"/>
                    <a:pt x="670" y="48"/>
                    <a:pt x="670" y="48"/>
                  </a:cubicBezTo>
                  <a:cubicBezTo>
                    <a:pt x="670" y="48"/>
                    <a:pt x="670" y="48"/>
                    <a:pt x="670" y="48"/>
                  </a:cubicBezTo>
                  <a:cubicBezTo>
                    <a:pt x="671" y="47"/>
                    <a:pt x="671" y="47"/>
                    <a:pt x="671" y="47"/>
                  </a:cubicBezTo>
                  <a:cubicBezTo>
                    <a:pt x="671" y="47"/>
                    <a:pt x="671" y="47"/>
                    <a:pt x="671" y="47"/>
                  </a:cubicBezTo>
                  <a:cubicBezTo>
                    <a:pt x="671" y="47"/>
                    <a:pt x="671" y="47"/>
                    <a:pt x="671" y="46"/>
                  </a:cubicBezTo>
                  <a:cubicBezTo>
                    <a:pt x="671" y="46"/>
                    <a:pt x="671" y="46"/>
                    <a:pt x="671" y="46"/>
                  </a:cubicBezTo>
                  <a:cubicBezTo>
                    <a:pt x="671" y="46"/>
                    <a:pt x="671" y="46"/>
                    <a:pt x="671" y="46"/>
                  </a:cubicBezTo>
                  <a:cubicBezTo>
                    <a:pt x="671" y="46"/>
                    <a:pt x="671" y="46"/>
                    <a:pt x="671" y="46"/>
                  </a:cubicBezTo>
                  <a:cubicBezTo>
                    <a:pt x="672" y="46"/>
                    <a:pt x="673" y="45"/>
                    <a:pt x="673" y="44"/>
                  </a:cubicBezTo>
                  <a:cubicBezTo>
                    <a:pt x="673" y="44"/>
                    <a:pt x="673" y="44"/>
                    <a:pt x="673" y="44"/>
                  </a:cubicBezTo>
                  <a:cubicBezTo>
                    <a:pt x="673" y="44"/>
                    <a:pt x="673" y="44"/>
                    <a:pt x="674" y="44"/>
                  </a:cubicBezTo>
                  <a:cubicBezTo>
                    <a:pt x="674" y="44"/>
                    <a:pt x="674" y="44"/>
                    <a:pt x="674" y="44"/>
                  </a:cubicBezTo>
                  <a:cubicBezTo>
                    <a:pt x="674" y="44"/>
                    <a:pt x="674" y="44"/>
                    <a:pt x="674" y="44"/>
                  </a:cubicBezTo>
                  <a:cubicBezTo>
                    <a:pt x="674" y="44"/>
                    <a:pt x="674" y="44"/>
                    <a:pt x="674" y="44"/>
                  </a:cubicBezTo>
                  <a:cubicBezTo>
                    <a:pt x="674" y="44"/>
                    <a:pt x="674" y="44"/>
                    <a:pt x="675" y="43"/>
                  </a:cubicBezTo>
                  <a:cubicBezTo>
                    <a:pt x="675" y="43"/>
                    <a:pt x="675" y="43"/>
                    <a:pt x="675" y="43"/>
                  </a:cubicBezTo>
                  <a:cubicBezTo>
                    <a:pt x="675" y="43"/>
                    <a:pt x="675" y="43"/>
                    <a:pt x="675" y="43"/>
                  </a:cubicBezTo>
                  <a:cubicBezTo>
                    <a:pt x="675" y="43"/>
                    <a:pt x="675" y="43"/>
                    <a:pt x="676" y="43"/>
                  </a:cubicBezTo>
                  <a:cubicBezTo>
                    <a:pt x="676" y="43"/>
                    <a:pt x="676" y="43"/>
                    <a:pt x="676" y="43"/>
                  </a:cubicBezTo>
                  <a:cubicBezTo>
                    <a:pt x="676" y="43"/>
                    <a:pt x="676" y="43"/>
                    <a:pt x="676" y="43"/>
                  </a:cubicBezTo>
                  <a:cubicBezTo>
                    <a:pt x="676" y="43"/>
                    <a:pt x="676" y="43"/>
                    <a:pt x="676" y="43"/>
                  </a:cubicBezTo>
                  <a:cubicBezTo>
                    <a:pt x="677" y="43"/>
                    <a:pt x="677" y="43"/>
                    <a:pt x="677" y="43"/>
                  </a:cubicBezTo>
                  <a:cubicBezTo>
                    <a:pt x="677" y="42"/>
                    <a:pt x="677" y="43"/>
                    <a:pt x="678" y="42"/>
                  </a:cubicBezTo>
                  <a:cubicBezTo>
                    <a:pt x="678" y="42"/>
                    <a:pt x="678" y="42"/>
                    <a:pt x="678" y="42"/>
                  </a:cubicBezTo>
                  <a:cubicBezTo>
                    <a:pt x="678" y="42"/>
                    <a:pt x="678" y="42"/>
                    <a:pt x="678" y="42"/>
                  </a:cubicBezTo>
                  <a:cubicBezTo>
                    <a:pt x="679" y="42"/>
                    <a:pt x="679" y="42"/>
                    <a:pt x="680" y="42"/>
                  </a:cubicBezTo>
                  <a:cubicBezTo>
                    <a:pt x="681" y="42"/>
                    <a:pt x="682" y="42"/>
                    <a:pt x="683" y="42"/>
                  </a:cubicBezTo>
                  <a:cubicBezTo>
                    <a:pt x="684" y="42"/>
                    <a:pt x="685" y="42"/>
                    <a:pt x="685" y="42"/>
                  </a:cubicBezTo>
                  <a:cubicBezTo>
                    <a:pt x="686" y="42"/>
                    <a:pt x="686" y="42"/>
                    <a:pt x="686" y="42"/>
                  </a:cubicBezTo>
                  <a:cubicBezTo>
                    <a:pt x="686" y="42"/>
                    <a:pt x="686" y="42"/>
                    <a:pt x="686" y="42"/>
                  </a:cubicBezTo>
                  <a:cubicBezTo>
                    <a:pt x="686" y="43"/>
                    <a:pt x="687" y="42"/>
                    <a:pt x="687" y="43"/>
                  </a:cubicBezTo>
                  <a:cubicBezTo>
                    <a:pt x="687" y="43"/>
                    <a:pt x="687" y="43"/>
                    <a:pt x="687" y="43"/>
                  </a:cubicBezTo>
                  <a:cubicBezTo>
                    <a:pt x="687" y="43"/>
                    <a:pt x="687" y="43"/>
                    <a:pt x="687" y="43"/>
                  </a:cubicBezTo>
                  <a:cubicBezTo>
                    <a:pt x="688" y="43"/>
                    <a:pt x="688" y="43"/>
                    <a:pt x="689" y="43"/>
                  </a:cubicBezTo>
                  <a:cubicBezTo>
                    <a:pt x="689" y="43"/>
                    <a:pt x="689" y="43"/>
                    <a:pt x="689" y="43"/>
                  </a:cubicBezTo>
                  <a:cubicBezTo>
                    <a:pt x="689" y="43"/>
                    <a:pt x="689" y="43"/>
                    <a:pt x="689" y="43"/>
                  </a:cubicBezTo>
                  <a:cubicBezTo>
                    <a:pt x="689" y="43"/>
                    <a:pt x="690" y="43"/>
                    <a:pt x="690" y="43"/>
                  </a:cubicBezTo>
                  <a:cubicBezTo>
                    <a:pt x="690" y="43"/>
                    <a:pt x="690" y="43"/>
                    <a:pt x="690" y="43"/>
                  </a:cubicBezTo>
                  <a:cubicBezTo>
                    <a:pt x="690" y="44"/>
                    <a:pt x="691" y="43"/>
                    <a:pt x="691" y="44"/>
                  </a:cubicBezTo>
                  <a:cubicBezTo>
                    <a:pt x="691" y="44"/>
                    <a:pt x="691" y="44"/>
                    <a:pt x="691" y="44"/>
                  </a:cubicBezTo>
                  <a:cubicBezTo>
                    <a:pt x="691" y="44"/>
                    <a:pt x="691" y="44"/>
                    <a:pt x="692" y="44"/>
                  </a:cubicBezTo>
                  <a:cubicBezTo>
                    <a:pt x="692" y="44"/>
                    <a:pt x="692" y="44"/>
                    <a:pt x="692" y="44"/>
                  </a:cubicBezTo>
                  <a:cubicBezTo>
                    <a:pt x="692" y="44"/>
                    <a:pt x="692" y="44"/>
                    <a:pt x="692" y="44"/>
                  </a:cubicBezTo>
                  <a:cubicBezTo>
                    <a:pt x="692" y="44"/>
                    <a:pt x="692" y="44"/>
                    <a:pt x="692" y="44"/>
                  </a:cubicBezTo>
                  <a:cubicBezTo>
                    <a:pt x="693" y="45"/>
                    <a:pt x="693" y="45"/>
                    <a:pt x="693" y="45"/>
                  </a:cubicBezTo>
                  <a:cubicBezTo>
                    <a:pt x="693" y="45"/>
                    <a:pt x="693" y="45"/>
                    <a:pt x="693" y="45"/>
                  </a:cubicBezTo>
                  <a:cubicBezTo>
                    <a:pt x="693" y="45"/>
                    <a:pt x="694" y="45"/>
                    <a:pt x="694" y="45"/>
                  </a:cubicBezTo>
                  <a:cubicBezTo>
                    <a:pt x="694" y="45"/>
                    <a:pt x="694" y="45"/>
                    <a:pt x="694" y="45"/>
                  </a:cubicBezTo>
                  <a:cubicBezTo>
                    <a:pt x="694" y="45"/>
                    <a:pt x="694" y="45"/>
                    <a:pt x="694" y="45"/>
                  </a:cubicBezTo>
                  <a:cubicBezTo>
                    <a:pt x="694" y="45"/>
                    <a:pt x="694" y="45"/>
                    <a:pt x="694" y="45"/>
                  </a:cubicBezTo>
                  <a:cubicBezTo>
                    <a:pt x="695" y="46"/>
                    <a:pt x="695" y="46"/>
                    <a:pt x="695" y="46"/>
                  </a:cubicBezTo>
                  <a:cubicBezTo>
                    <a:pt x="695" y="46"/>
                    <a:pt x="695" y="46"/>
                    <a:pt x="695" y="46"/>
                  </a:cubicBezTo>
                  <a:cubicBezTo>
                    <a:pt x="695" y="46"/>
                    <a:pt x="695" y="46"/>
                    <a:pt x="696" y="46"/>
                  </a:cubicBezTo>
                  <a:cubicBezTo>
                    <a:pt x="695" y="46"/>
                    <a:pt x="695" y="46"/>
                    <a:pt x="695" y="46"/>
                  </a:cubicBezTo>
                  <a:cubicBezTo>
                    <a:pt x="696" y="46"/>
                    <a:pt x="696" y="46"/>
                    <a:pt x="696" y="47"/>
                  </a:cubicBezTo>
                  <a:cubicBezTo>
                    <a:pt x="696" y="47"/>
                    <a:pt x="696" y="47"/>
                    <a:pt x="696" y="47"/>
                  </a:cubicBezTo>
                  <a:cubicBezTo>
                    <a:pt x="696" y="47"/>
                    <a:pt x="697" y="46"/>
                    <a:pt x="697" y="46"/>
                  </a:cubicBezTo>
                  <a:cubicBezTo>
                    <a:pt x="697" y="43"/>
                    <a:pt x="697" y="39"/>
                    <a:pt x="696" y="36"/>
                  </a:cubicBezTo>
                  <a:cubicBezTo>
                    <a:pt x="696" y="36"/>
                    <a:pt x="696" y="36"/>
                    <a:pt x="696" y="36"/>
                  </a:cubicBezTo>
                  <a:cubicBezTo>
                    <a:pt x="696" y="36"/>
                    <a:pt x="696" y="36"/>
                    <a:pt x="696" y="35"/>
                  </a:cubicBezTo>
                  <a:cubicBezTo>
                    <a:pt x="696" y="35"/>
                    <a:pt x="696" y="35"/>
                    <a:pt x="696" y="35"/>
                  </a:cubicBezTo>
                  <a:cubicBezTo>
                    <a:pt x="696" y="35"/>
                    <a:pt x="695" y="35"/>
                    <a:pt x="695" y="35"/>
                  </a:cubicBezTo>
                  <a:cubicBezTo>
                    <a:pt x="695" y="35"/>
                    <a:pt x="695" y="35"/>
                    <a:pt x="695" y="35"/>
                  </a:cubicBezTo>
                  <a:cubicBezTo>
                    <a:pt x="695" y="35"/>
                    <a:pt x="695" y="35"/>
                    <a:pt x="694" y="35"/>
                  </a:cubicBezTo>
                  <a:cubicBezTo>
                    <a:pt x="694" y="35"/>
                    <a:pt x="694" y="35"/>
                    <a:pt x="694" y="35"/>
                  </a:cubicBezTo>
                  <a:cubicBezTo>
                    <a:pt x="694" y="34"/>
                    <a:pt x="694" y="35"/>
                    <a:pt x="693" y="34"/>
                  </a:cubicBezTo>
                  <a:cubicBezTo>
                    <a:pt x="693" y="34"/>
                    <a:pt x="693" y="34"/>
                    <a:pt x="693" y="34"/>
                  </a:cubicBezTo>
                  <a:cubicBezTo>
                    <a:pt x="693" y="34"/>
                    <a:pt x="693" y="34"/>
                    <a:pt x="692" y="34"/>
                  </a:cubicBezTo>
                  <a:cubicBezTo>
                    <a:pt x="692" y="34"/>
                    <a:pt x="692" y="34"/>
                    <a:pt x="692" y="34"/>
                  </a:cubicBezTo>
                  <a:cubicBezTo>
                    <a:pt x="692" y="34"/>
                    <a:pt x="692" y="34"/>
                    <a:pt x="691" y="34"/>
                  </a:cubicBezTo>
                  <a:cubicBezTo>
                    <a:pt x="691" y="34"/>
                    <a:pt x="691" y="34"/>
                    <a:pt x="691" y="34"/>
                  </a:cubicBezTo>
                  <a:cubicBezTo>
                    <a:pt x="691" y="34"/>
                    <a:pt x="691" y="34"/>
                    <a:pt x="691" y="34"/>
                  </a:cubicBezTo>
                  <a:cubicBezTo>
                    <a:pt x="691" y="33"/>
                    <a:pt x="690" y="34"/>
                    <a:pt x="690" y="33"/>
                  </a:cubicBezTo>
                  <a:cubicBezTo>
                    <a:pt x="690" y="33"/>
                    <a:pt x="690" y="33"/>
                    <a:pt x="690" y="33"/>
                  </a:cubicBezTo>
                  <a:cubicBezTo>
                    <a:pt x="690" y="33"/>
                    <a:pt x="690" y="33"/>
                    <a:pt x="690" y="33"/>
                  </a:cubicBezTo>
                  <a:cubicBezTo>
                    <a:pt x="689" y="33"/>
                    <a:pt x="688" y="33"/>
                    <a:pt x="688" y="33"/>
                  </a:cubicBezTo>
                  <a:cubicBezTo>
                    <a:pt x="688" y="33"/>
                    <a:pt x="688" y="33"/>
                    <a:pt x="687" y="33"/>
                  </a:cubicBezTo>
                  <a:cubicBezTo>
                    <a:pt x="687" y="33"/>
                    <a:pt x="686" y="33"/>
                    <a:pt x="685" y="33"/>
                  </a:cubicBezTo>
                  <a:cubicBezTo>
                    <a:pt x="683" y="33"/>
                    <a:pt x="681" y="33"/>
                    <a:pt x="680" y="33"/>
                  </a:cubicBezTo>
                  <a:cubicBezTo>
                    <a:pt x="679" y="33"/>
                    <a:pt x="678" y="33"/>
                    <a:pt x="677" y="33"/>
                  </a:cubicBezTo>
                  <a:cubicBezTo>
                    <a:pt x="677" y="33"/>
                    <a:pt x="677" y="33"/>
                    <a:pt x="677" y="33"/>
                  </a:cubicBezTo>
                  <a:cubicBezTo>
                    <a:pt x="676" y="33"/>
                    <a:pt x="676" y="33"/>
                    <a:pt x="675" y="33"/>
                  </a:cubicBezTo>
                  <a:cubicBezTo>
                    <a:pt x="675" y="33"/>
                    <a:pt x="675" y="33"/>
                    <a:pt x="675" y="33"/>
                  </a:cubicBezTo>
                  <a:cubicBezTo>
                    <a:pt x="675" y="34"/>
                    <a:pt x="674" y="33"/>
                    <a:pt x="674" y="34"/>
                  </a:cubicBezTo>
                  <a:cubicBezTo>
                    <a:pt x="674" y="34"/>
                    <a:pt x="674" y="34"/>
                    <a:pt x="674" y="34"/>
                  </a:cubicBezTo>
                  <a:cubicBezTo>
                    <a:pt x="673" y="34"/>
                    <a:pt x="673" y="34"/>
                    <a:pt x="672" y="34"/>
                  </a:cubicBezTo>
                  <a:cubicBezTo>
                    <a:pt x="673" y="34"/>
                    <a:pt x="673" y="34"/>
                    <a:pt x="673" y="34"/>
                  </a:cubicBezTo>
                  <a:cubicBezTo>
                    <a:pt x="672" y="34"/>
                    <a:pt x="672" y="34"/>
                    <a:pt x="671" y="34"/>
                  </a:cubicBezTo>
                  <a:cubicBezTo>
                    <a:pt x="671" y="34"/>
                    <a:pt x="671" y="34"/>
                    <a:pt x="671" y="34"/>
                  </a:cubicBezTo>
                  <a:cubicBezTo>
                    <a:pt x="671" y="35"/>
                    <a:pt x="671" y="34"/>
                    <a:pt x="671" y="35"/>
                  </a:cubicBezTo>
                  <a:cubicBezTo>
                    <a:pt x="671" y="35"/>
                    <a:pt x="671" y="35"/>
                    <a:pt x="671" y="35"/>
                  </a:cubicBezTo>
                  <a:cubicBezTo>
                    <a:pt x="671" y="35"/>
                    <a:pt x="670" y="35"/>
                    <a:pt x="670" y="35"/>
                  </a:cubicBezTo>
                  <a:cubicBezTo>
                    <a:pt x="670" y="35"/>
                    <a:pt x="670" y="35"/>
                    <a:pt x="670" y="35"/>
                  </a:cubicBezTo>
                  <a:cubicBezTo>
                    <a:pt x="670" y="35"/>
                    <a:pt x="670" y="35"/>
                    <a:pt x="670" y="35"/>
                  </a:cubicBezTo>
                  <a:cubicBezTo>
                    <a:pt x="670" y="35"/>
                    <a:pt x="670" y="35"/>
                    <a:pt x="669" y="35"/>
                  </a:cubicBezTo>
                  <a:cubicBezTo>
                    <a:pt x="669" y="35"/>
                    <a:pt x="669" y="35"/>
                    <a:pt x="669" y="35"/>
                  </a:cubicBezTo>
                  <a:cubicBezTo>
                    <a:pt x="669" y="35"/>
                    <a:pt x="669" y="35"/>
                    <a:pt x="669" y="35"/>
                  </a:cubicBezTo>
                  <a:cubicBezTo>
                    <a:pt x="669" y="35"/>
                    <a:pt x="669" y="36"/>
                    <a:pt x="669" y="36"/>
                  </a:cubicBezTo>
                  <a:cubicBezTo>
                    <a:pt x="669" y="36"/>
                    <a:pt x="669" y="36"/>
                    <a:pt x="669" y="36"/>
                  </a:cubicBezTo>
                  <a:cubicBezTo>
                    <a:pt x="668" y="36"/>
                    <a:pt x="668" y="36"/>
                    <a:pt x="668" y="36"/>
                  </a:cubicBezTo>
                  <a:cubicBezTo>
                    <a:pt x="668" y="36"/>
                    <a:pt x="668" y="36"/>
                    <a:pt x="668" y="36"/>
                  </a:cubicBezTo>
                  <a:cubicBezTo>
                    <a:pt x="668" y="36"/>
                    <a:pt x="667" y="36"/>
                    <a:pt x="667" y="37"/>
                  </a:cubicBezTo>
                  <a:cubicBezTo>
                    <a:pt x="667" y="36"/>
                    <a:pt x="667" y="36"/>
                    <a:pt x="667" y="36"/>
                  </a:cubicBezTo>
                  <a:cubicBezTo>
                    <a:pt x="667" y="37"/>
                    <a:pt x="667" y="37"/>
                    <a:pt x="667" y="37"/>
                  </a:cubicBezTo>
                  <a:cubicBezTo>
                    <a:pt x="667" y="37"/>
                    <a:pt x="667" y="37"/>
                    <a:pt x="667" y="37"/>
                  </a:cubicBezTo>
                  <a:cubicBezTo>
                    <a:pt x="667" y="37"/>
                    <a:pt x="666" y="37"/>
                    <a:pt x="666" y="37"/>
                  </a:cubicBezTo>
                  <a:cubicBezTo>
                    <a:pt x="666" y="37"/>
                    <a:pt x="666" y="37"/>
                    <a:pt x="666" y="37"/>
                  </a:cubicBezTo>
                  <a:cubicBezTo>
                    <a:pt x="666" y="37"/>
                    <a:pt x="666" y="37"/>
                    <a:pt x="666" y="38"/>
                  </a:cubicBezTo>
                  <a:cubicBezTo>
                    <a:pt x="666" y="37"/>
                    <a:pt x="666" y="37"/>
                    <a:pt x="666" y="37"/>
                  </a:cubicBezTo>
                  <a:cubicBezTo>
                    <a:pt x="666" y="38"/>
                    <a:pt x="666" y="38"/>
                    <a:pt x="666" y="38"/>
                  </a:cubicBezTo>
                  <a:cubicBezTo>
                    <a:pt x="666" y="38"/>
                    <a:pt x="666" y="38"/>
                    <a:pt x="666" y="38"/>
                  </a:cubicBezTo>
                  <a:cubicBezTo>
                    <a:pt x="665" y="38"/>
                    <a:pt x="665" y="38"/>
                    <a:pt x="665" y="39"/>
                  </a:cubicBezTo>
                  <a:cubicBezTo>
                    <a:pt x="665" y="39"/>
                    <a:pt x="665" y="39"/>
                    <a:pt x="665" y="39"/>
                  </a:cubicBezTo>
                  <a:cubicBezTo>
                    <a:pt x="664" y="39"/>
                    <a:pt x="664" y="39"/>
                    <a:pt x="664" y="39"/>
                  </a:cubicBezTo>
                  <a:cubicBezTo>
                    <a:pt x="664" y="39"/>
                    <a:pt x="664" y="39"/>
                    <a:pt x="664" y="39"/>
                  </a:cubicBezTo>
                  <a:cubicBezTo>
                    <a:pt x="664" y="39"/>
                    <a:pt x="664" y="39"/>
                    <a:pt x="664" y="39"/>
                  </a:cubicBezTo>
                  <a:cubicBezTo>
                    <a:pt x="664" y="39"/>
                    <a:pt x="664" y="39"/>
                    <a:pt x="664" y="39"/>
                  </a:cubicBezTo>
                  <a:cubicBezTo>
                    <a:pt x="664" y="39"/>
                    <a:pt x="664" y="39"/>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3" y="40"/>
                    <a:pt x="663" y="40"/>
                  </a:cubicBezTo>
                  <a:cubicBezTo>
                    <a:pt x="663" y="40"/>
                    <a:pt x="662" y="40"/>
                    <a:pt x="662" y="41"/>
                  </a:cubicBezTo>
                  <a:cubicBezTo>
                    <a:pt x="663" y="41"/>
                    <a:pt x="663" y="41"/>
                    <a:pt x="663" y="41"/>
                  </a:cubicBezTo>
                  <a:cubicBezTo>
                    <a:pt x="662" y="41"/>
                    <a:pt x="662" y="41"/>
                    <a:pt x="662" y="41"/>
                  </a:cubicBezTo>
                  <a:cubicBezTo>
                    <a:pt x="662" y="41"/>
                    <a:pt x="662" y="41"/>
                    <a:pt x="662" y="41"/>
                  </a:cubicBezTo>
                  <a:cubicBezTo>
                    <a:pt x="662" y="41"/>
                    <a:pt x="662" y="42"/>
                    <a:pt x="662" y="42"/>
                  </a:cubicBezTo>
                  <a:cubicBezTo>
                    <a:pt x="662" y="42"/>
                    <a:pt x="662" y="42"/>
                    <a:pt x="662" y="42"/>
                  </a:cubicBezTo>
                  <a:cubicBezTo>
                    <a:pt x="662" y="42"/>
                    <a:pt x="661" y="42"/>
                    <a:pt x="661" y="42"/>
                  </a:cubicBezTo>
                  <a:cubicBezTo>
                    <a:pt x="661" y="42"/>
                    <a:pt x="661" y="42"/>
                    <a:pt x="661" y="42"/>
                  </a:cubicBezTo>
                  <a:cubicBezTo>
                    <a:pt x="661" y="42"/>
                    <a:pt x="661" y="43"/>
                    <a:pt x="661" y="43"/>
                  </a:cubicBezTo>
                  <a:cubicBezTo>
                    <a:pt x="661" y="43"/>
                    <a:pt x="661" y="43"/>
                    <a:pt x="661" y="43"/>
                  </a:cubicBezTo>
                  <a:cubicBezTo>
                    <a:pt x="661" y="43"/>
                    <a:pt x="661" y="43"/>
                    <a:pt x="661" y="43"/>
                  </a:cubicBezTo>
                  <a:cubicBezTo>
                    <a:pt x="661" y="43"/>
                    <a:pt x="661" y="43"/>
                    <a:pt x="661" y="43"/>
                  </a:cubicBezTo>
                  <a:cubicBezTo>
                    <a:pt x="660" y="43"/>
                    <a:pt x="660" y="44"/>
                    <a:pt x="660" y="44"/>
                  </a:cubicBezTo>
                  <a:cubicBezTo>
                    <a:pt x="660" y="44"/>
                    <a:pt x="660" y="44"/>
                    <a:pt x="660" y="44"/>
                  </a:cubicBezTo>
                  <a:cubicBezTo>
                    <a:pt x="660" y="44"/>
                    <a:pt x="660" y="44"/>
                    <a:pt x="660" y="44"/>
                  </a:cubicBezTo>
                  <a:cubicBezTo>
                    <a:pt x="660" y="44"/>
                    <a:pt x="660" y="44"/>
                    <a:pt x="660" y="44"/>
                  </a:cubicBezTo>
                  <a:cubicBezTo>
                    <a:pt x="660" y="45"/>
                    <a:pt x="660" y="45"/>
                    <a:pt x="660" y="45"/>
                  </a:cubicBezTo>
                  <a:cubicBezTo>
                    <a:pt x="660" y="45"/>
                    <a:pt x="660" y="45"/>
                    <a:pt x="660" y="45"/>
                  </a:cubicBezTo>
                  <a:cubicBezTo>
                    <a:pt x="660" y="45"/>
                    <a:pt x="660" y="45"/>
                    <a:pt x="660" y="45"/>
                  </a:cubicBezTo>
                  <a:cubicBezTo>
                    <a:pt x="659" y="46"/>
                    <a:pt x="659" y="46"/>
                    <a:pt x="659" y="46"/>
                  </a:cubicBezTo>
                  <a:cubicBezTo>
                    <a:pt x="659" y="46"/>
                    <a:pt x="659" y="46"/>
                    <a:pt x="659" y="46"/>
                  </a:cubicBezTo>
                  <a:cubicBezTo>
                    <a:pt x="659" y="46"/>
                    <a:pt x="659" y="47"/>
                    <a:pt x="659" y="47"/>
                  </a:cubicBezTo>
                  <a:cubicBezTo>
                    <a:pt x="659" y="47"/>
                    <a:pt x="659" y="48"/>
                    <a:pt x="659" y="48"/>
                  </a:cubicBezTo>
                  <a:cubicBezTo>
                    <a:pt x="659" y="48"/>
                    <a:pt x="659" y="49"/>
                    <a:pt x="659" y="49"/>
                  </a:cubicBezTo>
                  <a:cubicBezTo>
                    <a:pt x="659" y="49"/>
                    <a:pt x="659" y="49"/>
                    <a:pt x="659" y="49"/>
                  </a:cubicBezTo>
                  <a:cubicBezTo>
                    <a:pt x="658" y="51"/>
                    <a:pt x="658" y="53"/>
                    <a:pt x="659" y="55"/>
                  </a:cubicBezTo>
                  <a:cubicBezTo>
                    <a:pt x="659" y="55"/>
                    <a:pt x="659" y="56"/>
                    <a:pt x="659" y="56"/>
                  </a:cubicBezTo>
                  <a:cubicBezTo>
                    <a:pt x="659" y="56"/>
                    <a:pt x="659" y="57"/>
                    <a:pt x="659" y="57"/>
                  </a:cubicBezTo>
                  <a:cubicBezTo>
                    <a:pt x="659" y="57"/>
                    <a:pt x="659" y="57"/>
                    <a:pt x="659" y="58"/>
                  </a:cubicBezTo>
                  <a:cubicBezTo>
                    <a:pt x="659" y="58"/>
                    <a:pt x="659" y="58"/>
                    <a:pt x="659" y="59"/>
                  </a:cubicBezTo>
                  <a:cubicBezTo>
                    <a:pt x="659" y="59"/>
                    <a:pt x="659" y="59"/>
                    <a:pt x="659" y="59"/>
                  </a:cubicBezTo>
                  <a:cubicBezTo>
                    <a:pt x="659" y="59"/>
                    <a:pt x="659" y="59"/>
                    <a:pt x="659" y="59"/>
                  </a:cubicBezTo>
                  <a:cubicBezTo>
                    <a:pt x="659" y="59"/>
                    <a:pt x="659" y="59"/>
                    <a:pt x="660" y="60"/>
                  </a:cubicBezTo>
                  <a:cubicBezTo>
                    <a:pt x="660" y="60"/>
                    <a:pt x="660" y="60"/>
                    <a:pt x="660" y="60"/>
                  </a:cubicBezTo>
                  <a:cubicBezTo>
                    <a:pt x="660" y="60"/>
                    <a:pt x="660" y="60"/>
                    <a:pt x="660" y="60"/>
                  </a:cubicBezTo>
                  <a:cubicBezTo>
                    <a:pt x="660" y="60"/>
                    <a:pt x="660" y="60"/>
                    <a:pt x="660" y="60"/>
                  </a:cubicBezTo>
                  <a:cubicBezTo>
                    <a:pt x="660" y="61"/>
                    <a:pt x="660" y="61"/>
                    <a:pt x="660" y="61"/>
                  </a:cubicBezTo>
                  <a:cubicBezTo>
                    <a:pt x="660" y="61"/>
                    <a:pt x="660" y="61"/>
                    <a:pt x="660" y="61"/>
                  </a:cubicBezTo>
                  <a:cubicBezTo>
                    <a:pt x="660" y="61"/>
                    <a:pt x="660" y="61"/>
                    <a:pt x="660" y="61"/>
                  </a:cubicBezTo>
                  <a:cubicBezTo>
                    <a:pt x="660" y="61"/>
                    <a:pt x="660" y="61"/>
                    <a:pt x="660" y="61"/>
                  </a:cubicBezTo>
                  <a:cubicBezTo>
                    <a:pt x="660" y="62"/>
                    <a:pt x="661" y="62"/>
                    <a:pt x="661" y="62"/>
                  </a:cubicBezTo>
                  <a:cubicBezTo>
                    <a:pt x="661" y="62"/>
                    <a:pt x="661" y="62"/>
                    <a:pt x="661" y="62"/>
                  </a:cubicBezTo>
                  <a:cubicBezTo>
                    <a:pt x="661" y="62"/>
                    <a:pt x="661" y="62"/>
                    <a:pt x="661" y="62"/>
                  </a:cubicBezTo>
                  <a:cubicBezTo>
                    <a:pt x="661" y="62"/>
                    <a:pt x="661" y="62"/>
                    <a:pt x="661" y="62"/>
                  </a:cubicBezTo>
                  <a:cubicBezTo>
                    <a:pt x="661" y="63"/>
                    <a:pt x="661" y="63"/>
                    <a:pt x="661" y="63"/>
                  </a:cubicBezTo>
                  <a:cubicBezTo>
                    <a:pt x="661" y="63"/>
                    <a:pt x="661" y="63"/>
                    <a:pt x="661" y="63"/>
                  </a:cubicBezTo>
                  <a:cubicBezTo>
                    <a:pt x="662" y="63"/>
                    <a:pt x="661" y="63"/>
                    <a:pt x="662" y="64"/>
                  </a:cubicBezTo>
                  <a:cubicBezTo>
                    <a:pt x="662" y="63"/>
                    <a:pt x="662" y="63"/>
                    <a:pt x="662" y="63"/>
                  </a:cubicBezTo>
                  <a:cubicBezTo>
                    <a:pt x="662" y="64"/>
                    <a:pt x="662" y="64"/>
                    <a:pt x="662" y="64"/>
                  </a:cubicBezTo>
                  <a:cubicBezTo>
                    <a:pt x="662" y="64"/>
                    <a:pt x="662" y="64"/>
                    <a:pt x="662" y="64"/>
                  </a:cubicBezTo>
                  <a:cubicBezTo>
                    <a:pt x="662" y="64"/>
                    <a:pt x="662" y="64"/>
                    <a:pt x="662" y="64"/>
                  </a:cubicBezTo>
                  <a:cubicBezTo>
                    <a:pt x="662" y="64"/>
                    <a:pt x="662" y="64"/>
                    <a:pt x="662" y="64"/>
                  </a:cubicBezTo>
                  <a:cubicBezTo>
                    <a:pt x="662" y="64"/>
                    <a:pt x="663" y="64"/>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3" y="65"/>
                    <a:pt x="663" y="65"/>
                    <a:pt x="663" y="65"/>
                  </a:cubicBezTo>
                  <a:cubicBezTo>
                    <a:pt x="664" y="65"/>
                    <a:pt x="664" y="66"/>
                    <a:pt x="664" y="66"/>
                  </a:cubicBezTo>
                  <a:cubicBezTo>
                    <a:pt x="664" y="66"/>
                    <a:pt x="664" y="66"/>
                    <a:pt x="664" y="66"/>
                  </a:cubicBezTo>
                  <a:cubicBezTo>
                    <a:pt x="664" y="66"/>
                    <a:pt x="664" y="66"/>
                    <a:pt x="664" y="66"/>
                  </a:cubicBezTo>
                  <a:cubicBezTo>
                    <a:pt x="664" y="66"/>
                    <a:pt x="664" y="66"/>
                    <a:pt x="664" y="66"/>
                  </a:cubicBezTo>
                  <a:cubicBezTo>
                    <a:pt x="664" y="66"/>
                    <a:pt x="664" y="66"/>
                    <a:pt x="665" y="66"/>
                  </a:cubicBezTo>
                  <a:cubicBezTo>
                    <a:pt x="665" y="66"/>
                    <a:pt x="665" y="66"/>
                    <a:pt x="665" y="66"/>
                  </a:cubicBezTo>
                  <a:cubicBezTo>
                    <a:pt x="665" y="67"/>
                    <a:pt x="665" y="66"/>
                    <a:pt x="665" y="67"/>
                  </a:cubicBezTo>
                  <a:cubicBezTo>
                    <a:pt x="665" y="67"/>
                    <a:pt x="665" y="67"/>
                    <a:pt x="665" y="67"/>
                  </a:cubicBezTo>
                  <a:cubicBezTo>
                    <a:pt x="665" y="67"/>
                    <a:pt x="665" y="67"/>
                    <a:pt x="666" y="67"/>
                  </a:cubicBezTo>
                  <a:cubicBezTo>
                    <a:pt x="666" y="67"/>
                    <a:pt x="666" y="67"/>
                    <a:pt x="666" y="67"/>
                  </a:cubicBezTo>
                  <a:cubicBezTo>
                    <a:pt x="666" y="67"/>
                    <a:pt x="666" y="67"/>
                    <a:pt x="666" y="67"/>
                  </a:cubicBezTo>
                  <a:cubicBezTo>
                    <a:pt x="666" y="67"/>
                    <a:pt x="666" y="67"/>
                    <a:pt x="666" y="67"/>
                  </a:cubicBezTo>
                  <a:cubicBezTo>
                    <a:pt x="666" y="68"/>
                    <a:pt x="666" y="68"/>
                    <a:pt x="667" y="68"/>
                  </a:cubicBezTo>
                  <a:cubicBezTo>
                    <a:pt x="667" y="68"/>
                    <a:pt x="667" y="68"/>
                    <a:pt x="667" y="68"/>
                  </a:cubicBezTo>
                  <a:cubicBezTo>
                    <a:pt x="667" y="68"/>
                    <a:pt x="667" y="68"/>
                    <a:pt x="667" y="68"/>
                  </a:cubicBezTo>
                  <a:cubicBezTo>
                    <a:pt x="667" y="68"/>
                    <a:pt x="667" y="68"/>
                    <a:pt x="667" y="68"/>
                  </a:cubicBezTo>
                  <a:cubicBezTo>
                    <a:pt x="667" y="68"/>
                    <a:pt x="667" y="68"/>
                    <a:pt x="668" y="68"/>
                  </a:cubicBezTo>
                  <a:cubicBezTo>
                    <a:pt x="668" y="68"/>
                    <a:pt x="668" y="68"/>
                    <a:pt x="668" y="68"/>
                  </a:cubicBezTo>
                  <a:cubicBezTo>
                    <a:pt x="668" y="69"/>
                    <a:pt x="668" y="69"/>
                    <a:pt x="668" y="69"/>
                  </a:cubicBezTo>
                  <a:cubicBezTo>
                    <a:pt x="668" y="69"/>
                    <a:pt x="668" y="69"/>
                    <a:pt x="668" y="69"/>
                  </a:cubicBezTo>
                  <a:cubicBezTo>
                    <a:pt x="668" y="69"/>
                    <a:pt x="669" y="69"/>
                    <a:pt x="669" y="69"/>
                  </a:cubicBezTo>
                  <a:cubicBezTo>
                    <a:pt x="669" y="69"/>
                    <a:pt x="669" y="69"/>
                    <a:pt x="669" y="69"/>
                  </a:cubicBezTo>
                  <a:cubicBezTo>
                    <a:pt x="669" y="69"/>
                    <a:pt x="669" y="69"/>
                    <a:pt x="669" y="69"/>
                  </a:cubicBezTo>
                  <a:cubicBezTo>
                    <a:pt x="669" y="69"/>
                    <a:pt x="669" y="69"/>
                    <a:pt x="669" y="69"/>
                  </a:cubicBezTo>
                  <a:cubicBezTo>
                    <a:pt x="670" y="70"/>
                    <a:pt x="670" y="70"/>
                    <a:pt x="670" y="70"/>
                  </a:cubicBezTo>
                  <a:cubicBezTo>
                    <a:pt x="670" y="70"/>
                    <a:pt x="670" y="70"/>
                    <a:pt x="670" y="70"/>
                  </a:cubicBezTo>
                  <a:cubicBezTo>
                    <a:pt x="670" y="70"/>
                    <a:pt x="671" y="70"/>
                    <a:pt x="671" y="70"/>
                  </a:cubicBezTo>
                  <a:cubicBezTo>
                    <a:pt x="671" y="70"/>
                    <a:pt x="671" y="70"/>
                    <a:pt x="671" y="70"/>
                  </a:cubicBezTo>
                  <a:cubicBezTo>
                    <a:pt x="671" y="70"/>
                    <a:pt x="671" y="70"/>
                    <a:pt x="671" y="71"/>
                  </a:cubicBezTo>
                  <a:cubicBezTo>
                    <a:pt x="671" y="71"/>
                    <a:pt x="671" y="71"/>
                    <a:pt x="671" y="71"/>
                  </a:cubicBezTo>
                  <a:cubicBezTo>
                    <a:pt x="672" y="71"/>
                    <a:pt x="672" y="71"/>
                    <a:pt x="672" y="71"/>
                  </a:cubicBezTo>
                  <a:cubicBezTo>
                    <a:pt x="672" y="71"/>
                    <a:pt x="672" y="71"/>
                    <a:pt x="672" y="71"/>
                  </a:cubicBezTo>
                  <a:cubicBezTo>
                    <a:pt x="672" y="71"/>
                    <a:pt x="673" y="71"/>
                    <a:pt x="673" y="71"/>
                  </a:cubicBezTo>
                  <a:cubicBezTo>
                    <a:pt x="673" y="71"/>
                    <a:pt x="673" y="71"/>
                    <a:pt x="673" y="71"/>
                  </a:cubicBezTo>
                  <a:cubicBezTo>
                    <a:pt x="673" y="71"/>
                    <a:pt x="673" y="71"/>
                    <a:pt x="674" y="72"/>
                  </a:cubicBezTo>
                  <a:cubicBezTo>
                    <a:pt x="674" y="72"/>
                    <a:pt x="674" y="72"/>
                    <a:pt x="674" y="72"/>
                  </a:cubicBezTo>
                  <a:cubicBezTo>
                    <a:pt x="674" y="72"/>
                    <a:pt x="674" y="72"/>
                    <a:pt x="674" y="72"/>
                  </a:cubicBezTo>
                  <a:cubicBezTo>
                    <a:pt x="674" y="72"/>
                    <a:pt x="674" y="72"/>
                    <a:pt x="674" y="72"/>
                  </a:cubicBezTo>
                  <a:cubicBezTo>
                    <a:pt x="675" y="72"/>
                    <a:pt x="675" y="72"/>
                    <a:pt x="675" y="72"/>
                  </a:cubicBezTo>
                  <a:cubicBezTo>
                    <a:pt x="675" y="72"/>
                    <a:pt x="675" y="72"/>
                    <a:pt x="675" y="72"/>
                  </a:cubicBezTo>
                  <a:cubicBezTo>
                    <a:pt x="675" y="72"/>
                    <a:pt x="675" y="72"/>
                    <a:pt x="675" y="72"/>
                  </a:cubicBezTo>
                  <a:cubicBezTo>
                    <a:pt x="675" y="72"/>
                    <a:pt x="676" y="72"/>
                    <a:pt x="676" y="73"/>
                  </a:cubicBezTo>
                  <a:cubicBezTo>
                    <a:pt x="676" y="73"/>
                    <a:pt x="676" y="73"/>
                    <a:pt x="676" y="73"/>
                  </a:cubicBezTo>
                  <a:cubicBezTo>
                    <a:pt x="676" y="73"/>
                    <a:pt x="676" y="73"/>
                    <a:pt x="677" y="73"/>
                  </a:cubicBezTo>
                  <a:cubicBezTo>
                    <a:pt x="677" y="73"/>
                    <a:pt x="677" y="73"/>
                    <a:pt x="677" y="73"/>
                  </a:cubicBezTo>
                  <a:cubicBezTo>
                    <a:pt x="677" y="73"/>
                    <a:pt x="677" y="73"/>
                    <a:pt x="677" y="73"/>
                  </a:cubicBezTo>
                  <a:cubicBezTo>
                    <a:pt x="677" y="73"/>
                    <a:pt x="677" y="73"/>
                    <a:pt x="677" y="73"/>
                  </a:cubicBezTo>
                  <a:cubicBezTo>
                    <a:pt x="678" y="74"/>
                    <a:pt x="678" y="73"/>
                    <a:pt x="678" y="74"/>
                  </a:cubicBezTo>
                  <a:cubicBezTo>
                    <a:pt x="678" y="74"/>
                    <a:pt x="678" y="74"/>
                    <a:pt x="678" y="74"/>
                  </a:cubicBezTo>
                  <a:cubicBezTo>
                    <a:pt x="678" y="74"/>
                    <a:pt x="679" y="74"/>
                    <a:pt x="679" y="74"/>
                  </a:cubicBezTo>
                  <a:cubicBezTo>
                    <a:pt x="679" y="74"/>
                    <a:pt x="679" y="74"/>
                    <a:pt x="679" y="74"/>
                  </a:cubicBezTo>
                  <a:cubicBezTo>
                    <a:pt x="679" y="74"/>
                    <a:pt x="679" y="74"/>
                    <a:pt x="679" y="74"/>
                  </a:cubicBezTo>
                  <a:cubicBezTo>
                    <a:pt x="679" y="74"/>
                    <a:pt x="679" y="74"/>
                    <a:pt x="679" y="74"/>
                  </a:cubicBezTo>
                  <a:cubicBezTo>
                    <a:pt x="680" y="75"/>
                    <a:pt x="680" y="75"/>
                    <a:pt x="680" y="75"/>
                  </a:cubicBezTo>
                  <a:cubicBezTo>
                    <a:pt x="680" y="75"/>
                    <a:pt x="680" y="75"/>
                    <a:pt x="680" y="75"/>
                  </a:cubicBezTo>
                  <a:cubicBezTo>
                    <a:pt x="680" y="75"/>
                    <a:pt x="681" y="75"/>
                    <a:pt x="681" y="75"/>
                  </a:cubicBezTo>
                  <a:cubicBezTo>
                    <a:pt x="681" y="75"/>
                    <a:pt x="681" y="75"/>
                    <a:pt x="681" y="75"/>
                  </a:cubicBezTo>
                  <a:cubicBezTo>
                    <a:pt x="681" y="75"/>
                    <a:pt x="681" y="75"/>
                    <a:pt x="682" y="75"/>
                  </a:cubicBezTo>
                  <a:cubicBezTo>
                    <a:pt x="682" y="75"/>
                    <a:pt x="682" y="75"/>
                    <a:pt x="682" y="75"/>
                  </a:cubicBezTo>
                  <a:cubicBezTo>
                    <a:pt x="682" y="76"/>
                    <a:pt x="682" y="76"/>
                    <a:pt x="682" y="76"/>
                  </a:cubicBezTo>
                  <a:cubicBezTo>
                    <a:pt x="682" y="76"/>
                    <a:pt x="682" y="76"/>
                    <a:pt x="682" y="76"/>
                  </a:cubicBezTo>
                  <a:cubicBezTo>
                    <a:pt x="682" y="76"/>
                    <a:pt x="682" y="76"/>
                    <a:pt x="683" y="76"/>
                  </a:cubicBezTo>
                  <a:cubicBezTo>
                    <a:pt x="683" y="76"/>
                    <a:pt x="683" y="76"/>
                    <a:pt x="683" y="76"/>
                  </a:cubicBezTo>
                  <a:cubicBezTo>
                    <a:pt x="683" y="76"/>
                    <a:pt x="683" y="76"/>
                    <a:pt x="683" y="76"/>
                  </a:cubicBezTo>
                  <a:cubicBezTo>
                    <a:pt x="683" y="76"/>
                    <a:pt x="683" y="76"/>
                    <a:pt x="683" y="76"/>
                  </a:cubicBezTo>
                  <a:cubicBezTo>
                    <a:pt x="683" y="77"/>
                    <a:pt x="684" y="77"/>
                    <a:pt x="684" y="77"/>
                  </a:cubicBezTo>
                  <a:cubicBezTo>
                    <a:pt x="684" y="77"/>
                    <a:pt x="684" y="77"/>
                    <a:pt x="684" y="77"/>
                  </a:cubicBezTo>
                  <a:cubicBezTo>
                    <a:pt x="684" y="77"/>
                    <a:pt x="684" y="77"/>
                    <a:pt x="684" y="77"/>
                  </a:cubicBezTo>
                  <a:cubicBezTo>
                    <a:pt x="684" y="77"/>
                    <a:pt x="684" y="77"/>
                    <a:pt x="684" y="77"/>
                  </a:cubicBezTo>
                  <a:cubicBezTo>
                    <a:pt x="684" y="77"/>
                    <a:pt x="685" y="77"/>
                    <a:pt x="685" y="77"/>
                  </a:cubicBezTo>
                  <a:cubicBezTo>
                    <a:pt x="685" y="77"/>
                    <a:pt x="685" y="77"/>
                    <a:pt x="685" y="77"/>
                  </a:cubicBezTo>
                  <a:cubicBezTo>
                    <a:pt x="685" y="78"/>
                    <a:pt x="685" y="78"/>
                    <a:pt x="686" y="78"/>
                  </a:cubicBezTo>
                  <a:cubicBezTo>
                    <a:pt x="686" y="78"/>
                    <a:pt x="686" y="78"/>
                    <a:pt x="686" y="78"/>
                  </a:cubicBezTo>
                  <a:cubicBezTo>
                    <a:pt x="686" y="78"/>
                    <a:pt x="686" y="78"/>
                    <a:pt x="686" y="79"/>
                  </a:cubicBezTo>
                  <a:cubicBezTo>
                    <a:pt x="686" y="79"/>
                    <a:pt x="686" y="79"/>
                    <a:pt x="686" y="79"/>
                  </a:cubicBezTo>
                  <a:cubicBezTo>
                    <a:pt x="686" y="79"/>
                    <a:pt x="686" y="79"/>
                    <a:pt x="686" y="79"/>
                  </a:cubicBezTo>
                  <a:cubicBezTo>
                    <a:pt x="686" y="79"/>
                    <a:pt x="686" y="79"/>
                    <a:pt x="686" y="79"/>
                  </a:cubicBezTo>
                  <a:cubicBezTo>
                    <a:pt x="687" y="79"/>
                    <a:pt x="687" y="79"/>
                    <a:pt x="687" y="79"/>
                  </a:cubicBezTo>
                  <a:cubicBezTo>
                    <a:pt x="687" y="79"/>
                    <a:pt x="687" y="79"/>
                    <a:pt x="687" y="79"/>
                  </a:cubicBezTo>
                  <a:cubicBezTo>
                    <a:pt x="687" y="79"/>
                    <a:pt x="687" y="80"/>
                    <a:pt x="687" y="80"/>
                  </a:cubicBezTo>
                  <a:cubicBezTo>
                    <a:pt x="687" y="80"/>
                    <a:pt x="687" y="80"/>
                    <a:pt x="687" y="80"/>
                  </a:cubicBezTo>
                  <a:cubicBezTo>
                    <a:pt x="687" y="80"/>
                    <a:pt x="687" y="80"/>
                    <a:pt x="687" y="80"/>
                  </a:cubicBezTo>
                  <a:cubicBezTo>
                    <a:pt x="688" y="80"/>
                    <a:pt x="688" y="80"/>
                    <a:pt x="688" y="80"/>
                  </a:cubicBezTo>
                  <a:cubicBezTo>
                    <a:pt x="688" y="80"/>
                    <a:pt x="688" y="80"/>
                    <a:pt x="688" y="80"/>
                  </a:cubicBezTo>
                  <a:cubicBezTo>
                    <a:pt x="688" y="81"/>
                    <a:pt x="688" y="81"/>
                    <a:pt x="688" y="81"/>
                  </a:cubicBezTo>
                  <a:cubicBezTo>
                    <a:pt x="688" y="81"/>
                    <a:pt x="688" y="81"/>
                    <a:pt x="688" y="81"/>
                  </a:cubicBezTo>
                  <a:cubicBezTo>
                    <a:pt x="688" y="81"/>
                    <a:pt x="688" y="82"/>
                    <a:pt x="688" y="82"/>
                  </a:cubicBezTo>
                  <a:cubicBezTo>
                    <a:pt x="688" y="82"/>
                    <a:pt x="688" y="82"/>
                    <a:pt x="688" y="82"/>
                  </a:cubicBezTo>
                  <a:cubicBezTo>
                    <a:pt x="688" y="84"/>
                    <a:pt x="688" y="85"/>
                    <a:pt x="688" y="87"/>
                  </a:cubicBezTo>
                  <a:cubicBezTo>
                    <a:pt x="688" y="87"/>
                    <a:pt x="688" y="87"/>
                    <a:pt x="688" y="87"/>
                  </a:cubicBezTo>
                  <a:cubicBezTo>
                    <a:pt x="688" y="87"/>
                    <a:pt x="688" y="88"/>
                    <a:pt x="688" y="88"/>
                  </a:cubicBezTo>
                  <a:cubicBezTo>
                    <a:pt x="688" y="88"/>
                    <a:pt x="688" y="88"/>
                    <a:pt x="688" y="88"/>
                  </a:cubicBezTo>
                  <a:cubicBezTo>
                    <a:pt x="688" y="88"/>
                    <a:pt x="688" y="88"/>
                    <a:pt x="688" y="88"/>
                  </a:cubicBezTo>
                  <a:cubicBezTo>
                    <a:pt x="688" y="88"/>
                    <a:pt x="688" y="89"/>
                    <a:pt x="687" y="89"/>
                  </a:cubicBezTo>
                  <a:cubicBezTo>
                    <a:pt x="687" y="89"/>
                    <a:pt x="687" y="89"/>
                    <a:pt x="687" y="89"/>
                  </a:cubicBezTo>
                  <a:cubicBezTo>
                    <a:pt x="687" y="89"/>
                    <a:pt x="687" y="89"/>
                    <a:pt x="687" y="89"/>
                  </a:cubicBezTo>
                  <a:cubicBezTo>
                    <a:pt x="687" y="89"/>
                    <a:pt x="687" y="89"/>
                    <a:pt x="687" y="89"/>
                  </a:cubicBezTo>
                  <a:cubicBezTo>
                    <a:pt x="687" y="89"/>
                    <a:pt x="687" y="90"/>
                    <a:pt x="687" y="90"/>
                  </a:cubicBezTo>
                  <a:cubicBezTo>
                    <a:pt x="687" y="90"/>
                    <a:pt x="687" y="90"/>
                    <a:pt x="687" y="90"/>
                  </a:cubicBezTo>
                  <a:cubicBezTo>
                    <a:pt x="687" y="90"/>
                    <a:pt x="687" y="90"/>
                    <a:pt x="686" y="90"/>
                  </a:cubicBezTo>
                  <a:cubicBezTo>
                    <a:pt x="686" y="90"/>
                    <a:pt x="686" y="90"/>
                    <a:pt x="686" y="90"/>
                  </a:cubicBezTo>
                  <a:cubicBezTo>
                    <a:pt x="686" y="90"/>
                    <a:pt x="686" y="91"/>
                    <a:pt x="686" y="91"/>
                  </a:cubicBezTo>
                  <a:cubicBezTo>
                    <a:pt x="686" y="91"/>
                    <a:pt x="686" y="91"/>
                    <a:pt x="686" y="91"/>
                  </a:cubicBezTo>
                  <a:cubicBezTo>
                    <a:pt x="686" y="91"/>
                    <a:pt x="686" y="91"/>
                    <a:pt x="686" y="91"/>
                  </a:cubicBezTo>
                  <a:cubicBezTo>
                    <a:pt x="686" y="91"/>
                    <a:pt x="686" y="91"/>
                    <a:pt x="686" y="91"/>
                  </a:cubicBezTo>
                  <a:cubicBezTo>
                    <a:pt x="686" y="91"/>
                    <a:pt x="685" y="91"/>
                    <a:pt x="685" y="91"/>
                  </a:cubicBezTo>
                  <a:cubicBezTo>
                    <a:pt x="685" y="91"/>
                    <a:pt x="685" y="91"/>
                    <a:pt x="685" y="91"/>
                  </a:cubicBezTo>
                  <a:cubicBezTo>
                    <a:pt x="685" y="92"/>
                    <a:pt x="685" y="92"/>
                    <a:pt x="685" y="92"/>
                  </a:cubicBezTo>
                  <a:cubicBezTo>
                    <a:pt x="685" y="92"/>
                    <a:pt x="685" y="92"/>
                    <a:pt x="685" y="92"/>
                  </a:cubicBezTo>
                  <a:cubicBezTo>
                    <a:pt x="685" y="92"/>
                    <a:pt x="684" y="92"/>
                    <a:pt x="684" y="92"/>
                  </a:cubicBezTo>
                  <a:cubicBezTo>
                    <a:pt x="684" y="92"/>
                    <a:pt x="684" y="92"/>
                    <a:pt x="684" y="92"/>
                  </a:cubicBezTo>
                  <a:cubicBezTo>
                    <a:pt x="684" y="92"/>
                    <a:pt x="684" y="92"/>
                    <a:pt x="684" y="92"/>
                  </a:cubicBezTo>
                  <a:cubicBezTo>
                    <a:pt x="684" y="93"/>
                    <a:pt x="684" y="93"/>
                    <a:pt x="684" y="93"/>
                  </a:cubicBezTo>
                  <a:cubicBezTo>
                    <a:pt x="683" y="93"/>
                    <a:pt x="683" y="93"/>
                    <a:pt x="683" y="93"/>
                  </a:cubicBezTo>
                  <a:cubicBezTo>
                    <a:pt x="683" y="93"/>
                    <a:pt x="683" y="93"/>
                    <a:pt x="683" y="93"/>
                  </a:cubicBezTo>
                  <a:cubicBezTo>
                    <a:pt x="683" y="93"/>
                    <a:pt x="683" y="93"/>
                    <a:pt x="683" y="93"/>
                  </a:cubicBezTo>
                  <a:cubicBezTo>
                    <a:pt x="682" y="93"/>
                    <a:pt x="682" y="93"/>
                    <a:pt x="682" y="93"/>
                  </a:cubicBezTo>
                  <a:cubicBezTo>
                    <a:pt x="681" y="93"/>
                    <a:pt x="681" y="93"/>
                    <a:pt x="681" y="93"/>
                  </a:cubicBezTo>
                  <a:cubicBezTo>
                    <a:pt x="681" y="93"/>
                    <a:pt x="681" y="93"/>
                    <a:pt x="681" y="93"/>
                  </a:cubicBezTo>
                  <a:cubicBezTo>
                    <a:pt x="681" y="93"/>
                    <a:pt x="680" y="93"/>
                    <a:pt x="680" y="94"/>
                  </a:cubicBezTo>
                  <a:cubicBezTo>
                    <a:pt x="680" y="94"/>
                    <a:pt x="680" y="94"/>
                    <a:pt x="680" y="94"/>
                  </a:cubicBezTo>
                  <a:cubicBezTo>
                    <a:pt x="677" y="94"/>
                    <a:pt x="675" y="94"/>
                    <a:pt x="672" y="94"/>
                  </a:cubicBezTo>
                  <a:cubicBezTo>
                    <a:pt x="672" y="94"/>
                    <a:pt x="672" y="94"/>
                    <a:pt x="672" y="93"/>
                  </a:cubicBezTo>
                  <a:cubicBezTo>
                    <a:pt x="671" y="93"/>
                    <a:pt x="671" y="93"/>
                    <a:pt x="670" y="93"/>
                  </a:cubicBezTo>
                  <a:cubicBezTo>
                    <a:pt x="670" y="93"/>
                    <a:pt x="670" y="93"/>
                    <a:pt x="670" y="93"/>
                  </a:cubicBezTo>
                  <a:cubicBezTo>
                    <a:pt x="670" y="93"/>
                    <a:pt x="670" y="93"/>
                    <a:pt x="670" y="93"/>
                  </a:cubicBezTo>
                  <a:cubicBezTo>
                    <a:pt x="670" y="93"/>
                    <a:pt x="669" y="93"/>
                    <a:pt x="669" y="93"/>
                  </a:cubicBezTo>
                  <a:cubicBezTo>
                    <a:pt x="669" y="93"/>
                    <a:pt x="669" y="93"/>
                    <a:pt x="669" y="93"/>
                  </a:cubicBezTo>
                  <a:cubicBezTo>
                    <a:pt x="669" y="93"/>
                    <a:pt x="669" y="93"/>
                    <a:pt x="669" y="93"/>
                  </a:cubicBezTo>
                  <a:cubicBezTo>
                    <a:pt x="668" y="93"/>
                    <a:pt x="668" y="93"/>
                    <a:pt x="668" y="92"/>
                  </a:cubicBezTo>
                  <a:cubicBezTo>
                    <a:pt x="668" y="92"/>
                    <a:pt x="668" y="92"/>
                    <a:pt x="668" y="92"/>
                  </a:cubicBezTo>
                  <a:cubicBezTo>
                    <a:pt x="667" y="92"/>
                    <a:pt x="667" y="92"/>
                    <a:pt x="667" y="92"/>
                  </a:cubicBezTo>
                  <a:cubicBezTo>
                    <a:pt x="667" y="92"/>
                    <a:pt x="667" y="92"/>
                    <a:pt x="667" y="92"/>
                  </a:cubicBezTo>
                  <a:cubicBezTo>
                    <a:pt x="666" y="92"/>
                    <a:pt x="666" y="92"/>
                    <a:pt x="666" y="92"/>
                  </a:cubicBezTo>
                  <a:cubicBezTo>
                    <a:pt x="666" y="92"/>
                    <a:pt x="666" y="92"/>
                    <a:pt x="666" y="92"/>
                  </a:cubicBezTo>
                  <a:cubicBezTo>
                    <a:pt x="665" y="92"/>
                    <a:pt x="665" y="92"/>
                    <a:pt x="665" y="91"/>
                  </a:cubicBezTo>
                  <a:cubicBezTo>
                    <a:pt x="665" y="91"/>
                    <a:pt x="665" y="91"/>
                    <a:pt x="665" y="91"/>
                  </a:cubicBezTo>
                  <a:cubicBezTo>
                    <a:pt x="665" y="91"/>
                    <a:pt x="664" y="91"/>
                    <a:pt x="664" y="91"/>
                  </a:cubicBezTo>
                  <a:cubicBezTo>
                    <a:pt x="664" y="91"/>
                    <a:pt x="664" y="91"/>
                    <a:pt x="664" y="91"/>
                  </a:cubicBezTo>
                  <a:cubicBezTo>
                    <a:pt x="664" y="91"/>
                    <a:pt x="664" y="91"/>
                    <a:pt x="663" y="91"/>
                  </a:cubicBezTo>
                  <a:cubicBezTo>
                    <a:pt x="663" y="91"/>
                    <a:pt x="663" y="91"/>
                    <a:pt x="663" y="91"/>
                  </a:cubicBezTo>
                  <a:cubicBezTo>
                    <a:pt x="663" y="91"/>
                    <a:pt x="663" y="91"/>
                    <a:pt x="663" y="90"/>
                  </a:cubicBezTo>
                  <a:cubicBezTo>
                    <a:pt x="663" y="90"/>
                    <a:pt x="663" y="90"/>
                    <a:pt x="663" y="90"/>
                  </a:cubicBezTo>
                  <a:cubicBezTo>
                    <a:pt x="663" y="90"/>
                    <a:pt x="662" y="90"/>
                    <a:pt x="662" y="90"/>
                  </a:cubicBezTo>
                  <a:cubicBezTo>
                    <a:pt x="662" y="90"/>
                    <a:pt x="662" y="90"/>
                    <a:pt x="662" y="90"/>
                  </a:cubicBezTo>
                  <a:cubicBezTo>
                    <a:pt x="662" y="90"/>
                    <a:pt x="662" y="90"/>
                    <a:pt x="662" y="90"/>
                  </a:cubicBezTo>
                  <a:cubicBezTo>
                    <a:pt x="662" y="90"/>
                    <a:pt x="662" y="90"/>
                    <a:pt x="662" y="90"/>
                  </a:cubicBezTo>
                  <a:cubicBezTo>
                    <a:pt x="662" y="89"/>
                    <a:pt x="661" y="90"/>
                    <a:pt x="661" y="89"/>
                  </a:cubicBezTo>
                  <a:cubicBezTo>
                    <a:pt x="661" y="89"/>
                    <a:pt x="661" y="89"/>
                    <a:pt x="661" y="89"/>
                  </a:cubicBezTo>
                  <a:cubicBezTo>
                    <a:pt x="661" y="89"/>
                    <a:pt x="661" y="89"/>
                    <a:pt x="661" y="89"/>
                  </a:cubicBezTo>
                  <a:cubicBezTo>
                    <a:pt x="661" y="89"/>
                    <a:pt x="661" y="89"/>
                    <a:pt x="661" y="89"/>
                  </a:cubicBezTo>
                  <a:cubicBezTo>
                    <a:pt x="660" y="89"/>
                    <a:pt x="660" y="89"/>
                    <a:pt x="660" y="88"/>
                  </a:cubicBezTo>
                  <a:cubicBezTo>
                    <a:pt x="660" y="88"/>
                    <a:pt x="660" y="88"/>
                    <a:pt x="660" y="88"/>
                  </a:cubicBezTo>
                  <a:cubicBezTo>
                    <a:pt x="659" y="88"/>
                    <a:pt x="659" y="88"/>
                    <a:pt x="659" y="88"/>
                  </a:cubicBezTo>
                  <a:cubicBezTo>
                    <a:pt x="659" y="88"/>
                    <a:pt x="659" y="88"/>
                    <a:pt x="659" y="88"/>
                  </a:cubicBezTo>
                  <a:cubicBezTo>
                    <a:pt x="659" y="88"/>
                    <a:pt x="659" y="87"/>
                    <a:pt x="658" y="88"/>
                  </a:cubicBezTo>
                  <a:cubicBezTo>
                    <a:pt x="658" y="91"/>
                    <a:pt x="658" y="95"/>
                    <a:pt x="658" y="99"/>
                  </a:cubicBezTo>
                  <a:cubicBezTo>
                    <a:pt x="658" y="99"/>
                    <a:pt x="658" y="99"/>
                    <a:pt x="659" y="99"/>
                  </a:cubicBezTo>
                  <a:cubicBezTo>
                    <a:pt x="659" y="99"/>
                    <a:pt x="659" y="99"/>
                    <a:pt x="659" y="99"/>
                  </a:cubicBezTo>
                  <a:cubicBezTo>
                    <a:pt x="659" y="100"/>
                    <a:pt x="659" y="100"/>
                    <a:pt x="659" y="100"/>
                  </a:cubicBezTo>
                  <a:cubicBezTo>
                    <a:pt x="659" y="100"/>
                    <a:pt x="659" y="100"/>
                    <a:pt x="659" y="100"/>
                  </a:cubicBezTo>
                  <a:cubicBezTo>
                    <a:pt x="659" y="100"/>
                    <a:pt x="660" y="100"/>
                    <a:pt x="660" y="100"/>
                  </a:cubicBezTo>
                  <a:cubicBezTo>
                    <a:pt x="660" y="100"/>
                    <a:pt x="660" y="100"/>
                    <a:pt x="660" y="100"/>
                  </a:cubicBezTo>
                  <a:cubicBezTo>
                    <a:pt x="660" y="100"/>
                    <a:pt x="661" y="100"/>
                    <a:pt x="661" y="100"/>
                  </a:cubicBezTo>
                  <a:cubicBezTo>
                    <a:pt x="661" y="100"/>
                    <a:pt x="661" y="100"/>
                    <a:pt x="661" y="100"/>
                  </a:cubicBezTo>
                  <a:cubicBezTo>
                    <a:pt x="661" y="101"/>
                    <a:pt x="661" y="101"/>
                    <a:pt x="661" y="101"/>
                  </a:cubicBezTo>
                  <a:cubicBezTo>
                    <a:pt x="661" y="101"/>
                    <a:pt x="662" y="101"/>
                    <a:pt x="662" y="101"/>
                  </a:cubicBezTo>
                  <a:cubicBezTo>
                    <a:pt x="662" y="101"/>
                    <a:pt x="662" y="101"/>
                    <a:pt x="662" y="101"/>
                  </a:cubicBezTo>
                  <a:cubicBezTo>
                    <a:pt x="662" y="101"/>
                    <a:pt x="662" y="101"/>
                    <a:pt x="662" y="101"/>
                  </a:cubicBezTo>
                  <a:cubicBezTo>
                    <a:pt x="663" y="101"/>
                    <a:pt x="663" y="101"/>
                    <a:pt x="663" y="101"/>
                  </a:cubicBezTo>
                  <a:cubicBezTo>
                    <a:pt x="663" y="101"/>
                    <a:pt x="663" y="101"/>
                    <a:pt x="663" y="101"/>
                  </a:cubicBezTo>
                  <a:cubicBezTo>
                    <a:pt x="663" y="101"/>
                    <a:pt x="663" y="101"/>
                    <a:pt x="663" y="101"/>
                  </a:cubicBezTo>
                  <a:cubicBezTo>
                    <a:pt x="663" y="101"/>
                    <a:pt x="663" y="101"/>
                    <a:pt x="663" y="101"/>
                  </a:cubicBezTo>
                  <a:cubicBezTo>
                    <a:pt x="664" y="102"/>
                    <a:pt x="664" y="102"/>
                    <a:pt x="665" y="102"/>
                  </a:cubicBezTo>
                  <a:cubicBezTo>
                    <a:pt x="665" y="102"/>
                    <a:pt x="665" y="102"/>
                    <a:pt x="665" y="102"/>
                  </a:cubicBezTo>
                  <a:cubicBezTo>
                    <a:pt x="665" y="102"/>
                    <a:pt x="665" y="102"/>
                    <a:pt x="665" y="102"/>
                  </a:cubicBezTo>
                  <a:cubicBezTo>
                    <a:pt x="665" y="102"/>
                    <a:pt x="666" y="102"/>
                    <a:pt x="666" y="102"/>
                  </a:cubicBezTo>
                  <a:cubicBezTo>
                    <a:pt x="666" y="102"/>
                    <a:pt x="666" y="102"/>
                    <a:pt x="666" y="102"/>
                  </a:cubicBezTo>
                  <a:cubicBezTo>
                    <a:pt x="666" y="102"/>
                    <a:pt x="666" y="102"/>
                    <a:pt x="666" y="102"/>
                  </a:cubicBezTo>
                  <a:cubicBezTo>
                    <a:pt x="667" y="102"/>
                    <a:pt x="667" y="102"/>
                    <a:pt x="667" y="103"/>
                  </a:cubicBezTo>
                  <a:cubicBezTo>
                    <a:pt x="668" y="102"/>
                    <a:pt x="668" y="102"/>
                    <a:pt x="668" y="102"/>
                  </a:cubicBezTo>
                  <a:cubicBezTo>
                    <a:pt x="668" y="103"/>
                    <a:pt x="668" y="103"/>
                    <a:pt x="668" y="103"/>
                  </a:cubicBezTo>
                  <a:cubicBezTo>
                    <a:pt x="668" y="103"/>
                    <a:pt x="669" y="103"/>
                    <a:pt x="669" y="103"/>
                  </a:cubicBezTo>
                  <a:cubicBezTo>
                    <a:pt x="670" y="103"/>
                    <a:pt x="670" y="103"/>
                    <a:pt x="670" y="103"/>
                  </a:cubicBezTo>
                  <a:cubicBezTo>
                    <a:pt x="671" y="103"/>
                    <a:pt x="672" y="103"/>
                    <a:pt x="673" y="103"/>
                  </a:cubicBezTo>
                  <a:cubicBezTo>
                    <a:pt x="674" y="103"/>
                    <a:pt x="675" y="103"/>
                    <a:pt x="676" y="103"/>
                  </a:cubicBezTo>
                  <a:cubicBezTo>
                    <a:pt x="678" y="103"/>
                    <a:pt x="679" y="103"/>
                    <a:pt x="680" y="103"/>
                  </a:cubicBezTo>
                  <a:cubicBezTo>
                    <a:pt x="680" y="103"/>
                    <a:pt x="680" y="103"/>
                    <a:pt x="681" y="103"/>
                  </a:cubicBezTo>
                  <a:cubicBezTo>
                    <a:pt x="681" y="103"/>
                    <a:pt x="682" y="103"/>
                    <a:pt x="682" y="103"/>
                  </a:cubicBezTo>
                  <a:cubicBezTo>
                    <a:pt x="682" y="102"/>
                    <a:pt x="682" y="102"/>
                    <a:pt x="682" y="102"/>
                  </a:cubicBezTo>
                  <a:cubicBezTo>
                    <a:pt x="683" y="103"/>
                    <a:pt x="683" y="103"/>
                    <a:pt x="683" y="103"/>
                  </a:cubicBezTo>
                  <a:cubicBezTo>
                    <a:pt x="683" y="102"/>
                    <a:pt x="684" y="103"/>
                    <a:pt x="684" y="102"/>
                  </a:cubicBezTo>
                  <a:cubicBezTo>
                    <a:pt x="684" y="102"/>
                    <a:pt x="684" y="102"/>
                    <a:pt x="684" y="102"/>
                  </a:cubicBezTo>
                  <a:cubicBezTo>
                    <a:pt x="684" y="102"/>
                    <a:pt x="685" y="102"/>
                    <a:pt x="685" y="102"/>
                  </a:cubicBezTo>
                  <a:cubicBezTo>
                    <a:pt x="685" y="102"/>
                    <a:pt x="685" y="102"/>
                    <a:pt x="685" y="102"/>
                  </a:cubicBezTo>
                  <a:cubicBezTo>
                    <a:pt x="685" y="102"/>
                    <a:pt x="685" y="102"/>
                    <a:pt x="685" y="102"/>
                  </a:cubicBezTo>
                  <a:cubicBezTo>
                    <a:pt x="686" y="102"/>
                    <a:pt x="686" y="102"/>
                    <a:pt x="686" y="102"/>
                  </a:cubicBezTo>
                  <a:cubicBezTo>
                    <a:pt x="686" y="101"/>
                    <a:pt x="686" y="101"/>
                    <a:pt x="686" y="101"/>
                  </a:cubicBezTo>
                  <a:cubicBezTo>
                    <a:pt x="686" y="101"/>
                    <a:pt x="686" y="101"/>
                    <a:pt x="686" y="101"/>
                  </a:cubicBezTo>
                  <a:cubicBezTo>
                    <a:pt x="687" y="101"/>
                    <a:pt x="687" y="101"/>
                    <a:pt x="687" y="101"/>
                  </a:cubicBezTo>
                  <a:cubicBezTo>
                    <a:pt x="687" y="101"/>
                    <a:pt x="687" y="101"/>
                    <a:pt x="687" y="101"/>
                  </a:cubicBezTo>
                  <a:cubicBezTo>
                    <a:pt x="687" y="101"/>
                    <a:pt x="688" y="101"/>
                    <a:pt x="688" y="101"/>
                  </a:cubicBezTo>
                  <a:cubicBezTo>
                    <a:pt x="688" y="101"/>
                    <a:pt x="688" y="101"/>
                    <a:pt x="688" y="101"/>
                  </a:cubicBezTo>
                  <a:cubicBezTo>
                    <a:pt x="688" y="101"/>
                    <a:pt x="688" y="101"/>
                    <a:pt x="688" y="101"/>
                  </a:cubicBezTo>
                  <a:cubicBezTo>
                    <a:pt x="688" y="101"/>
                    <a:pt x="689" y="101"/>
                    <a:pt x="689" y="100"/>
                  </a:cubicBezTo>
                  <a:cubicBezTo>
                    <a:pt x="689" y="100"/>
                    <a:pt x="689" y="100"/>
                    <a:pt x="689" y="100"/>
                  </a:cubicBezTo>
                  <a:cubicBezTo>
                    <a:pt x="689" y="100"/>
                    <a:pt x="689" y="100"/>
                    <a:pt x="690" y="100"/>
                  </a:cubicBezTo>
                  <a:cubicBezTo>
                    <a:pt x="689" y="100"/>
                    <a:pt x="689" y="100"/>
                    <a:pt x="689" y="100"/>
                  </a:cubicBezTo>
                  <a:cubicBezTo>
                    <a:pt x="690" y="100"/>
                    <a:pt x="690" y="100"/>
                    <a:pt x="690" y="100"/>
                  </a:cubicBezTo>
                  <a:cubicBezTo>
                    <a:pt x="690" y="100"/>
                    <a:pt x="690" y="100"/>
                    <a:pt x="690" y="100"/>
                  </a:cubicBezTo>
                  <a:cubicBezTo>
                    <a:pt x="690" y="100"/>
                    <a:pt x="690" y="100"/>
                    <a:pt x="690" y="100"/>
                  </a:cubicBezTo>
                  <a:cubicBezTo>
                    <a:pt x="690" y="100"/>
                    <a:pt x="690" y="100"/>
                    <a:pt x="691" y="99"/>
                  </a:cubicBezTo>
                  <a:cubicBezTo>
                    <a:pt x="691" y="99"/>
                    <a:pt x="691" y="99"/>
                    <a:pt x="691" y="99"/>
                  </a:cubicBezTo>
                  <a:cubicBezTo>
                    <a:pt x="691" y="99"/>
                    <a:pt x="691" y="99"/>
                    <a:pt x="691" y="99"/>
                  </a:cubicBezTo>
                  <a:cubicBezTo>
                    <a:pt x="691" y="99"/>
                    <a:pt x="691" y="99"/>
                    <a:pt x="691" y="99"/>
                  </a:cubicBezTo>
                  <a:cubicBezTo>
                    <a:pt x="691" y="99"/>
                    <a:pt x="692" y="99"/>
                    <a:pt x="692" y="99"/>
                  </a:cubicBezTo>
                  <a:cubicBezTo>
                    <a:pt x="692" y="99"/>
                    <a:pt x="692" y="99"/>
                    <a:pt x="692" y="99"/>
                  </a:cubicBezTo>
                  <a:cubicBezTo>
                    <a:pt x="692" y="99"/>
                    <a:pt x="692" y="99"/>
                    <a:pt x="692" y="98"/>
                  </a:cubicBezTo>
                  <a:cubicBezTo>
                    <a:pt x="692" y="98"/>
                    <a:pt x="692" y="98"/>
                    <a:pt x="692" y="98"/>
                  </a:cubicBezTo>
                  <a:cubicBezTo>
                    <a:pt x="692" y="98"/>
                    <a:pt x="693" y="98"/>
                    <a:pt x="693" y="98"/>
                  </a:cubicBezTo>
                  <a:cubicBezTo>
                    <a:pt x="693" y="98"/>
                    <a:pt x="693" y="98"/>
                    <a:pt x="693" y="98"/>
                  </a:cubicBezTo>
                  <a:cubicBezTo>
                    <a:pt x="693" y="98"/>
                    <a:pt x="693" y="98"/>
                    <a:pt x="693" y="98"/>
                  </a:cubicBezTo>
                  <a:cubicBezTo>
                    <a:pt x="693" y="98"/>
                    <a:pt x="693" y="98"/>
                    <a:pt x="693" y="98"/>
                  </a:cubicBezTo>
                  <a:cubicBezTo>
                    <a:pt x="693" y="97"/>
                    <a:pt x="694" y="97"/>
                    <a:pt x="694" y="97"/>
                  </a:cubicBezTo>
                  <a:cubicBezTo>
                    <a:pt x="694" y="97"/>
                    <a:pt x="694" y="97"/>
                    <a:pt x="694" y="97"/>
                  </a:cubicBezTo>
                  <a:cubicBezTo>
                    <a:pt x="695" y="97"/>
                    <a:pt x="695" y="96"/>
                    <a:pt x="695" y="96"/>
                  </a:cubicBezTo>
                  <a:cubicBezTo>
                    <a:pt x="695" y="96"/>
                    <a:pt x="695" y="96"/>
                    <a:pt x="695" y="96"/>
                  </a:cubicBezTo>
                  <a:cubicBezTo>
                    <a:pt x="695" y="96"/>
                    <a:pt x="695" y="96"/>
                    <a:pt x="695" y="96"/>
                  </a:cubicBezTo>
                  <a:cubicBezTo>
                    <a:pt x="695" y="96"/>
                    <a:pt x="695" y="96"/>
                    <a:pt x="695" y="96"/>
                  </a:cubicBezTo>
                  <a:cubicBezTo>
                    <a:pt x="695" y="96"/>
                    <a:pt x="695" y="95"/>
                    <a:pt x="696" y="95"/>
                  </a:cubicBezTo>
                  <a:cubicBezTo>
                    <a:pt x="696" y="95"/>
                    <a:pt x="696" y="95"/>
                    <a:pt x="696" y="95"/>
                  </a:cubicBezTo>
                  <a:cubicBezTo>
                    <a:pt x="696" y="95"/>
                    <a:pt x="696" y="95"/>
                    <a:pt x="696" y="95"/>
                  </a:cubicBezTo>
                  <a:cubicBezTo>
                    <a:pt x="696" y="95"/>
                    <a:pt x="696" y="95"/>
                    <a:pt x="696" y="95"/>
                  </a:cubicBezTo>
                  <a:cubicBezTo>
                    <a:pt x="696" y="94"/>
                    <a:pt x="696" y="94"/>
                    <a:pt x="696" y="94"/>
                  </a:cubicBezTo>
                  <a:cubicBezTo>
                    <a:pt x="696" y="94"/>
                    <a:pt x="696" y="94"/>
                    <a:pt x="696" y="94"/>
                  </a:cubicBezTo>
                  <a:cubicBezTo>
                    <a:pt x="697" y="94"/>
                    <a:pt x="697" y="94"/>
                    <a:pt x="697" y="94"/>
                  </a:cubicBezTo>
                  <a:cubicBezTo>
                    <a:pt x="697" y="94"/>
                    <a:pt x="697" y="94"/>
                    <a:pt x="697" y="94"/>
                  </a:cubicBezTo>
                  <a:cubicBezTo>
                    <a:pt x="697" y="93"/>
                    <a:pt x="697" y="93"/>
                    <a:pt x="697" y="93"/>
                  </a:cubicBezTo>
                  <a:cubicBezTo>
                    <a:pt x="697" y="93"/>
                    <a:pt x="697" y="93"/>
                    <a:pt x="697" y="93"/>
                  </a:cubicBezTo>
                  <a:cubicBezTo>
                    <a:pt x="697" y="93"/>
                    <a:pt x="697" y="93"/>
                    <a:pt x="698" y="92"/>
                  </a:cubicBezTo>
                  <a:cubicBezTo>
                    <a:pt x="698" y="92"/>
                    <a:pt x="698" y="92"/>
                    <a:pt x="698" y="92"/>
                  </a:cubicBezTo>
                  <a:cubicBezTo>
                    <a:pt x="698" y="92"/>
                    <a:pt x="698" y="92"/>
                    <a:pt x="698" y="92"/>
                  </a:cubicBezTo>
                  <a:cubicBezTo>
                    <a:pt x="698" y="92"/>
                    <a:pt x="698" y="92"/>
                    <a:pt x="698" y="92"/>
                  </a:cubicBezTo>
                  <a:cubicBezTo>
                    <a:pt x="698" y="92"/>
                    <a:pt x="698" y="91"/>
                    <a:pt x="698" y="91"/>
                  </a:cubicBezTo>
                  <a:cubicBezTo>
                    <a:pt x="698" y="91"/>
                    <a:pt x="698" y="91"/>
                    <a:pt x="698" y="91"/>
                  </a:cubicBezTo>
                  <a:cubicBezTo>
                    <a:pt x="698" y="91"/>
                    <a:pt x="698" y="91"/>
                    <a:pt x="699" y="90"/>
                  </a:cubicBezTo>
                  <a:cubicBezTo>
                    <a:pt x="699" y="90"/>
                    <a:pt x="699" y="90"/>
                    <a:pt x="699" y="90"/>
                  </a:cubicBezTo>
                  <a:cubicBezTo>
                    <a:pt x="699" y="90"/>
                    <a:pt x="699" y="90"/>
                    <a:pt x="699" y="90"/>
                  </a:cubicBezTo>
                  <a:cubicBezTo>
                    <a:pt x="699" y="90"/>
                    <a:pt x="699" y="89"/>
                    <a:pt x="699" y="89"/>
                  </a:cubicBezTo>
                  <a:cubicBezTo>
                    <a:pt x="699" y="89"/>
                    <a:pt x="699" y="89"/>
                    <a:pt x="699" y="89"/>
                  </a:cubicBezTo>
                  <a:cubicBezTo>
                    <a:pt x="699" y="89"/>
                    <a:pt x="699" y="88"/>
                    <a:pt x="699" y="88"/>
                  </a:cubicBezTo>
                  <a:cubicBezTo>
                    <a:pt x="699" y="88"/>
                    <a:pt x="699" y="88"/>
                    <a:pt x="699" y="88"/>
                  </a:cubicBezTo>
                  <a:cubicBezTo>
                    <a:pt x="700" y="87"/>
                    <a:pt x="699" y="86"/>
                    <a:pt x="700" y="86"/>
                  </a:cubicBezTo>
                  <a:cubicBezTo>
                    <a:pt x="700" y="85"/>
                    <a:pt x="700" y="85"/>
                    <a:pt x="700" y="85"/>
                  </a:cubicBezTo>
                  <a:cubicBezTo>
                    <a:pt x="700" y="84"/>
                    <a:pt x="700" y="83"/>
                    <a:pt x="700" y="82"/>
                  </a:cubicBezTo>
                  <a:cubicBezTo>
                    <a:pt x="700" y="82"/>
                    <a:pt x="699" y="81"/>
                    <a:pt x="700" y="81"/>
                  </a:cubicBezTo>
                  <a:cubicBezTo>
                    <a:pt x="699" y="81"/>
                    <a:pt x="700" y="80"/>
                    <a:pt x="699" y="79"/>
                  </a:cubicBezTo>
                  <a:cubicBezTo>
                    <a:pt x="699" y="79"/>
                    <a:pt x="699" y="79"/>
                    <a:pt x="699" y="79"/>
                  </a:cubicBezTo>
                  <a:cubicBezTo>
                    <a:pt x="699" y="79"/>
                    <a:pt x="699" y="79"/>
                    <a:pt x="699" y="79"/>
                  </a:cubicBezTo>
                  <a:cubicBezTo>
                    <a:pt x="699" y="79"/>
                    <a:pt x="699" y="78"/>
                    <a:pt x="699" y="78"/>
                  </a:cubicBezTo>
                  <a:cubicBezTo>
                    <a:pt x="699" y="78"/>
                    <a:pt x="699" y="78"/>
                    <a:pt x="699" y="78"/>
                  </a:cubicBezTo>
                  <a:cubicBezTo>
                    <a:pt x="699" y="78"/>
                    <a:pt x="699" y="77"/>
                    <a:pt x="699" y="77"/>
                  </a:cubicBezTo>
                  <a:cubicBezTo>
                    <a:pt x="699" y="77"/>
                    <a:pt x="699" y="77"/>
                    <a:pt x="699" y="77"/>
                  </a:cubicBezTo>
                  <a:cubicBezTo>
                    <a:pt x="698" y="77"/>
                    <a:pt x="698" y="76"/>
                    <a:pt x="698" y="76"/>
                  </a:cubicBezTo>
                  <a:cubicBezTo>
                    <a:pt x="698" y="76"/>
                    <a:pt x="698" y="76"/>
                    <a:pt x="698" y="76"/>
                  </a:cubicBezTo>
                  <a:cubicBezTo>
                    <a:pt x="698" y="76"/>
                    <a:pt x="698" y="76"/>
                    <a:pt x="698" y="76"/>
                  </a:cubicBezTo>
                  <a:cubicBezTo>
                    <a:pt x="698" y="76"/>
                    <a:pt x="698" y="76"/>
                    <a:pt x="698" y="75"/>
                  </a:cubicBezTo>
                  <a:cubicBezTo>
                    <a:pt x="698" y="75"/>
                    <a:pt x="698" y="75"/>
                    <a:pt x="698" y="75"/>
                  </a:cubicBezTo>
                  <a:cubicBezTo>
                    <a:pt x="698" y="75"/>
                    <a:pt x="698" y="75"/>
                    <a:pt x="698" y="75"/>
                  </a:cubicBezTo>
                  <a:cubicBezTo>
                    <a:pt x="698" y="75"/>
                    <a:pt x="698" y="75"/>
                    <a:pt x="698" y="75"/>
                  </a:cubicBezTo>
                  <a:cubicBezTo>
                    <a:pt x="698" y="75"/>
                    <a:pt x="698" y="75"/>
                    <a:pt x="698" y="75"/>
                  </a:cubicBezTo>
                  <a:cubicBezTo>
                    <a:pt x="697" y="75"/>
                    <a:pt x="697" y="74"/>
                    <a:pt x="697" y="74"/>
                  </a:cubicBezTo>
                  <a:cubicBezTo>
                    <a:pt x="697" y="74"/>
                    <a:pt x="697" y="74"/>
                    <a:pt x="697" y="74"/>
                  </a:cubicBezTo>
                  <a:cubicBezTo>
                    <a:pt x="697" y="74"/>
                    <a:pt x="697" y="73"/>
                    <a:pt x="697" y="73"/>
                  </a:cubicBezTo>
                  <a:cubicBezTo>
                    <a:pt x="697" y="73"/>
                    <a:pt x="697" y="73"/>
                    <a:pt x="697" y="73"/>
                  </a:cubicBezTo>
                  <a:cubicBezTo>
                    <a:pt x="697" y="73"/>
                    <a:pt x="697" y="73"/>
                    <a:pt x="696" y="73"/>
                  </a:cubicBezTo>
                  <a:cubicBezTo>
                    <a:pt x="696" y="73"/>
                    <a:pt x="696" y="73"/>
                    <a:pt x="696" y="73"/>
                  </a:cubicBezTo>
                  <a:cubicBezTo>
                    <a:pt x="696" y="73"/>
                    <a:pt x="696" y="73"/>
                    <a:pt x="696" y="73"/>
                  </a:cubicBezTo>
                  <a:cubicBezTo>
                    <a:pt x="696" y="73"/>
                    <a:pt x="696" y="73"/>
                    <a:pt x="696" y="73"/>
                  </a:cubicBezTo>
                  <a:cubicBezTo>
                    <a:pt x="695" y="72"/>
                    <a:pt x="695" y="71"/>
                    <a:pt x="694" y="70"/>
                  </a:cubicBezTo>
                  <a:cubicBezTo>
                    <a:pt x="694" y="70"/>
                    <a:pt x="694" y="70"/>
                    <a:pt x="694" y="70"/>
                  </a:cubicBezTo>
                  <a:cubicBezTo>
                    <a:pt x="694" y="70"/>
                    <a:pt x="693" y="70"/>
                    <a:pt x="693" y="70"/>
                  </a:cubicBezTo>
                  <a:cubicBezTo>
                    <a:pt x="693" y="70"/>
                    <a:pt x="693" y="70"/>
                    <a:pt x="693" y="70"/>
                  </a:cubicBezTo>
                  <a:cubicBezTo>
                    <a:pt x="693" y="70"/>
                    <a:pt x="693" y="70"/>
                    <a:pt x="693" y="70"/>
                  </a:cubicBezTo>
                  <a:cubicBezTo>
                    <a:pt x="693" y="70"/>
                    <a:pt x="693" y="70"/>
                    <a:pt x="693" y="70"/>
                  </a:cubicBezTo>
                  <a:cubicBezTo>
                    <a:pt x="693" y="69"/>
                    <a:pt x="692" y="69"/>
                    <a:pt x="692" y="69"/>
                  </a:cubicBezTo>
                  <a:cubicBezTo>
                    <a:pt x="692" y="69"/>
                    <a:pt x="692" y="69"/>
                    <a:pt x="692" y="69"/>
                  </a:cubicBezTo>
                  <a:cubicBezTo>
                    <a:pt x="692" y="69"/>
                    <a:pt x="692" y="69"/>
                    <a:pt x="692" y="69"/>
                  </a:cubicBezTo>
                  <a:cubicBezTo>
                    <a:pt x="692" y="69"/>
                    <a:pt x="692" y="69"/>
                    <a:pt x="692" y="69"/>
                  </a:cubicBezTo>
                  <a:cubicBezTo>
                    <a:pt x="691" y="68"/>
                    <a:pt x="691" y="68"/>
                    <a:pt x="691" y="68"/>
                  </a:cubicBezTo>
                  <a:cubicBezTo>
                    <a:pt x="691" y="68"/>
                    <a:pt x="691" y="68"/>
                    <a:pt x="691" y="68"/>
                  </a:cubicBezTo>
                  <a:cubicBezTo>
                    <a:pt x="691" y="68"/>
                    <a:pt x="691" y="68"/>
                    <a:pt x="690" y="68"/>
                  </a:cubicBezTo>
                  <a:cubicBezTo>
                    <a:pt x="691" y="68"/>
                    <a:pt x="691" y="68"/>
                    <a:pt x="691" y="68"/>
                  </a:cubicBezTo>
                  <a:cubicBezTo>
                    <a:pt x="690" y="68"/>
                    <a:pt x="690" y="68"/>
                    <a:pt x="690" y="67"/>
                  </a:cubicBezTo>
                  <a:cubicBezTo>
                    <a:pt x="690" y="67"/>
                    <a:pt x="690" y="67"/>
                    <a:pt x="690" y="67"/>
                  </a:cubicBezTo>
                  <a:cubicBezTo>
                    <a:pt x="690" y="67"/>
                    <a:pt x="689" y="67"/>
                    <a:pt x="689" y="67"/>
                  </a:cubicBezTo>
                  <a:cubicBezTo>
                    <a:pt x="689" y="67"/>
                    <a:pt x="689" y="67"/>
                    <a:pt x="689" y="67"/>
                  </a:cubicBezTo>
                  <a:cubicBezTo>
                    <a:pt x="689" y="67"/>
                    <a:pt x="689" y="67"/>
                    <a:pt x="689" y="67"/>
                  </a:cubicBezTo>
                  <a:cubicBezTo>
                    <a:pt x="689" y="67"/>
                    <a:pt x="689" y="67"/>
                    <a:pt x="689" y="67"/>
                  </a:cubicBezTo>
                  <a:cubicBezTo>
                    <a:pt x="689" y="66"/>
                    <a:pt x="688" y="67"/>
                    <a:pt x="688" y="66"/>
                  </a:cubicBezTo>
                  <a:cubicBezTo>
                    <a:pt x="688" y="66"/>
                    <a:pt x="688" y="66"/>
                    <a:pt x="688" y="66"/>
                  </a:cubicBezTo>
                  <a:cubicBezTo>
                    <a:pt x="688" y="66"/>
                    <a:pt x="688" y="66"/>
                    <a:pt x="687" y="66"/>
                  </a:cubicBezTo>
                  <a:cubicBezTo>
                    <a:pt x="687" y="66"/>
                    <a:pt x="687" y="66"/>
                    <a:pt x="687" y="66"/>
                  </a:cubicBezTo>
                  <a:cubicBezTo>
                    <a:pt x="687" y="66"/>
                    <a:pt x="687" y="66"/>
                    <a:pt x="687" y="66"/>
                  </a:cubicBezTo>
                  <a:cubicBezTo>
                    <a:pt x="687" y="66"/>
                    <a:pt x="687" y="66"/>
                    <a:pt x="687" y="66"/>
                  </a:cubicBezTo>
                  <a:cubicBezTo>
                    <a:pt x="687" y="65"/>
                    <a:pt x="686" y="66"/>
                    <a:pt x="686" y="65"/>
                  </a:cubicBezTo>
                  <a:cubicBezTo>
                    <a:pt x="686" y="65"/>
                    <a:pt x="686" y="65"/>
                    <a:pt x="686" y="65"/>
                  </a:cubicBezTo>
                  <a:cubicBezTo>
                    <a:pt x="686" y="65"/>
                    <a:pt x="686" y="65"/>
                    <a:pt x="685" y="65"/>
                  </a:cubicBezTo>
                  <a:cubicBezTo>
                    <a:pt x="685" y="65"/>
                    <a:pt x="685" y="65"/>
                    <a:pt x="685" y="65"/>
                  </a:cubicBezTo>
                  <a:cubicBezTo>
                    <a:pt x="685" y="65"/>
                    <a:pt x="685" y="65"/>
                    <a:pt x="685" y="65"/>
                  </a:cubicBezTo>
                  <a:cubicBezTo>
                    <a:pt x="685" y="65"/>
                    <a:pt x="685" y="65"/>
                    <a:pt x="685" y="65"/>
                  </a:cubicBezTo>
                  <a:cubicBezTo>
                    <a:pt x="684" y="64"/>
                    <a:pt x="684" y="64"/>
                    <a:pt x="684" y="64"/>
                  </a:cubicBezTo>
                  <a:cubicBezTo>
                    <a:pt x="684" y="64"/>
                    <a:pt x="684" y="64"/>
                    <a:pt x="684" y="64"/>
                  </a:cubicBezTo>
                  <a:cubicBezTo>
                    <a:pt x="684" y="64"/>
                    <a:pt x="683" y="64"/>
                    <a:pt x="683" y="64"/>
                  </a:cubicBezTo>
                  <a:cubicBezTo>
                    <a:pt x="683" y="64"/>
                    <a:pt x="683" y="64"/>
                    <a:pt x="683" y="64"/>
                  </a:cubicBezTo>
                  <a:cubicBezTo>
                    <a:pt x="683" y="64"/>
                    <a:pt x="683" y="64"/>
                    <a:pt x="683" y="64"/>
                  </a:cubicBezTo>
                  <a:cubicBezTo>
                    <a:pt x="683" y="64"/>
                    <a:pt x="682" y="64"/>
                    <a:pt x="682" y="64"/>
                  </a:cubicBezTo>
                  <a:cubicBezTo>
                    <a:pt x="682" y="64"/>
                    <a:pt x="682" y="64"/>
                    <a:pt x="682" y="64"/>
                  </a:cubicBezTo>
                  <a:cubicBezTo>
                    <a:pt x="682" y="63"/>
                    <a:pt x="682" y="63"/>
                    <a:pt x="681" y="63"/>
                  </a:cubicBezTo>
                  <a:cubicBezTo>
                    <a:pt x="682" y="63"/>
                    <a:pt x="682" y="63"/>
                    <a:pt x="682" y="63"/>
                  </a:cubicBezTo>
                  <a:cubicBezTo>
                    <a:pt x="681" y="63"/>
                    <a:pt x="681" y="63"/>
                    <a:pt x="681" y="63"/>
                  </a:cubicBezTo>
                  <a:cubicBezTo>
                    <a:pt x="681" y="63"/>
                    <a:pt x="681" y="63"/>
                    <a:pt x="681" y="63"/>
                  </a:cubicBezTo>
                  <a:cubicBezTo>
                    <a:pt x="680" y="63"/>
                    <a:pt x="680" y="63"/>
                    <a:pt x="680" y="63"/>
                  </a:cubicBezTo>
                  <a:cubicBezTo>
                    <a:pt x="680" y="63"/>
                    <a:pt x="680" y="63"/>
                    <a:pt x="680" y="63"/>
                  </a:cubicBezTo>
                  <a:close/>
                  <a:moveTo>
                    <a:pt x="310" y="98"/>
                  </a:moveTo>
                  <a:cubicBezTo>
                    <a:pt x="310" y="99"/>
                    <a:pt x="311" y="99"/>
                    <a:pt x="312" y="100"/>
                  </a:cubicBezTo>
                  <a:cubicBezTo>
                    <a:pt x="316" y="102"/>
                    <a:pt x="321" y="103"/>
                    <a:pt x="326" y="103"/>
                  </a:cubicBezTo>
                  <a:cubicBezTo>
                    <a:pt x="330" y="103"/>
                    <a:pt x="335" y="103"/>
                    <a:pt x="339" y="101"/>
                  </a:cubicBezTo>
                  <a:cubicBezTo>
                    <a:pt x="346" y="98"/>
                    <a:pt x="351" y="93"/>
                    <a:pt x="351" y="84"/>
                  </a:cubicBezTo>
                  <a:cubicBezTo>
                    <a:pt x="352" y="78"/>
                    <a:pt x="350" y="73"/>
                    <a:pt x="345" y="69"/>
                  </a:cubicBezTo>
                  <a:cubicBezTo>
                    <a:pt x="342" y="68"/>
                    <a:pt x="339" y="66"/>
                    <a:pt x="337" y="65"/>
                  </a:cubicBezTo>
                  <a:cubicBezTo>
                    <a:pt x="335" y="64"/>
                    <a:pt x="333" y="63"/>
                    <a:pt x="331" y="62"/>
                  </a:cubicBezTo>
                  <a:cubicBezTo>
                    <a:pt x="328" y="61"/>
                    <a:pt x="326" y="60"/>
                    <a:pt x="325" y="59"/>
                  </a:cubicBezTo>
                  <a:cubicBezTo>
                    <a:pt x="321" y="56"/>
                    <a:pt x="320" y="49"/>
                    <a:pt x="324" y="45"/>
                  </a:cubicBezTo>
                  <a:cubicBezTo>
                    <a:pt x="326" y="43"/>
                    <a:pt x="328" y="42"/>
                    <a:pt x="331" y="42"/>
                  </a:cubicBezTo>
                  <a:cubicBezTo>
                    <a:pt x="337" y="42"/>
                    <a:pt x="342" y="43"/>
                    <a:pt x="347" y="46"/>
                  </a:cubicBezTo>
                  <a:cubicBezTo>
                    <a:pt x="347" y="46"/>
                    <a:pt x="348" y="46"/>
                    <a:pt x="348" y="46"/>
                  </a:cubicBezTo>
                  <a:cubicBezTo>
                    <a:pt x="348" y="43"/>
                    <a:pt x="348" y="41"/>
                    <a:pt x="348" y="38"/>
                  </a:cubicBezTo>
                  <a:cubicBezTo>
                    <a:pt x="348" y="36"/>
                    <a:pt x="348" y="36"/>
                    <a:pt x="347" y="35"/>
                  </a:cubicBezTo>
                  <a:cubicBezTo>
                    <a:pt x="341" y="33"/>
                    <a:pt x="335" y="32"/>
                    <a:pt x="329" y="33"/>
                  </a:cubicBezTo>
                  <a:cubicBezTo>
                    <a:pt x="324" y="34"/>
                    <a:pt x="319" y="36"/>
                    <a:pt x="316" y="39"/>
                  </a:cubicBezTo>
                  <a:cubicBezTo>
                    <a:pt x="312" y="43"/>
                    <a:pt x="310" y="48"/>
                    <a:pt x="310" y="53"/>
                  </a:cubicBezTo>
                  <a:cubicBezTo>
                    <a:pt x="310" y="60"/>
                    <a:pt x="313" y="64"/>
                    <a:pt x="319" y="68"/>
                  </a:cubicBezTo>
                  <a:cubicBezTo>
                    <a:pt x="320" y="69"/>
                    <a:pt x="322" y="70"/>
                    <a:pt x="324" y="71"/>
                  </a:cubicBezTo>
                  <a:cubicBezTo>
                    <a:pt x="326" y="72"/>
                    <a:pt x="329" y="73"/>
                    <a:pt x="332" y="74"/>
                  </a:cubicBezTo>
                  <a:cubicBezTo>
                    <a:pt x="333" y="75"/>
                    <a:pt x="335" y="76"/>
                    <a:pt x="337" y="78"/>
                  </a:cubicBezTo>
                  <a:cubicBezTo>
                    <a:pt x="338" y="79"/>
                    <a:pt x="340" y="80"/>
                    <a:pt x="340" y="82"/>
                  </a:cubicBezTo>
                  <a:cubicBezTo>
                    <a:pt x="341" y="87"/>
                    <a:pt x="340" y="92"/>
                    <a:pt x="334" y="93"/>
                  </a:cubicBezTo>
                  <a:cubicBezTo>
                    <a:pt x="329" y="94"/>
                    <a:pt x="324" y="94"/>
                    <a:pt x="319" y="93"/>
                  </a:cubicBezTo>
                  <a:cubicBezTo>
                    <a:pt x="316" y="92"/>
                    <a:pt x="313" y="90"/>
                    <a:pt x="310" y="87"/>
                  </a:cubicBezTo>
                  <a:cubicBezTo>
                    <a:pt x="310" y="91"/>
                    <a:pt x="310" y="94"/>
                    <a:pt x="310" y="98"/>
                  </a:cubicBezTo>
                  <a:close/>
                  <a:moveTo>
                    <a:pt x="1177" y="95"/>
                  </a:moveTo>
                  <a:cubicBezTo>
                    <a:pt x="1177" y="95"/>
                    <a:pt x="1177" y="95"/>
                    <a:pt x="1177" y="95"/>
                  </a:cubicBezTo>
                  <a:cubicBezTo>
                    <a:pt x="1177" y="95"/>
                    <a:pt x="1177" y="95"/>
                    <a:pt x="1177" y="96"/>
                  </a:cubicBezTo>
                  <a:cubicBezTo>
                    <a:pt x="1177" y="96"/>
                    <a:pt x="1177" y="96"/>
                    <a:pt x="1177" y="96"/>
                  </a:cubicBezTo>
                  <a:cubicBezTo>
                    <a:pt x="1177" y="96"/>
                    <a:pt x="1177" y="96"/>
                    <a:pt x="1177" y="96"/>
                  </a:cubicBezTo>
                  <a:cubicBezTo>
                    <a:pt x="1177" y="96"/>
                    <a:pt x="1177" y="96"/>
                    <a:pt x="1177" y="96"/>
                  </a:cubicBezTo>
                  <a:cubicBezTo>
                    <a:pt x="1177" y="96"/>
                    <a:pt x="1177" y="96"/>
                    <a:pt x="1178" y="97"/>
                  </a:cubicBezTo>
                  <a:cubicBezTo>
                    <a:pt x="1178" y="97"/>
                    <a:pt x="1178" y="97"/>
                    <a:pt x="1178" y="97"/>
                  </a:cubicBezTo>
                  <a:cubicBezTo>
                    <a:pt x="1178" y="97"/>
                    <a:pt x="1178" y="97"/>
                    <a:pt x="1178" y="97"/>
                  </a:cubicBezTo>
                  <a:cubicBezTo>
                    <a:pt x="1178" y="97"/>
                    <a:pt x="1178" y="97"/>
                    <a:pt x="1178" y="97"/>
                  </a:cubicBezTo>
                  <a:cubicBezTo>
                    <a:pt x="1178" y="97"/>
                    <a:pt x="1178" y="98"/>
                    <a:pt x="1178" y="98"/>
                  </a:cubicBezTo>
                  <a:cubicBezTo>
                    <a:pt x="1178" y="98"/>
                    <a:pt x="1178" y="98"/>
                    <a:pt x="1178" y="98"/>
                  </a:cubicBezTo>
                  <a:cubicBezTo>
                    <a:pt x="1178" y="98"/>
                    <a:pt x="1178" y="98"/>
                    <a:pt x="1179" y="98"/>
                  </a:cubicBezTo>
                  <a:cubicBezTo>
                    <a:pt x="1179" y="98"/>
                    <a:pt x="1179" y="98"/>
                    <a:pt x="1179" y="98"/>
                  </a:cubicBezTo>
                  <a:cubicBezTo>
                    <a:pt x="1179" y="98"/>
                    <a:pt x="1179" y="98"/>
                    <a:pt x="1179" y="98"/>
                  </a:cubicBezTo>
                  <a:cubicBezTo>
                    <a:pt x="1179" y="98"/>
                    <a:pt x="1179" y="98"/>
                    <a:pt x="1179" y="98"/>
                  </a:cubicBezTo>
                  <a:cubicBezTo>
                    <a:pt x="1179" y="98"/>
                    <a:pt x="1179" y="99"/>
                    <a:pt x="1179" y="99"/>
                  </a:cubicBezTo>
                  <a:cubicBezTo>
                    <a:pt x="1179" y="99"/>
                    <a:pt x="1179" y="99"/>
                    <a:pt x="1179" y="99"/>
                  </a:cubicBezTo>
                  <a:cubicBezTo>
                    <a:pt x="1179" y="99"/>
                    <a:pt x="1180" y="99"/>
                    <a:pt x="1180" y="99"/>
                  </a:cubicBezTo>
                  <a:cubicBezTo>
                    <a:pt x="1180" y="99"/>
                    <a:pt x="1180" y="99"/>
                    <a:pt x="1180" y="99"/>
                  </a:cubicBezTo>
                  <a:cubicBezTo>
                    <a:pt x="1180" y="99"/>
                    <a:pt x="1180" y="99"/>
                    <a:pt x="1180" y="99"/>
                  </a:cubicBezTo>
                  <a:cubicBezTo>
                    <a:pt x="1180" y="99"/>
                    <a:pt x="1180" y="99"/>
                    <a:pt x="1180" y="99"/>
                  </a:cubicBezTo>
                  <a:cubicBezTo>
                    <a:pt x="1180" y="100"/>
                    <a:pt x="1180" y="100"/>
                    <a:pt x="1180" y="100"/>
                  </a:cubicBezTo>
                  <a:cubicBezTo>
                    <a:pt x="1180" y="100"/>
                    <a:pt x="1180" y="100"/>
                    <a:pt x="1180" y="100"/>
                  </a:cubicBezTo>
                  <a:cubicBezTo>
                    <a:pt x="1180" y="100"/>
                    <a:pt x="1181" y="100"/>
                    <a:pt x="1181" y="100"/>
                  </a:cubicBezTo>
                  <a:cubicBezTo>
                    <a:pt x="1181" y="100"/>
                    <a:pt x="1181" y="100"/>
                    <a:pt x="1181" y="100"/>
                  </a:cubicBezTo>
                  <a:cubicBezTo>
                    <a:pt x="1181" y="100"/>
                    <a:pt x="1181" y="100"/>
                    <a:pt x="1181" y="100"/>
                  </a:cubicBezTo>
                  <a:cubicBezTo>
                    <a:pt x="1181" y="100"/>
                    <a:pt x="1181" y="100"/>
                    <a:pt x="1181" y="100"/>
                  </a:cubicBezTo>
                  <a:cubicBezTo>
                    <a:pt x="1182" y="101"/>
                    <a:pt x="1182" y="101"/>
                    <a:pt x="1182" y="101"/>
                  </a:cubicBezTo>
                  <a:cubicBezTo>
                    <a:pt x="1182" y="101"/>
                    <a:pt x="1182" y="101"/>
                    <a:pt x="1182" y="101"/>
                  </a:cubicBezTo>
                  <a:cubicBezTo>
                    <a:pt x="1182" y="101"/>
                    <a:pt x="1183" y="101"/>
                    <a:pt x="1183" y="101"/>
                  </a:cubicBezTo>
                  <a:cubicBezTo>
                    <a:pt x="1183" y="101"/>
                    <a:pt x="1183" y="101"/>
                    <a:pt x="1183" y="101"/>
                  </a:cubicBezTo>
                  <a:cubicBezTo>
                    <a:pt x="1183" y="101"/>
                    <a:pt x="1183" y="101"/>
                    <a:pt x="1183" y="102"/>
                  </a:cubicBezTo>
                  <a:cubicBezTo>
                    <a:pt x="1183" y="102"/>
                    <a:pt x="1183" y="102"/>
                    <a:pt x="1183" y="102"/>
                  </a:cubicBezTo>
                  <a:cubicBezTo>
                    <a:pt x="1184" y="102"/>
                    <a:pt x="1184" y="102"/>
                    <a:pt x="1184" y="102"/>
                  </a:cubicBezTo>
                  <a:cubicBezTo>
                    <a:pt x="1184" y="102"/>
                    <a:pt x="1184" y="102"/>
                    <a:pt x="1184" y="102"/>
                  </a:cubicBezTo>
                  <a:cubicBezTo>
                    <a:pt x="1184" y="102"/>
                    <a:pt x="1185" y="102"/>
                    <a:pt x="1185" y="102"/>
                  </a:cubicBezTo>
                  <a:cubicBezTo>
                    <a:pt x="1185" y="102"/>
                    <a:pt x="1185" y="102"/>
                    <a:pt x="1185" y="102"/>
                  </a:cubicBezTo>
                  <a:cubicBezTo>
                    <a:pt x="1186" y="103"/>
                    <a:pt x="1186" y="102"/>
                    <a:pt x="1186" y="103"/>
                  </a:cubicBezTo>
                  <a:cubicBezTo>
                    <a:pt x="1187" y="102"/>
                    <a:pt x="1187" y="102"/>
                    <a:pt x="1187" y="102"/>
                  </a:cubicBezTo>
                  <a:cubicBezTo>
                    <a:pt x="1187" y="103"/>
                    <a:pt x="1187" y="103"/>
                    <a:pt x="1187" y="103"/>
                  </a:cubicBezTo>
                  <a:cubicBezTo>
                    <a:pt x="1187" y="103"/>
                    <a:pt x="1188" y="103"/>
                    <a:pt x="1188" y="103"/>
                  </a:cubicBezTo>
                  <a:cubicBezTo>
                    <a:pt x="1189" y="103"/>
                    <a:pt x="1189" y="103"/>
                    <a:pt x="1189" y="103"/>
                  </a:cubicBezTo>
                  <a:cubicBezTo>
                    <a:pt x="1191" y="103"/>
                    <a:pt x="1193" y="103"/>
                    <a:pt x="1195" y="103"/>
                  </a:cubicBezTo>
                  <a:cubicBezTo>
                    <a:pt x="1196" y="103"/>
                    <a:pt x="1196" y="103"/>
                    <a:pt x="1196" y="103"/>
                  </a:cubicBezTo>
                  <a:cubicBezTo>
                    <a:pt x="1196" y="103"/>
                    <a:pt x="1197" y="103"/>
                    <a:pt x="1198" y="103"/>
                  </a:cubicBezTo>
                  <a:cubicBezTo>
                    <a:pt x="1198" y="102"/>
                    <a:pt x="1198" y="102"/>
                    <a:pt x="1198" y="102"/>
                  </a:cubicBezTo>
                  <a:cubicBezTo>
                    <a:pt x="1198" y="103"/>
                    <a:pt x="1198" y="103"/>
                    <a:pt x="1198" y="103"/>
                  </a:cubicBezTo>
                  <a:cubicBezTo>
                    <a:pt x="1198" y="102"/>
                    <a:pt x="1199" y="102"/>
                    <a:pt x="1199" y="102"/>
                  </a:cubicBezTo>
                  <a:cubicBezTo>
                    <a:pt x="1199" y="102"/>
                    <a:pt x="1199" y="102"/>
                    <a:pt x="1199" y="102"/>
                  </a:cubicBezTo>
                  <a:cubicBezTo>
                    <a:pt x="1199" y="102"/>
                    <a:pt x="1200" y="102"/>
                    <a:pt x="1200" y="102"/>
                  </a:cubicBezTo>
                  <a:cubicBezTo>
                    <a:pt x="1200" y="102"/>
                    <a:pt x="1200" y="102"/>
                    <a:pt x="1200" y="102"/>
                  </a:cubicBezTo>
                  <a:cubicBezTo>
                    <a:pt x="1200" y="102"/>
                    <a:pt x="1201" y="102"/>
                    <a:pt x="1201" y="102"/>
                  </a:cubicBezTo>
                  <a:cubicBezTo>
                    <a:pt x="1201" y="101"/>
                    <a:pt x="1201" y="101"/>
                    <a:pt x="1201" y="101"/>
                  </a:cubicBezTo>
                  <a:cubicBezTo>
                    <a:pt x="1201" y="101"/>
                    <a:pt x="1201" y="101"/>
                    <a:pt x="1201" y="101"/>
                  </a:cubicBezTo>
                  <a:cubicBezTo>
                    <a:pt x="1201" y="101"/>
                    <a:pt x="1202" y="101"/>
                    <a:pt x="1202" y="101"/>
                  </a:cubicBezTo>
                  <a:cubicBezTo>
                    <a:pt x="1202" y="101"/>
                    <a:pt x="1202" y="101"/>
                    <a:pt x="1202" y="101"/>
                  </a:cubicBezTo>
                  <a:cubicBezTo>
                    <a:pt x="1202" y="101"/>
                    <a:pt x="1202" y="101"/>
                    <a:pt x="1202" y="101"/>
                  </a:cubicBezTo>
                  <a:cubicBezTo>
                    <a:pt x="1202" y="98"/>
                    <a:pt x="1202" y="95"/>
                    <a:pt x="1202" y="92"/>
                  </a:cubicBezTo>
                  <a:cubicBezTo>
                    <a:pt x="1202" y="92"/>
                    <a:pt x="1202" y="92"/>
                    <a:pt x="1202" y="92"/>
                  </a:cubicBezTo>
                  <a:cubicBezTo>
                    <a:pt x="1202" y="92"/>
                    <a:pt x="1202" y="92"/>
                    <a:pt x="1202" y="92"/>
                  </a:cubicBezTo>
                  <a:cubicBezTo>
                    <a:pt x="1201" y="92"/>
                    <a:pt x="1201" y="92"/>
                    <a:pt x="1201" y="92"/>
                  </a:cubicBezTo>
                  <a:cubicBezTo>
                    <a:pt x="1201" y="92"/>
                    <a:pt x="1201" y="92"/>
                    <a:pt x="1201" y="92"/>
                  </a:cubicBezTo>
                  <a:cubicBezTo>
                    <a:pt x="1201" y="92"/>
                    <a:pt x="1201" y="92"/>
                    <a:pt x="1201" y="92"/>
                  </a:cubicBezTo>
                  <a:cubicBezTo>
                    <a:pt x="1201" y="92"/>
                    <a:pt x="1201" y="92"/>
                    <a:pt x="1201" y="92"/>
                  </a:cubicBezTo>
                  <a:cubicBezTo>
                    <a:pt x="1200" y="93"/>
                    <a:pt x="1200" y="93"/>
                    <a:pt x="1200" y="93"/>
                  </a:cubicBezTo>
                  <a:cubicBezTo>
                    <a:pt x="1200" y="93"/>
                    <a:pt x="1200" y="93"/>
                    <a:pt x="1200" y="93"/>
                  </a:cubicBezTo>
                  <a:cubicBezTo>
                    <a:pt x="1200" y="93"/>
                    <a:pt x="1200" y="93"/>
                    <a:pt x="1200" y="93"/>
                  </a:cubicBezTo>
                  <a:cubicBezTo>
                    <a:pt x="1199" y="93"/>
                    <a:pt x="1199" y="93"/>
                    <a:pt x="1199" y="93"/>
                  </a:cubicBezTo>
                  <a:cubicBezTo>
                    <a:pt x="1199" y="93"/>
                    <a:pt x="1199" y="93"/>
                    <a:pt x="1199" y="93"/>
                  </a:cubicBezTo>
                  <a:cubicBezTo>
                    <a:pt x="1199" y="93"/>
                    <a:pt x="1199" y="93"/>
                    <a:pt x="1199" y="93"/>
                  </a:cubicBezTo>
                  <a:cubicBezTo>
                    <a:pt x="1198" y="93"/>
                    <a:pt x="1198" y="93"/>
                    <a:pt x="1197" y="93"/>
                  </a:cubicBezTo>
                  <a:cubicBezTo>
                    <a:pt x="1197" y="94"/>
                    <a:pt x="1197" y="94"/>
                    <a:pt x="1197" y="94"/>
                  </a:cubicBezTo>
                  <a:cubicBezTo>
                    <a:pt x="1196" y="94"/>
                    <a:pt x="1195" y="94"/>
                    <a:pt x="1193" y="94"/>
                  </a:cubicBezTo>
                  <a:cubicBezTo>
                    <a:pt x="1193" y="94"/>
                    <a:pt x="1193" y="94"/>
                    <a:pt x="1193" y="94"/>
                  </a:cubicBezTo>
                  <a:cubicBezTo>
                    <a:pt x="1192" y="93"/>
                    <a:pt x="1192" y="93"/>
                    <a:pt x="1191" y="93"/>
                  </a:cubicBezTo>
                  <a:cubicBezTo>
                    <a:pt x="1191" y="93"/>
                    <a:pt x="1191" y="93"/>
                    <a:pt x="1191" y="93"/>
                  </a:cubicBezTo>
                  <a:cubicBezTo>
                    <a:pt x="1191" y="93"/>
                    <a:pt x="1191" y="93"/>
                    <a:pt x="1190" y="93"/>
                  </a:cubicBezTo>
                  <a:cubicBezTo>
                    <a:pt x="1190" y="93"/>
                    <a:pt x="1190" y="93"/>
                    <a:pt x="1190" y="93"/>
                  </a:cubicBezTo>
                  <a:cubicBezTo>
                    <a:pt x="1190" y="93"/>
                    <a:pt x="1190" y="93"/>
                    <a:pt x="1190" y="93"/>
                  </a:cubicBezTo>
                  <a:cubicBezTo>
                    <a:pt x="1190" y="93"/>
                    <a:pt x="1190" y="93"/>
                    <a:pt x="1190" y="93"/>
                  </a:cubicBezTo>
                  <a:cubicBezTo>
                    <a:pt x="1190" y="92"/>
                    <a:pt x="1189" y="92"/>
                    <a:pt x="1189" y="92"/>
                  </a:cubicBezTo>
                  <a:cubicBezTo>
                    <a:pt x="1189" y="92"/>
                    <a:pt x="1189" y="92"/>
                    <a:pt x="1189" y="92"/>
                  </a:cubicBezTo>
                  <a:cubicBezTo>
                    <a:pt x="1189" y="92"/>
                    <a:pt x="1189" y="92"/>
                    <a:pt x="1189" y="92"/>
                  </a:cubicBezTo>
                  <a:cubicBezTo>
                    <a:pt x="1189" y="92"/>
                    <a:pt x="1189" y="92"/>
                    <a:pt x="1189" y="92"/>
                  </a:cubicBezTo>
                  <a:cubicBezTo>
                    <a:pt x="1188" y="91"/>
                    <a:pt x="1188" y="91"/>
                    <a:pt x="1188" y="91"/>
                  </a:cubicBezTo>
                  <a:cubicBezTo>
                    <a:pt x="1188" y="91"/>
                    <a:pt x="1188" y="91"/>
                    <a:pt x="1188" y="91"/>
                  </a:cubicBezTo>
                  <a:cubicBezTo>
                    <a:pt x="1188" y="91"/>
                    <a:pt x="1187" y="90"/>
                    <a:pt x="1187" y="90"/>
                  </a:cubicBezTo>
                  <a:cubicBezTo>
                    <a:pt x="1187" y="90"/>
                    <a:pt x="1187" y="90"/>
                    <a:pt x="1187" y="90"/>
                  </a:cubicBezTo>
                  <a:cubicBezTo>
                    <a:pt x="1187" y="90"/>
                    <a:pt x="1187" y="90"/>
                    <a:pt x="1187" y="90"/>
                  </a:cubicBezTo>
                  <a:cubicBezTo>
                    <a:pt x="1187" y="90"/>
                    <a:pt x="1187" y="90"/>
                    <a:pt x="1187" y="90"/>
                  </a:cubicBezTo>
                  <a:cubicBezTo>
                    <a:pt x="1187" y="90"/>
                    <a:pt x="1187" y="89"/>
                    <a:pt x="1187" y="89"/>
                  </a:cubicBezTo>
                  <a:cubicBezTo>
                    <a:pt x="1187" y="89"/>
                    <a:pt x="1187" y="89"/>
                    <a:pt x="1187" y="89"/>
                  </a:cubicBezTo>
                  <a:cubicBezTo>
                    <a:pt x="1186" y="89"/>
                    <a:pt x="1186" y="89"/>
                    <a:pt x="1186" y="88"/>
                  </a:cubicBezTo>
                  <a:cubicBezTo>
                    <a:pt x="1186" y="88"/>
                    <a:pt x="1186" y="88"/>
                    <a:pt x="1186" y="88"/>
                  </a:cubicBezTo>
                  <a:cubicBezTo>
                    <a:pt x="1186" y="88"/>
                    <a:pt x="1186" y="88"/>
                    <a:pt x="1186" y="88"/>
                  </a:cubicBezTo>
                  <a:cubicBezTo>
                    <a:pt x="1186" y="88"/>
                    <a:pt x="1186" y="88"/>
                    <a:pt x="1186" y="87"/>
                  </a:cubicBezTo>
                  <a:cubicBezTo>
                    <a:pt x="1186" y="87"/>
                    <a:pt x="1186" y="87"/>
                    <a:pt x="1186" y="87"/>
                  </a:cubicBezTo>
                  <a:cubicBezTo>
                    <a:pt x="1186" y="86"/>
                    <a:pt x="1186" y="86"/>
                    <a:pt x="1186" y="85"/>
                  </a:cubicBezTo>
                  <a:cubicBezTo>
                    <a:pt x="1185" y="85"/>
                    <a:pt x="1185" y="85"/>
                    <a:pt x="1186" y="85"/>
                  </a:cubicBezTo>
                  <a:cubicBezTo>
                    <a:pt x="1185" y="84"/>
                    <a:pt x="1185" y="84"/>
                    <a:pt x="1185" y="84"/>
                  </a:cubicBezTo>
                  <a:cubicBezTo>
                    <a:pt x="1185" y="71"/>
                    <a:pt x="1185" y="58"/>
                    <a:pt x="1185" y="45"/>
                  </a:cubicBezTo>
                  <a:cubicBezTo>
                    <a:pt x="1185" y="44"/>
                    <a:pt x="1186" y="44"/>
                    <a:pt x="1187" y="44"/>
                  </a:cubicBezTo>
                  <a:cubicBezTo>
                    <a:pt x="1191" y="44"/>
                    <a:pt x="1196" y="44"/>
                    <a:pt x="1201" y="44"/>
                  </a:cubicBezTo>
                  <a:cubicBezTo>
                    <a:pt x="1201" y="44"/>
                    <a:pt x="1202" y="44"/>
                    <a:pt x="1202" y="43"/>
                  </a:cubicBezTo>
                  <a:cubicBezTo>
                    <a:pt x="1202" y="40"/>
                    <a:pt x="1202" y="37"/>
                    <a:pt x="1202" y="34"/>
                  </a:cubicBezTo>
                  <a:cubicBezTo>
                    <a:pt x="1202" y="34"/>
                    <a:pt x="1201" y="34"/>
                    <a:pt x="1201" y="34"/>
                  </a:cubicBezTo>
                  <a:cubicBezTo>
                    <a:pt x="1196" y="34"/>
                    <a:pt x="1191" y="34"/>
                    <a:pt x="1187" y="34"/>
                  </a:cubicBezTo>
                  <a:cubicBezTo>
                    <a:pt x="1186" y="34"/>
                    <a:pt x="1185" y="34"/>
                    <a:pt x="1185" y="33"/>
                  </a:cubicBezTo>
                  <a:cubicBezTo>
                    <a:pt x="1185" y="29"/>
                    <a:pt x="1185" y="24"/>
                    <a:pt x="1185" y="20"/>
                  </a:cubicBezTo>
                  <a:cubicBezTo>
                    <a:pt x="1185" y="19"/>
                    <a:pt x="1185" y="17"/>
                    <a:pt x="1185" y="15"/>
                  </a:cubicBezTo>
                  <a:cubicBezTo>
                    <a:pt x="1185" y="15"/>
                    <a:pt x="1186" y="14"/>
                    <a:pt x="1185" y="15"/>
                  </a:cubicBezTo>
                  <a:cubicBezTo>
                    <a:pt x="1185" y="15"/>
                    <a:pt x="1185" y="15"/>
                    <a:pt x="1185" y="15"/>
                  </a:cubicBezTo>
                  <a:cubicBezTo>
                    <a:pt x="1184" y="15"/>
                    <a:pt x="1184" y="15"/>
                    <a:pt x="1183" y="15"/>
                  </a:cubicBezTo>
                  <a:cubicBezTo>
                    <a:pt x="1184" y="15"/>
                    <a:pt x="1184" y="15"/>
                    <a:pt x="1184" y="15"/>
                  </a:cubicBezTo>
                  <a:cubicBezTo>
                    <a:pt x="1183" y="15"/>
                    <a:pt x="1183" y="15"/>
                    <a:pt x="1182" y="15"/>
                  </a:cubicBezTo>
                  <a:cubicBezTo>
                    <a:pt x="1182" y="15"/>
                    <a:pt x="1182" y="15"/>
                    <a:pt x="1182" y="15"/>
                  </a:cubicBezTo>
                  <a:cubicBezTo>
                    <a:pt x="1182" y="15"/>
                    <a:pt x="1182" y="15"/>
                    <a:pt x="1181" y="16"/>
                  </a:cubicBezTo>
                  <a:cubicBezTo>
                    <a:pt x="1181" y="16"/>
                    <a:pt x="1181" y="16"/>
                    <a:pt x="1181" y="16"/>
                  </a:cubicBezTo>
                  <a:cubicBezTo>
                    <a:pt x="1181" y="16"/>
                    <a:pt x="1181" y="16"/>
                    <a:pt x="1180" y="16"/>
                  </a:cubicBezTo>
                  <a:cubicBezTo>
                    <a:pt x="1180" y="16"/>
                    <a:pt x="1180" y="16"/>
                    <a:pt x="1180" y="16"/>
                  </a:cubicBezTo>
                  <a:cubicBezTo>
                    <a:pt x="1180" y="16"/>
                    <a:pt x="1180" y="16"/>
                    <a:pt x="1180" y="16"/>
                  </a:cubicBezTo>
                  <a:cubicBezTo>
                    <a:pt x="1180" y="16"/>
                    <a:pt x="1180" y="16"/>
                    <a:pt x="1179" y="16"/>
                  </a:cubicBezTo>
                  <a:cubicBezTo>
                    <a:pt x="1179" y="16"/>
                    <a:pt x="1179" y="16"/>
                    <a:pt x="1179" y="16"/>
                  </a:cubicBezTo>
                  <a:cubicBezTo>
                    <a:pt x="1179" y="16"/>
                    <a:pt x="1179" y="16"/>
                    <a:pt x="1179" y="16"/>
                  </a:cubicBezTo>
                  <a:cubicBezTo>
                    <a:pt x="1179" y="16"/>
                    <a:pt x="1179" y="16"/>
                    <a:pt x="1178" y="17"/>
                  </a:cubicBezTo>
                  <a:cubicBezTo>
                    <a:pt x="1178" y="17"/>
                    <a:pt x="1178" y="17"/>
                    <a:pt x="1178" y="17"/>
                  </a:cubicBezTo>
                  <a:cubicBezTo>
                    <a:pt x="1178" y="17"/>
                    <a:pt x="1178" y="17"/>
                    <a:pt x="1178" y="17"/>
                  </a:cubicBezTo>
                  <a:cubicBezTo>
                    <a:pt x="1178" y="17"/>
                    <a:pt x="1177" y="17"/>
                    <a:pt x="1177" y="17"/>
                  </a:cubicBezTo>
                  <a:cubicBezTo>
                    <a:pt x="1177" y="17"/>
                    <a:pt x="1177" y="17"/>
                    <a:pt x="1177" y="17"/>
                  </a:cubicBezTo>
                  <a:cubicBezTo>
                    <a:pt x="1177" y="17"/>
                    <a:pt x="1176" y="17"/>
                    <a:pt x="1176" y="17"/>
                  </a:cubicBezTo>
                  <a:cubicBezTo>
                    <a:pt x="1176" y="17"/>
                    <a:pt x="1176" y="17"/>
                    <a:pt x="1176" y="17"/>
                  </a:cubicBezTo>
                  <a:cubicBezTo>
                    <a:pt x="1176" y="17"/>
                    <a:pt x="1175" y="17"/>
                    <a:pt x="1175" y="18"/>
                  </a:cubicBezTo>
                  <a:cubicBezTo>
                    <a:pt x="1175" y="18"/>
                    <a:pt x="1175" y="18"/>
                    <a:pt x="1175" y="18"/>
                  </a:cubicBezTo>
                  <a:cubicBezTo>
                    <a:pt x="1174" y="18"/>
                    <a:pt x="1174" y="19"/>
                    <a:pt x="1174" y="19"/>
                  </a:cubicBezTo>
                  <a:cubicBezTo>
                    <a:pt x="1174" y="24"/>
                    <a:pt x="1174" y="28"/>
                    <a:pt x="1174" y="32"/>
                  </a:cubicBezTo>
                  <a:cubicBezTo>
                    <a:pt x="1174" y="34"/>
                    <a:pt x="1174" y="34"/>
                    <a:pt x="1173" y="34"/>
                  </a:cubicBezTo>
                  <a:cubicBezTo>
                    <a:pt x="1170" y="34"/>
                    <a:pt x="1167" y="34"/>
                    <a:pt x="1164" y="34"/>
                  </a:cubicBezTo>
                  <a:cubicBezTo>
                    <a:pt x="1163" y="34"/>
                    <a:pt x="1163" y="35"/>
                    <a:pt x="1163" y="36"/>
                  </a:cubicBezTo>
                  <a:cubicBezTo>
                    <a:pt x="1163" y="38"/>
                    <a:pt x="1163" y="40"/>
                    <a:pt x="1163" y="42"/>
                  </a:cubicBezTo>
                  <a:cubicBezTo>
                    <a:pt x="1163" y="43"/>
                    <a:pt x="1163" y="44"/>
                    <a:pt x="1164" y="44"/>
                  </a:cubicBezTo>
                  <a:cubicBezTo>
                    <a:pt x="1167" y="43"/>
                    <a:pt x="1170" y="44"/>
                    <a:pt x="1173" y="44"/>
                  </a:cubicBezTo>
                  <a:cubicBezTo>
                    <a:pt x="1174" y="43"/>
                    <a:pt x="1174" y="44"/>
                    <a:pt x="1174" y="45"/>
                  </a:cubicBezTo>
                  <a:cubicBezTo>
                    <a:pt x="1174" y="58"/>
                    <a:pt x="1174" y="71"/>
                    <a:pt x="1174" y="84"/>
                  </a:cubicBezTo>
                  <a:cubicBezTo>
                    <a:pt x="1174" y="84"/>
                    <a:pt x="1174" y="85"/>
                    <a:pt x="1174" y="85"/>
                  </a:cubicBezTo>
                  <a:cubicBezTo>
                    <a:pt x="1175" y="86"/>
                    <a:pt x="1175" y="86"/>
                    <a:pt x="1174" y="87"/>
                  </a:cubicBezTo>
                  <a:cubicBezTo>
                    <a:pt x="1175" y="87"/>
                    <a:pt x="1174" y="88"/>
                    <a:pt x="1175" y="89"/>
                  </a:cubicBezTo>
                  <a:cubicBezTo>
                    <a:pt x="1175" y="89"/>
                    <a:pt x="1175" y="89"/>
                    <a:pt x="1175" y="89"/>
                  </a:cubicBezTo>
                  <a:cubicBezTo>
                    <a:pt x="1175" y="90"/>
                    <a:pt x="1175" y="90"/>
                    <a:pt x="1175" y="91"/>
                  </a:cubicBezTo>
                  <a:cubicBezTo>
                    <a:pt x="1175" y="91"/>
                    <a:pt x="1175" y="91"/>
                    <a:pt x="1175" y="91"/>
                  </a:cubicBezTo>
                  <a:cubicBezTo>
                    <a:pt x="1175" y="91"/>
                    <a:pt x="1175" y="91"/>
                    <a:pt x="1175" y="91"/>
                  </a:cubicBezTo>
                  <a:cubicBezTo>
                    <a:pt x="1175" y="91"/>
                    <a:pt x="1175" y="92"/>
                    <a:pt x="1176" y="92"/>
                  </a:cubicBezTo>
                  <a:cubicBezTo>
                    <a:pt x="1175" y="92"/>
                    <a:pt x="1175" y="92"/>
                    <a:pt x="1175" y="92"/>
                  </a:cubicBezTo>
                  <a:cubicBezTo>
                    <a:pt x="1176" y="92"/>
                    <a:pt x="1176" y="93"/>
                    <a:pt x="1176" y="93"/>
                  </a:cubicBezTo>
                  <a:cubicBezTo>
                    <a:pt x="1176" y="93"/>
                    <a:pt x="1176" y="93"/>
                    <a:pt x="1176" y="93"/>
                  </a:cubicBezTo>
                  <a:cubicBezTo>
                    <a:pt x="1176" y="93"/>
                    <a:pt x="1176" y="94"/>
                    <a:pt x="1176" y="94"/>
                  </a:cubicBezTo>
                  <a:cubicBezTo>
                    <a:pt x="1176" y="94"/>
                    <a:pt x="1176" y="94"/>
                    <a:pt x="1176" y="94"/>
                  </a:cubicBezTo>
                  <a:cubicBezTo>
                    <a:pt x="1176" y="94"/>
                    <a:pt x="1176" y="94"/>
                    <a:pt x="1176" y="94"/>
                  </a:cubicBezTo>
                  <a:cubicBezTo>
                    <a:pt x="1176" y="94"/>
                    <a:pt x="1176" y="95"/>
                    <a:pt x="1177" y="95"/>
                  </a:cubicBezTo>
                  <a:close/>
                  <a:moveTo>
                    <a:pt x="715" y="91"/>
                  </a:moveTo>
                  <a:cubicBezTo>
                    <a:pt x="715" y="91"/>
                    <a:pt x="715" y="91"/>
                    <a:pt x="715" y="91"/>
                  </a:cubicBezTo>
                  <a:cubicBezTo>
                    <a:pt x="716" y="92"/>
                    <a:pt x="715" y="92"/>
                    <a:pt x="716" y="92"/>
                  </a:cubicBezTo>
                  <a:cubicBezTo>
                    <a:pt x="716" y="92"/>
                    <a:pt x="716" y="92"/>
                    <a:pt x="716" y="92"/>
                  </a:cubicBezTo>
                  <a:cubicBezTo>
                    <a:pt x="716" y="93"/>
                    <a:pt x="716" y="93"/>
                    <a:pt x="716" y="93"/>
                  </a:cubicBezTo>
                  <a:cubicBezTo>
                    <a:pt x="716" y="93"/>
                    <a:pt x="716" y="93"/>
                    <a:pt x="716" y="93"/>
                  </a:cubicBezTo>
                  <a:cubicBezTo>
                    <a:pt x="716" y="94"/>
                    <a:pt x="716" y="94"/>
                    <a:pt x="716" y="94"/>
                  </a:cubicBezTo>
                  <a:cubicBezTo>
                    <a:pt x="716" y="94"/>
                    <a:pt x="716" y="94"/>
                    <a:pt x="716" y="94"/>
                  </a:cubicBezTo>
                  <a:cubicBezTo>
                    <a:pt x="717" y="94"/>
                    <a:pt x="717" y="95"/>
                    <a:pt x="717" y="95"/>
                  </a:cubicBezTo>
                  <a:cubicBezTo>
                    <a:pt x="717" y="95"/>
                    <a:pt x="717" y="95"/>
                    <a:pt x="717" y="95"/>
                  </a:cubicBezTo>
                  <a:cubicBezTo>
                    <a:pt x="717" y="95"/>
                    <a:pt x="717" y="95"/>
                    <a:pt x="717" y="96"/>
                  </a:cubicBezTo>
                  <a:cubicBezTo>
                    <a:pt x="717" y="96"/>
                    <a:pt x="717" y="96"/>
                    <a:pt x="717" y="96"/>
                  </a:cubicBezTo>
                  <a:cubicBezTo>
                    <a:pt x="717" y="96"/>
                    <a:pt x="717" y="96"/>
                    <a:pt x="717" y="96"/>
                  </a:cubicBezTo>
                  <a:cubicBezTo>
                    <a:pt x="717" y="96"/>
                    <a:pt x="717" y="96"/>
                    <a:pt x="717" y="96"/>
                  </a:cubicBezTo>
                  <a:cubicBezTo>
                    <a:pt x="718" y="97"/>
                    <a:pt x="718" y="97"/>
                    <a:pt x="718" y="97"/>
                  </a:cubicBezTo>
                  <a:cubicBezTo>
                    <a:pt x="718" y="97"/>
                    <a:pt x="718" y="97"/>
                    <a:pt x="718" y="97"/>
                  </a:cubicBezTo>
                  <a:cubicBezTo>
                    <a:pt x="718" y="97"/>
                    <a:pt x="718" y="98"/>
                    <a:pt x="718" y="98"/>
                  </a:cubicBezTo>
                  <a:cubicBezTo>
                    <a:pt x="718" y="98"/>
                    <a:pt x="718" y="98"/>
                    <a:pt x="718" y="98"/>
                  </a:cubicBezTo>
                  <a:cubicBezTo>
                    <a:pt x="719" y="98"/>
                    <a:pt x="719" y="98"/>
                    <a:pt x="719" y="98"/>
                  </a:cubicBezTo>
                  <a:cubicBezTo>
                    <a:pt x="719" y="98"/>
                    <a:pt x="719" y="98"/>
                    <a:pt x="719" y="98"/>
                  </a:cubicBezTo>
                  <a:cubicBezTo>
                    <a:pt x="719" y="99"/>
                    <a:pt x="720" y="99"/>
                    <a:pt x="720" y="99"/>
                  </a:cubicBezTo>
                  <a:cubicBezTo>
                    <a:pt x="720" y="99"/>
                    <a:pt x="720" y="99"/>
                    <a:pt x="720" y="99"/>
                  </a:cubicBezTo>
                  <a:cubicBezTo>
                    <a:pt x="720" y="100"/>
                    <a:pt x="720" y="100"/>
                    <a:pt x="721" y="100"/>
                  </a:cubicBezTo>
                  <a:cubicBezTo>
                    <a:pt x="721" y="100"/>
                    <a:pt x="721" y="100"/>
                    <a:pt x="721" y="100"/>
                  </a:cubicBezTo>
                  <a:cubicBezTo>
                    <a:pt x="721" y="100"/>
                    <a:pt x="721" y="100"/>
                    <a:pt x="721" y="100"/>
                  </a:cubicBezTo>
                  <a:cubicBezTo>
                    <a:pt x="721" y="100"/>
                    <a:pt x="721" y="100"/>
                    <a:pt x="721" y="100"/>
                  </a:cubicBezTo>
                  <a:cubicBezTo>
                    <a:pt x="721" y="100"/>
                    <a:pt x="721" y="100"/>
                    <a:pt x="722" y="100"/>
                  </a:cubicBezTo>
                  <a:cubicBezTo>
                    <a:pt x="722" y="100"/>
                    <a:pt x="722" y="100"/>
                    <a:pt x="722" y="100"/>
                  </a:cubicBezTo>
                  <a:cubicBezTo>
                    <a:pt x="722" y="101"/>
                    <a:pt x="722" y="101"/>
                    <a:pt x="722" y="101"/>
                  </a:cubicBezTo>
                  <a:cubicBezTo>
                    <a:pt x="722" y="101"/>
                    <a:pt x="722" y="101"/>
                    <a:pt x="722" y="101"/>
                  </a:cubicBezTo>
                  <a:cubicBezTo>
                    <a:pt x="722" y="101"/>
                    <a:pt x="722" y="101"/>
                    <a:pt x="723" y="101"/>
                  </a:cubicBezTo>
                  <a:cubicBezTo>
                    <a:pt x="723" y="101"/>
                    <a:pt x="723" y="101"/>
                    <a:pt x="723" y="101"/>
                  </a:cubicBezTo>
                  <a:cubicBezTo>
                    <a:pt x="723" y="101"/>
                    <a:pt x="723" y="101"/>
                    <a:pt x="723" y="101"/>
                  </a:cubicBezTo>
                  <a:cubicBezTo>
                    <a:pt x="723" y="101"/>
                    <a:pt x="723" y="101"/>
                    <a:pt x="723" y="101"/>
                  </a:cubicBezTo>
                  <a:cubicBezTo>
                    <a:pt x="724" y="102"/>
                    <a:pt x="724" y="102"/>
                    <a:pt x="724" y="102"/>
                  </a:cubicBezTo>
                  <a:cubicBezTo>
                    <a:pt x="724" y="102"/>
                    <a:pt x="724" y="102"/>
                    <a:pt x="724" y="102"/>
                  </a:cubicBezTo>
                  <a:cubicBezTo>
                    <a:pt x="725" y="102"/>
                    <a:pt x="725" y="102"/>
                    <a:pt x="725" y="102"/>
                  </a:cubicBezTo>
                  <a:cubicBezTo>
                    <a:pt x="725" y="102"/>
                    <a:pt x="725" y="102"/>
                    <a:pt x="725" y="102"/>
                  </a:cubicBezTo>
                  <a:cubicBezTo>
                    <a:pt x="725" y="102"/>
                    <a:pt x="725" y="102"/>
                    <a:pt x="725" y="102"/>
                  </a:cubicBezTo>
                  <a:cubicBezTo>
                    <a:pt x="726" y="103"/>
                    <a:pt x="726" y="102"/>
                    <a:pt x="727" y="103"/>
                  </a:cubicBezTo>
                  <a:cubicBezTo>
                    <a:pt x="727" y="102"/>
                    <a:pt x="727" y="102"/>
                    <a:pt x="727" y="102"/>
                  </a:cubicBezTo>
                  <a:cubicBezTo>
                    <a:pt x="727" y="103"/>
                    <a:pt x="727" y="103"/>
                    <a:pt x="727" y="103"/>
                  </a:cubicBezTo>
                  <a:cubicBezTo>
                    <a:pt x="727" y="103"/>
                    <a:pt x="728" y="103"/>
                    <a:pt x="728" y="103"/>
                  </a:cubicBezTo>
                  <a:cubicBezTo>
                    <a:pt x="729" y="103"/>
                    <a:pt x="729" y="103"/>
                    <a:pt x="729" y="103"/>
                  </a:cubicBezTo>
                  <a:cubicBezTo>
                    <a:pt x="731" y="103"/>
                    <a:pt x="733" y="103"/>
                    <a:pt x="735" y="103"/>
                  </a:cubicBezTo>
                  <a:cubicBezTo>
                    <a:pt x="736" y="103"/>
                    <a:pt x="736" y="103"/>
                    <a:pt x="736" y="103"/>
                  </a:cubicBezTo>
                  <a:cubicBezTo>
                    <a:pt x="737" y="103"/>
                    <a:pt x="737" y="103"/>
                    <a:pt x="738" y="103"/>
                  </a:cubicBezTo>
                  <a:cubicBezTo>
                    <a:pt x="738" y="102"/>
                    <a:pt x="738" y="102"/>
                    <a:pt x="738" y="102"/>
                  </a:cubicBezTo>
                  <a:cubicBezTo>
                    <a:pt x="738" y="103"/>
                    <a:pt x="738" y="103"/>
                    <a:pt x="738" y="103"/>
                  </a:cubicBezTo>
                  <a:cubicBezTo>
                    <a:pt x="738" y="102"/>
                    <a:pt x="739" y="102"/>
                    <a:pt x="739" y="102"/>
                  </a:cubicBezTo>
                  <a:cubicBezTo>
                    <a:pt x="739" y="102"/>
                    <a:pt x="739" y="102"/>
                    <a:pt x="739" y="102"/>
                  </a:cubicBezTo>
                  <a:cubicBezTo>
                    <a:pt x="739" y="102"/>
                    <a:pt x="739" y="102"/>
                    <a:pt x="739" y="102"/>
                  </a:cubicBezTo>
                  <a:cubicBezTo>
                    <a:pt x="740" y="102"/>
                    <a:pt x="740" y="102"/>
                    <a:pt x="740" y="102"/>
                  </a:cubicBezTo>
                  <a:cubicBezTo>
                    <a:pt x="740" y="102"/>
                    <a:pt x="740" y="102"/>
                    <a:pt x="740" y="102"/>
                  </a:cubicBezTo>
                  <a:cubicBezTo>
                    <a:pt x="741" y="102"/>
                    <a:pt x="741" y="102"/>
                    <a:pt x="741" y="102"/>
                  </a:cubicBezTo>
                  <a:cubicBezTo>
                    <a:pt x="741" y="102"/>
                    <a:pt x="741" y="102"/>
                    <a:pt x="741" y="102"/>
                  </a:cubicBezTo>
                  <a:cubicBezTo>
                    <a:pt x="741" y="101"/>
                    <a:pt x="742" y="101"/>
                    <a:pt x="742" y="101"/>
                  </a:cubicBezTo>
                  <a:cubicBezTo>
                    <a:pt x="742" y="101"/>
                    <a:pt x="742" y="101"/>
                    <a:pt x="742" y="101"/>
                  </a:cubicBezTo>
                  <a:cubicBezTo>
                    <a:pt x="742" y="101"/>
                    <a:pt x="742" y="101"/>
                    <a:pt x="742" y="100"/>
                  </a:cubicBezTo>
                  <a:cubicBezTo>
                    <a:pt x="742" y="98"/>
                    <a:pt x="742" y="95"/>
                    <a:pt x="742" y="92"/>
                  </a:cubicBezTo>
                  <a:cubicBezTo>
                    <a:pt x="742" y="92"/>
                    <a:pt x="742" y="92"/>
                    <a:pt x="742" y="92"/>
                  </a:cubicBezTo>
                  <a:cubicBezTo>
                    <a:pt x="742" y="92"/>
                    <a:pt x="742" y="92"/>
                    <a:pt x="742" y="92"/>
                  </a:cubicBezTo>
                  <a:cubicBezTo>
                    <a:pt x="742" y="92"/>
                    <a:pt x="741" y="92"/>
                    <a:pt x="741" y="92"/>
                  </a:cubicBezTo>
                  <a:cubicBezTo>
                    <a:pt x="741" y="92"/>
                    <a:pt x="741" y="92"/>
                    <a:pt x="741" y="92"/>
                  </a:cubicBezTo>
                  <a:cubicBezTo>
                    <a:pt x="741" y="92"/>
                    <a:pt x="741" y="92"/>
                    <a:pt x="740" y="93"/>
                  </a:cubicBezTo>
                  <a:cubicBezTo>
                    <a:pt x="740" y="93"/>
                    <a:pt x="740" y="93"/>
                    <a:pt x="740" y="93"/>
                  </a:cubicBezTo>
                  <a:cubicBezTo>
                    <a:pt x="740" y="93"/>
                    <a:pt x="740" y="93"/>
                    <a:pt x="740" y="93"/>
                  </a:cubicBezTo>
                  <a:cubicBezTo>
                    <a:pt x="740" y="93"/>
                    <a:pt x="740" y="93"/>
                    <a:pt x="740" y="93"/>
                  </a:cubicBezTo>
                  <a:cubicBezTo>
                    <a:pt x="739" y="93"/>
                    <a:pt x="739" y="93"/>
                    <a:pt x="739" y="93"/>
                  </a:cubicBezTo>
                  <a:cubicBezTo>
                    <a:pt x="739" y="93"/>
                    <a:pt x="739" y="93"/>
                    <a:pt x="739" y="93"/>
                  </a:cubicBezTo>
                  <a:cubicBezTo>
                    <a:pt x="738" y="94"/>
                    <a:pt x="738" y="93"/>
                    <a:pt x="737" y="94"/>
                  </a:cubicBezTo>
                  <a:cubicBezTo>
                    <a:pt x="737" y="94"/>
                    <a:pt x="737" y="94"/>
                    <a:pt x="737" y="94"/>
                  </a:cubicBezTo>
                  <a:cubicBezTo>
                    <a:pt x="736" y="94"/>
                    <a:pt x="735" y="94"/>
                    <a:pt x="733" y="94"/>
                  </a:cubicBezTo>
                  <a:cubicBezTo>
                    <a:pt x="733" y="94"/>
                    <a:pt x="733" y="94"/>
                    <a:pt x="733" y="93"/>
                  </a:cubicBezTo>
                  <a:cubicBezTo>
                    <a:pt x="732" y="93"/>
                    <a:pt x="732" y="93"/>
                    <a:pt x="731" y="93"/>
                  </a:cubicBezTo>
                  <a:cubicBezTo>
                    <a:pt x="731" y="93"/>
                    <a:pt x="731" y="93"/>
                    <a:pt x="731" y="93"/>
                  </a:cubicBezTo>
                  <a:cubicBezTo>
                    <a:pt x="731" y="93"/>
                    <a:pt x="731" y="93"/>
                    <a:pt x="731" y="93"/>
                  </a:cubicBezTo>
                  <a:cubicBezTo>
                    <a:pt x="731" y="93"/>
                    <a:pt x="731" y="93"/>
                    <a:pt x="730" y="93"/>
                  </a:cubicBezTo>
                  <a:cubicBezTo>
                    <a:pt x="730" y="93"/>
                    <a:pt x="730" y="93"/>
                    <a:pt x="730" y="93"/>
                  </a:cubicBezTo>
                  <a:cubicBezTo>
                    <a:pt x="730" y="93"/>
                    <a:pt x="730" y="93"/>
                    <a:pt x="730" y="93"/>
                  </a:cubicBezTo>
                  <a:cubicBezTo>
                    <a:pt x="730" y="93"/>
                    <a:pt x="730" y="93"/>
                    <a:pt x="730" y="92"/>
                  </a:cubicBezTo>
                  <a:cubicBezTo>
                    <a:pt x="730" y="92"/>
                    <a:pt x="730" y="92"/>
                    <a:pt x="730" y="92"/>
                  </a:cubicBezTo>
                  <a:cubicBezTo>
                    <a:pt x="729" y="92"/>
                    <a:pt x="729" y="92"/>
                    <a:pt x="729" y="92"/>
                  </a:cubicBezTo>
                  <a:cubicBezTo>
                    <a:pt x="729" y="92"/>
                    <a:pt x="729" y="92"/>
                    <a:pt x="729" y="92"/>
                  </a:cubicBezTo>
                  <a:cubicBezTo>
                    <a:pt x="729" y="92"/>
                    <a:pt x="729" y="92"/>
                    <a:pt x="729" y="92"/>
                  </a:cubicBezTo>
                  <a:cubicBezTo>
                    <a:pt x="729" y="92"/>
                    <a:pt x="729" y="92"/>
                    <a:pt x="729" y="92"/>
                  </a:cubicBezTo>
                  <a:cubicBezTo>
                    <a:pt x="728" y="92"/>
                    <a:pt x="728" y="92"/>
                    <a:pt x="728" y="91"/>
                  </a:cubicBezTo>
                  <a:cubicBezTo>
                    <a:pt x="728" y="91"/>
                    <a:pt x="728" y="91"/>
                    <a:pt x="728" y="91"/>
                  </a:cubicBezTo>
                  <a:cubicBezTo>
                    <a:pt x="728" y="91"/>
                    <a:pt x="728" y="91"/>
                    <a:pt x="728" y="91"/>
                  </a:cubicBezTo>
                  <a:cubicBezTo>
                    <a:pt x="728" y="91"/>
                    <a:pt x="728" y="91"/>
                    <a:pt x="728" y="91"/>
                  </a:cubicBezTo>
                  <a:cubicBezTo>
                    <a:pt x="728" y="91"/>
                    <a:pt x="727" y="90"/>
                    <a:pt x="727" y="90"/>
                  </a:cubicBezTo>
                  <a:cubicBezTo>
                    <a:pt x="727" y="90"/>
                    <a:pt x="727" y="90"/>
                    <a:pt x="727" y="90"/>
                  </a:cubicBezTo>
                  <a:cubicBezTo>
                    <a:pt x="727" y="90"/>
                    <a:pt x="727" y="90"/>
                    <a:pt x="727" y="89"/>
                  </a:cubicBezTo>
                  <a:cubicBezTo>
                    <a:pt x="727" y="89"/>
                    <a:pt x="727" y="89"/>
                    <a:pt x="727" y="89"/>
                  </a:cubicBezTo>
                  <a:cubicBezTo>
                    <a:pt x="727" y="89"/>
                    <a:pt x="727" y="89"/>
                    <a:pt x="726" y="89"/>
                  </a:cubicBezTo>
                  <a:cubicBezTo>
                    <a:pt x="726" y="89"/>
                    <a:pt x="726" y="89"/>
                    <a:pt x="726" y="89"/>
                  </a:cubicBezTo>
                  <a:cubicBezTo>
                    <a:pt x="726" y="88"/>
                    <a:pt x="726" y="88"/>
                    <a:pt x="726" y="88"/>
                  </a:cubicBezTo>
                  <a:cubicBezTo>
                    <a:pt x="726" y="88"/>
                    <a:pt x="726" y="88"/>
                    <a:pt x="726" y="88"/>
                  </a:cubicBezTo>
                  <a:cubicBezTo>
                    <a:pt x="726" y="87"/>
                    <a:pt x="726" y="87"/>
                    <a:pt x="726" y="87"/>
                  </a:cubicBezTo>
                  <a:cubicBezTo>
                    <a:pt x="726" y="87"/>
                    <a:pt x="726" y="87"/>
                    <a:pt x="726" y="86"/>
                  </a:cubicBezTo>
                  <a:cubicBezTo>
                    <a:pt x="726" y="86"/>
                    <a:pt x="726" y="86"/>
                    <a:pt x="726" y="86"/>
                  </a:cubicBezTo>
                  <a:cubicBezTo>
                    <a:pt x="725" y="85"/>
                    <a:pt x="726" y="84"/>
                    <a:pt x="725" y="83"/>
                  </a:cubicBezTo>
                  <a:cubicBezTo>
                    <a:pt x="725" y="82"/>
                    <a:pt x="725" y="81"/>
                    <a:pt x="725" y="80"/>
                  </a:cubicBezTo>
                  <a:cubicBezTo>
                    <a:pt x="725" y="68"/>
                    <a:pt x="725" y="57"/>
                    <a:pt x="725" y="45"/>
                  </a:cubicBezTo>
                  <a:cubicBezTo>
                    <a:pt x="725" y="45"/>
                    <a:pt x="725" y="44"/>
                    <a:pt x="725" y="44"/>
                  </a:cubicBezTo>
                  <a:cubicBezTo>
                    <a:pt x="726" y="43"/>
                    <a:pt x="727" y="44"/>
                    <a:pt x="727" y="44"/>
                  </a:cubicBezTo>
                  <a:cubicBezTo>
                    <a:pt x="732" y="44"/>
                    <a:pt x="736" y="44"/>
                    <a:pt x="741" y="44"/>
                  </a:cubicBezTo>
                  <a:cubicBezTo>
                    <a:pt x="742" y="44"/>
                    <a:pt x="742" y="43"/>
                    <a:pt x="742" y="42"/>
                  </a:cubicBezTo>
                  <a:cubicBezTo>
                    <a:pt x="742" y="40"/>
                    <a:pt x="742" y="38"/>
                    <a:pt x="742" y="36"/>
                  </a:cubicBezTo>
                  <a:cubicBezTo>
                    <a:pt x="742" y="35"/>
                    <a:pt x="742" y="34"/>
                    <a:pt x="741" y="34"/>
                  </a:cubicBezTo>
                  <a:cubicBezTo>
                    <a:pt x="736" y="34"/>
                    <a:pt x="732" y="34"/>
                    <a:pt x="728" y="34"/>
                  </a:cubicBezTo>
                  <a:cubicBezTo>
                    <a:pt x="727" y="34"/>
                    <a:pt x="726" y="34"/>
                    <a:pt x="725" y="34"/>
                  </a:cubicBezTo>
                  <a:cubicBezTo>
                    <a:pt x="725" y="34"/>
                    <a:pt x="725" y="34"/>
                    <a:pt x="725" y="34"/>
                  </a:cubicBezTo>
                  <a:cubicBezTo>
                    <a:pt x="725" y="27"/>
                    <a:pt x="725" y="21"/>
                    <a:pt x="725" y="15"/>
                  </a:cubicBezTo>
                  <a:cubicBezTo>
                    <a:pt x="725" y="14"/>
                    <a:pt x="725" y="14"/>
                    <a:pt x="725" y="14"/>
                  </a:cubicBezTo>
                  <a:cubicBezTo>
                    <a:pt x="725" y="15"/>
                    <a:pt x="725" y="15"/>
                    <a:pt x="725" y="15"/>
                  </a:cubicBezTo>
                  <a:cubicBezTo>
                    <a:pt x="725" y="15"/>
                    <a:pt x="725" y="15"/>
                    <a:pt x="725" y="15"/>
                  </a:cubicBezTo>
                  <a:cubicBezTo>
                    <a:pt x="724" y="15"/>
                    <a:pt x="724" y="15"/>
                    <a:pt x="724" y="15"/>
                  </a:cubicBezTo>
                  <a:cubicBezTo>
                    <a:pt x="724" y="15"/>
                    <a:pt x="724" y="15"/>
                    <a:pt x="724" y="15"/>
                  </a:cubicBezTo>
                  <a:cubicBezTo>
                    <a:pt x="723" y="15"/>
                    <a:pt x="723" y="15"/>
                    <a:pt x="723" y="15"/>
                  </a:cubicBezTo>
                  <a:cubicBezTo>
                    <a:pt x="723" y="15"/>
                    <a:pt x="723" y="15"/>
                    <a:pt x="723" y="15"/>
                  </a:cubicBezTo>
                  <a:cubicBezTo>
                    <a:pt x="723" y="15"/>
                    <a:pt x="723" y="15"/>
                    <a:pt x="723" y="15"/>
                  </a:cubicBezTo>
                  <a:cubicBezTo>
                    <a:pt x="722" y="15"/>
                    <a:pt x="722" y="15"/>
                    <a:pt x="722" y="15"/>
                  </a:cubicBezTo>
                  <a:cubicBezTo>
                    <a:pt x="722" y="15"/>
                    <a:pt x="722" y="15"/>
                    <a:pt x="722" y="16"/>
                  </a:cubicBezTo>
                  <a:cubicBezTo>
                    <a:pt x="722" y="16"/>
                    <a:pt x="721" y="16"/>
                    <a:pt x="721" y="16"/>
                  </a:cubicBezTo>
                  <a:cubicBezTo>
                    <a:pt x="721" y="16"/>
                    <a:pt x="721" y="16"/>
                    <a:pt x="721" y="16"/>
                  </a:cubicBezTo>
                  <a:cubicBezTo>
                    <a:pt x="720" y="16"/>
                    <a:pt x="720" y="16"/>
                    <a:pt x="720" y="16"/>
                  </a:cubicBezTo>
                  <a:cubicBezTo>
                    <a:pt x="720" y="16"/>
                    <a:pt x="720" y="16"/>
                    <a:pt x="719" y="16"/>
                  </a:cubicBezTo>
                  <a:cubicBezTo>
                    <a:pt x="719" y="16"/>
                    <a:pt x="719" y="16"/>
                    <a:pt x="719" y="16"/>
                  </a:cubicBezTo>
                  <a:cubicBezTo>
                    <a:pt x="719" y="17"/>
                    <a:pt x="718" y="16"/>
                    <a:pt x="718" y="17"/>
                  </a:cubicBezTo>
                  <a:cubicBezTo>
                    <a:pt x="718" y="17"/>
                    <a:pt x="718" y="17"/>
                    <a:pt x="718" y="17"/>
                  </a:cubicBezTo>
                  <a:cubicBezTo>
                    <a:pt x="718" y="17"/>
                    <a:pt x="717" y="17"/>
                    <a:pt x="717" y="17"/>
                  </a:cubicBezTo>
                  <a:cubicBezTo>
                    <a:pt x="717" y="17"/>
                    <a:pt x="717" y="17"/>
                    <a:pt x="717" y="17"/>
                  </a:cubicBezTo>
                  <a:cubicBezTo>
                    <a:pt x="717" y="17"/>
                    <a:pt x="716" y="17"/>
                    <a:pt x="716" y="17"/>
                  </a:cubicBezTo>
                  <a:cubicBezTo>
                    <a:pt x="716" y="17"/>
                    <a:pt x="716" y="17"/>
                    <a:pt x="716" y="17"/>
                  </a:cubicBezTo>
                  <a:cubicBezTo>
                    <a:pt x="716" y="18"/>
                    <a:pt x="715" y="17"/>
                    <a:pt x="715" y="18"/>
                  </a:cubicBezTo>
                  <a:cubicBezTo>
                    <a:pt x="715" y="18"/>
                    <a:pt x="715" y="18"/>
                    <a:pt x="715" y="18"/>
                  </a:cubicBezTo>
                  <a:cubicBezTo>
                    <a:pt x="714" y="18"/>
                    <a:pt x="714" y="19"/>
                    <a:pt x="714" y="20"/>
                  </a:cubicBezTo>
                  <a:cubicBezTo>
                    <a:pt x="714" y="24"/>
                    <a:pt x="714" y="28"/>
                    <a:pt x="714" y="33"/>
                  </a:cubicBezTo>
                  <a:cubicBezTo>
                    <a:pt x="714" y="34"/>
                    <a:pt x="714" y="34"/>
                    <a:pt x="713" y="34"/>
                  </a:cubicBezTo>
                  <a:cubicBezTo>
                    <a:pt x="710" y="34"/>
                    <a:pt x="707" y="34"/>
                    <a:pt x="704" y="34"/>
                  </a:cubicBezTo>
                  <a:cubicBezTo>
                    <a:pt x="703" y="34"/>
                    <a:pt x="703" y="34"/>
                    <a:pt x="703" y="36"/>
                  </a:cubicBezTo>
                  <a:cubicBezTo>
                    <a:pt x="703" y="38"/>
                    <a:pt x="703" y="40"/>
                    <a:pt x="703" y="42"/>
                  </a:cubicBezTo>
                  <a:cubicBezTo>
                    <a:pt x="703" y="43"/>
                    <a:pt x="703" y="44"/>
                    <a:pt x="705" y="44"/>
                  </a:cubicBezTo>
                  <a:cubicBezTo>
                    <a:pt x="708" y="44"/>
                    <a:pt x="711" y="43"/>
                    <a:pt x="714" y="44"/>
                  </a:cubicBezTo>
                  <a:cubicBezTo>
                    <a:pt x="714" y="44"/>
                    <a:pt x="714" y="44"/>
                    <a:pt x="714" y="44"/>
                  </a:cubicBezTo>
                  <a:cubicBezTo>
                    <a:pt x="715" y="44"/>
                    <a:pt x="714" y="45"/>
                    <a:pt x="714" y="46"/>
                  </a:cubicBezTo>
                  <a:cubicBezTo>
                    <a:pt x="714" y="59"/>
                    <a:pt x="714" y="72"/>
                    <a:pt x="714" y="85"/>
                  </a:cubicBezTo>
                  <a:cubicBezTo>
                    <a:pt x="714" y="86"/>
                    <a:pt x="714" y="87"/>
                    <a:pt x="715" y="87"/>
                  </a:cubicBezTo>
                  <a:cubicBezTo>
                    <a:pt x="715" y="87"/>
                    <a:pt x="715" y="88"/>
                    <a:pt x="715" y="88"/>
                  </a:cubicBezTo>
                  <a:cubicBezTo>
                    <a:pt x="715" y="88"/>
                    <a:pt x="715" y="89"/>
                    <a:pt x="715" y="90"/>
                  </a:cubicBezTo>
                  <a:cubicBezTo>
                    <a:pt x="715" y="90"/>
                    <a:pt x="715" y="90"/>
                    <a:pt x="715" y="90"/>
                  </a:cubicBezTo>
                  <a:cubicBezTo>
                    <a:pt x="715" y="90"/>
                    <a:pt x="715" y="91"/>
                    <a:pt x="715" y="91"/>
                  </a:cubicBezTo>
                  <a:close/>
                  <a:moveTo>
                    <a:pt x="189" y="46"/>
                  </a:moveTo>
                  <a:cubicBezTo>
                    <a:pt x="189" y="44"/>
                    <a:pt x="189" y="42"/>
                    <a:pt x="189" y="39"/>
                  </a:cubicBezTo>
                  <a:cubicBezTo>
                    <a:pt x="189" y="36"/>
                    <a:pt x="189" y="36"/>
                    <a:pt x="186" y="35"/>
                  </a:cubicBezTo>
                  <a:cubicBezTo>
                    <a:pt x="179" y="32"/>
                    <a:pt x="173" y="32"/>
                    <a:pt x="166" y="33"/>
                  </a:cubicBezTo>
                  <a:cubicBezTo>
                    <a:pt x="155" y="35"/>
                    <a:pt x="146" y="42"/>
                    <a:pt x="142" y="52"/>
                  </a:cubicBezTo>
                  <a:cubicBezTo>
                    <a:pt x="137" y="62"/>
                    <a:pt x="137" y="72"/>
                    <a:pt x="140" y="82"/>
                  </a:cubicBezTo>
                  <a:cubicBezTo>
                    <a:pt x="143" y="91"/>
                    <a:pt x="150" y="98"/>
                    <a:pt x="159" y="101"/>
                  </a:cubicBezTo>
                  <a:cubicBezTo>
                    <a:pt x="165" y="103"/>
                    <a:pt x="170" y="104"/>
                    <a:pt x="176" y="103"/>
                  </a:cubicBezTo>
                  <a:cubicBezTo>
                    <a:pt x="180" y="102"/>
                    <a:pt x="184" y="101"/>
                    <a:pt x="187" y="99"/>
                  </a:cubicBezTo>
                  <a:cubicBezTo>
                    <a:pt x="188" y="99"/>
                    <a:pt x="189" y="98"/>
                    <a:pt x="189" y="97"/>
                  </a:cubicBezTo>
                  <a:cubicBezTo>
                    <a:pt x="189" y="94"/>
                    <a:pt x="189" y="92"/>
                    <a:pt x="189" y="90"/>
                  </a:cubicBezTo>
                  <a:cubicBezTo>
                    <a:pt x="189" y="89"/>
                    <a:pt x="189" y="89"/>
                    <a:pt x="188" y="88"/>
                  </a:cubicBezTo>
                  <a:cubicBezTo>
                    <a:pt x="188" y="89"/>
                    <a:pt x="188" y="89"/>
                    <a:pt x="187" y="89"/>
                  </a:cubicBezTo>
                  <a:cubicBezTo>
                    <a:pt x="182" y="93"/>
                    <a:pt x="176" y="94"/>
                    <a:pt x="170" y="94"/>
                  </a:cubicBezTo>
                  <a:cubicBezTo>
                    <a:pt x="162" y="93"/>
                    <a:pt x="156" y="89"/>
                    <a:pt x="152" y="82"/>
                  </a:cubicBezTo>
                  <a:cubicBezTo>
                    <a:pt x="148" y="72"/>
                    <a:pt x="148" y="63"/>
                    <a:pt x="153" y="54"/>
                  </a:cubicBezTo>
                  <a:cubicBezTo>
                    <a:pt x="156" y="47"/>
                    <a:pt x="162" y="43"/>
                    <a:pt x="169" y="42"/>
                  </a:cubicBezTo>
                  <a:cubicBezTo>
                    <a:pt x="176" y="41"/>
                    <a:pt x="182" y="43"/>
                    <a:pt x="187" y="46"/>
                  </a:cubicBezTo>
                  <a:cubicBezTo>
                    <a:pt x="187" y="46"/>
                    <a:pt x="188" y="47"/>
                    <a:pt x="189" y="47"/>
                  </a:cubicBezTo>
                  <a:cubicBezTo>
                    <a:pt x="189" y="47"/>
                    <a:pt x="189" y="47"/>
                    <a:pt x="189" y="46"/>
                  </a:cubicBezTo>
                  <a:close/>
                  <a:moveTo>
                    <a:pt x="1487" y="28"/>
                  </a:moveTo>
                  <a:cubicBezTo>
                    <a:pt x="1487" y="28"/>
                    <a:pt x="1487" y="28"/>
                    <a:pt x="1487" y="28"/>
                  </a:cubicBezTo>
                  <a:cubicBezTo>
                    <a:pt x="1487" y="28"/>
                    <a:pt x="1487" y="28"/>
                    <a:pt x="1487" y="28"/>
                  </a:cubicBezTo>
                  <a:cubicBezTo>
                    <a:pt x="1487" y="28"/>
                    <a:pt x="1488" y="28"/>
                    <a:pt x="1488" y="28"/>
                  </a:cubicBezTo>
                  <a:cubicBezTo>
                    <a:pt x="1488" y="28"/>
                    <a:pt x="1488" y="28"/>
                    <a:pt x="1488" y="28"/>
                  </a:cubicBezTo>
                  <a:cubicBezTo>
                    <a:pt x="1488" y="28"/>
                    <a:pt x="1488" y="28"/>
                    <a:pt x="1488" y="27"/>
                  </a:cubicBezTo>
                  <a:cubicBezTo>
                    <a:pt x="1488" y="27"/>
                    <a:pt x="1488" y="27"/>
                    <a:pt x="1488" y="27"/>
                  </a:cubicBezTo>
                  <a:cubicBezTo>
                    <a:pt x="1489" y="27"/>
                    <a:pt x="1489" y="27"/>
                    <a:pt x="1489" y="27"/>
                  </a:cubicBezTo>
                  <a:cubicBezTo>
                    <a:pt x="1489" y="27"/>
                    <a:pt x="1489" y="27"/>
                    <a:pt x="1489" y="27"/>
                  </a:cubicBezTo>
                  <a:cubicBezTo>
                    <a:pt x="1489" y="27"/>
                    <a:pt x="1490" y="27"/>
                    <a:pt x="1490" y="27"/>
                  </a:cubicBezTo>
                  <a:cubicBezTo>
                    <a:pt x="1490" y="27"/>
                    <a:pt x="1490" y="27"/>
                    <a:pt x="1490" y="27"/>
                  </a:cubicBezTo>
                  <a:cubicBezTo>
                    <a:pt x="1490" y="26"/>
                    <a:pt x="1490" y="27"/>
                    <a:pt x="1490" y="26"/>
                  </a:cubicBezTo>
                  <a:cubicBezTo>
                    <a:pt x="1490" y="26"/>
                    <a:pt x="1490" y="26"/>
                    <a:pt x="1490" y="26"/>
                  </a:cubicBezTo>
                  <a:cubicBezTo>
                    <a:pt x="1491" y="26"/>
                    <a:pt x="1491" y="26"/>
                    <a:pt x="1491" y="26"/>
                  </a:cubicBezTo>
                  <a:cubicBezTo>
                    <a:pt x="1491" y="26"/>
                    <a:pt x="1491" y="26"/>
                    <a:pt x="1491" y="26"/>
                  </a:cubicBezTo>
                  <a:cubicBezTo>
                    <a:pt x="1491" y="26"/>
                    <a:pt x="1491" y="26"/>
                    <a:pt x="1491" y="26"/>
                  </a:cubicBezTo>
                  <a:cubicBezTo>
                    <a:pt x="1491" y="26"/>
                    <a:pt x="1491" y="26"/>
                    <a:pt x="1492" y="26"/>
                  </a:cubicBezTo>
                  <a:cubicBezTo>
                    <a:pt x="1492" y="26"/>
                    <a:pt x="1492" y="26"/>
                    <a:pt x="1492" y="26"/>
                  </a:cubicBezTo>
                  <a:cubicBezTo>
                    <a:pt x="1492" y="25"/>
                    <a:pt x="1492" y="25"/>
                    <a:pt x="1492" y="25"/>
                  </a:cubicBezTo>
                  <a:cubicBezTo>
                    <a:pt x="1492" y="25"/>
                    <a:pt x="1492" y="25"/>
                    <a:pt x="1492" y="25"/>
                  </a:cubicBezTo>
                  <a:cubicBezTo>
                    <a:pt x="1492" y="25"/>
                    <a:pt x="1493" y="25"/>
                    <a:pt x="1493" y="25"/>
                  </a:cubicBezTo>
                  <a:cubicBezTo>
                    <a:pt x="1493" y="25"/>
                    <a:pt x="1493" y="25"/>
                    <a:pt x="1493" y="25"/>
                  </a:cubicBezTo>
                  <a:cubicBezTo>
                    <a:pt x="1493" y="25"/>
                    <a:pt x="1493" y="25"/>
                    <a:pt x="1494" y="24"/>
                  </a:cubicBezTo>
                  <a:cubicBezTo>
                    <a:pt x="1494" y="25"/>
                    <a:pt x="1494" y="25"/>
                    <a:pt x="1494" y="25"/>
                  </a:cubicBezTo>
                  <a:cubicBezTo>
                    <a:pt x="1494" y="25"/>
                    <a:pt x="1494" y="24"/>
                    <a:pt x="1494" y="24"/>
                  </a:cubicBezTo>
                  <a:cubicBezTo>
                    <a:pt x="1494" y="24"/>
                    <a:pt x="1494" y="24"/>
                    <a:pt x="1494" y="24"/>
                  </a:cubicBezTo>
                  <a:cubicBezTo>
                    <a:pt x="1494" y="24"/>
                    <a:pt x="1495" y="24"/>
                    <a:pt x="1495" y="24"/>
                  </a:cubicBezTo>
                  <a:cubicBezTo>
                    <a:pt x="1495" y="24"/>
                    <a:pt x="1495" y="24"/>
                    <a:pt x="1495" y="24"/>
                  </a:cubicBezTo>
                  <a:cubicBezTo>
                    <a:pt x="1495" y="24"/>
                    <a:pt x="1495" y="24"/>
                    <a:pt x="1495" y="24"/>
                  </a:cubicBezTo>
                  <a:cubicBezTo>
                    <a:pt x="1495" y="24"/>
                    <a:pt x="1495" y="24"/>
                    <a:pt x="1495" y="24"/>
                  </a:cubicBezTo>
                  <a:cubicBezTo>
                    <a:pt x="1495" y="23"/>
                    <a:pt x="1496" y="23"/>
                    <a:pt x="1496" y="23"/>
                  </a:cubicBezTo>
                  <a:cubicBezTo>
                    <a:pt x="1496" y="23"/>
                    <a:pt x="1496" y="23"/>
                    <a:pt x="1496" y="23"/>
                  </a:cubicBezTo>
                  <a:cubicBezTo>
                    <a:pt x="1496" y="23"/>
                    <a:pt x="1496" y="23"/>
                    <a:pt x="1496" y="23"/>
                  </a:cubicBezTo>
                  <a:cubicBezTo>
                    <a:pt x="1496" y="23"/>
                    <a:pt x="1496" y="23"/>
                    <a:pt x="1496" y="23"/>
                  </a:cubicBezTo>
                  <a:cubicBezTo>
                    <a:pt x="1496" y="23"/>
                    <a:pt x="1497" y="23"/>
                    <a:pt x="1497" y="22"/>
                  </a:cubicBezTo>
                  <a:cubicBezTo>
                    <a:pt x="1497" y="22"/>
                    <a:pt x="1497" y="22"/>
                    <a:pt x="1497" y="22"/>
                  </a:cubicBezTo>
                  <a:cubicBezTo>
                    <a:pt x="1497" y="22"/>
                    <a:pt x="1497" y="22"/>
                    <a:pt x="1497" y="22"/>
                  </a:cubicBezTo>
                  <a:cubicBezTo>
                    <a:pt x="1497" y="22"/>
                    <a:pt x="1497" y="22"/>
                    <a:pt x="1497" y="22"/>
                  </a:cubicBezTo>
                  <a:cubicBezTo>
                    <a:pt x="1497" y="22"/>
                    <a:pt x="1498" y="22"/>
                    <a:pt x="1498" y="21"/>
                  </a:cubicBezTo>
                  <a:cubicBezTo>
                    <a:pt x="1498" y="21"/>
                    <a:pt x="1498" y="21"/>
                    <a:pt x="1498" y="21"/>
                  </a:cubicBezTo>
                  <a:cubicBezTo>
                    <a:pt x="1498" y="21"/>
                    <a:pt x="1498" y="21"/>
                    <a:pt x="1498" y="21"/>
                  </a:cubicBezTo>
                  <a:cubicBezTo>
                    <a:pt x="1498" y="21"/>
                    <a:pt x="1498" y="21"/>
                    <a:pt x="1498" y="21"/>
                  </a:cubicBezTo>
                  <a:cubicBezTo>
                    <a:pt x="1500" y="21"/>
                    <a:pt x="1499" y="22"/>
                    <a:pt x="1499" y="23"/>
                  </a:cubicBezTo>
                  <a:cubicBezTo>
                    <a:pt x="1499" y="48"/>
                    <a:pt x="1499" y="74"/>
                    <a:pt x="1499" y="99"/>
                  </a:cubicBezTo>
                  <a:cubicBezTo>
                    <a:pt x="1499" y="100"/>
                    <a:pt x="1499" y="100"/>
                    <a:pt x="1499" y="100"/>
                  </a:cubicBezTo>
                  <a:cubicBezTo>
                    <a:pt x="1499" y="101"/>
                    <a:pt x="1499" y="102"/>
                    <a:pt x="1500" y="102"/>
                  </a:cubicBezTo>
                  <a:cubicBezTo>
                    <a:pt x="1503" y="102"/>
                    <a:pt x="1505" y="102"/>
                    <a:pt x="1508" y="102"/>
                  </a:cubicBezTo>
                  <a:cubicBezTo>
                    <a:pt x="1508" y="102"/>
                    <a:pt x="1509" y="102"/>
                    <a:pt x="1510" y="101"/>
                  </a:cubicBezTo>
                  <a:cubicBezTo>
                    <a:pt x="1510" y="101"/>
                    <a:pt x="1510" y="101"/>
                    <a:pt x="1510" y="101"/>
                  </a:cubicBezTo>
                  <a:cubicBezTo>
                    <a:pt x="1510" y="101"/>
                    <a:pt x="1510" y="100"/>
                    <a:pt x="1510" y="100"/>
                  </a:cubicBezTo>
                  <a:cubicBezTo>
                    <a:pt x="1510" y="69"/>
                    <a:pt x="1510" y="38"/>
                    <a:pt x="1510" y="7"/>
                  </a:cubicBezTo>
                  <a:cubicBezTo>
                    <a:pt x="1510" y="7"/>
                    <a:pt x="1510" y="6"/>
                    <a:pt x="1510" y="6"/>
                  </a:cubicBezTo>
                  <a:cubicBezTo>
                    <a:pt x="1510" y="6"/>
                    <a:pt x="1510" y="5"/>
                    <a:pt x="1509" y="5"/>
                  </a:cubicBezTo>
                  <a:cubicBezTo>
                    <a:pt x="1508" y="5"/>
                    <a:pt x="1507" y="5"/>
                    <a:pt x="1505" y="5"/>
                  </a:cubicBezTo>
                  <a:cubicBezTo>
                    <a:pt x="1506" y="5"/>
                    <a:pt x="1506" y="5"/>
                    <a:pt x="1506" y="5"/>
                  </a:cubicBezTo>
                  <a:cubicBezTo>
                    <a:pt x="1505" y="6"/>
                    <a:pt x="1505" y="6"/>
                    <a:pt x="1505" y="6"/>
                  </a:cubicBezTo>
                  <a:cubicBezTo>
                    <a:pt x="1505" y="6"/>
                    <a:pt x="1505" y="6"/>
                    <a:pt x="1505" y="6"/>
                  </a:cubicBezTo>
                  <a:cubicBezTo>
                    <a:pt x="1505" y="6"/>
                    <a:pt x="1505" y="6"/>
                    <a:pt x="1505" y="6"/>
                  </a:cubicBezTo>
                  <a:cubicBezTo>
                    <a:pt x="1505" y="6"/>
                    <a:pt x="1505" y="6"/>
                    <a:pt x="1505" y="6"/>
                  </a:cubicBezTo>
                  <a:cubicBezTo>
                    <a:pt x="1505" y="6"/>
                    <a:pt x="1504" y="6"/>
                    <a:pt x="1504" y="7"/>
                  </a:cubicBezTo>
                  <a:cubicBezTo>
                    <a:pt x="1504" y="7"/>
                    <a:pt x="1504" y="7"/>
                    <a:pt x="1504" y="7"/>
                  </a:cubicBezTo>
                  <a:cubicBezTo>
                    <a:pt x="1504" y="7"/>
                    <a:pt x="1504" y="7"/>
                    <a:pt x="1504" y="7"/>
                  </a:cubicBezTo>
                  <a:cubicBezTo>
                    <a:pt x="1504" y="7"/>
                    <a:pt x="1504" y="7"/>
                    <a:pt x="1504" y="7"/>
                  </a:cubicBezTo>
                  <a:cubicBezTo>
                    <a:pt x="1504" y="7"/>
                    <a:pt x="1504" y="7"/>
                    <a:pt x="1503" y="7"/>
                  </a:cubicBezTo>
                  <a:cubicBezTo>
                    <a:pt x="1503" y="7"/>
                    <a:pt x="1503" y="7"/>
                    <a:pt x="1503" y="7"/>
                  </a:cubicBezTo>
                  <a:cubicBezTo>
                    <a:pt x="1503" y="7"/>
                    <a:pt x="1503" y="7"/>
                    <a:pt x="1503" y="7"/>
                  </a:cubicBezTo>
                  <a:cubicBezTo>
                    <a:pt x="1503" y="8"/>
                    <a:pt x="1503" y="8"/>
                    <a:pt x="1503" y="8"/>
                  </a:cubicBezTo>
                  <a:cubicBezTo>
                    <a:pt x="1503" y="8"/>
                    <a:pt x="1502" y="8"/>
                    <a:pt x="1502" y="8"/>
                  </a:cubicBezTo>
                  <a:cubicBezTo>
                    <a:pt x="1502" y="8"/>
                    <a:pt x="1502" y="8"/>
                    <a:pt x="1502" y="8"/>
                  </a:cubicBezTo>
                  <a:cubicBezTo>
                    <a:pt x="1502" y="8"/>
                    <a:pt x="1502" y="8"/>
                    <a:pt x="1502" y="8"/>
                  </a:cubicBezTo>
                  <a:cubicBezTo>
                    <a:pt x="1502" y="8"/>
                    <a:pt x="1502" y="8"/>
                    <a:pt x="1502" y="8"/>
                  </a:cubicBezTo>
                  <a:cubicBezTo>
                    <a:pt x="1502" y="8"/>
                    <a:pt x="1501" y="8"/>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1" y="9"/>
                    <a:pt x="1501" y="9"/>
                    <a:pt x="1501" y="9"/>
                  </a:cubicBezTo>
                  <a:cubicBezTo>
                    <a:pt x="1500" y="10"/>
                    <a:pt x="1500" y="9"/>
                    <a:pt x="1500" y="10"/>
                  </a:cubicBezTo>
                  <a:cubicBezTo>
                    <a:pt x="1500" y="10"/>
                    <a:pt x="1500" y="10"/>
                    <a:pt x="1500" y="10"/>
                  </a:cubicBezTo>
                  <a:cubicBezTo>
                    <a:pt x="1500" y="10"/>
                    <a:pt x="1500" y="10"/>
                    <a:pt x="1500" y="10"/>
                  </a:cubicBezTo>
                  <a:cubicBezTo>
                    <a:pt x="1500" y="10"/>
                    <a:pt x="1500" y="10"/>
                    <a:pt x="1500" y="10"/>
                  </a:cubicBezTo>
                  <a:cubicBezTo>
                    <a:pt x="1499" y="10"/>
                    <a:pt x="1499" y="10"/>
                    <a:pt x="1499" y="10"/>
                  </a:cubicBezTo>
                  <a:cubicBezTo>
                    <a:pt x="1499" y="10"/>
                    <a:pt x="1499" y="10"/>
                    <a:pt x="1499" y="10"/>
                  </a:cubicBezTo>
                  <a:cubicBezTo>
                    <a:pt x="1499" y="11"/>
                    <a:pt x="1498" y="10"/>
                    <a:pt x="1498" y="11"/>
                  </a:cubicBezTo>
                  <a:cubicBezTo>
                    <a:pt x="1498" y="11"/>
                    <a:pt x="1498" y="11"/>
                    <a:pt x="1498" y="11"/>
                  </a:cubicBezTo>
                  <a:cubicBezTo>
                    <a:pt x="1498" y="11"/>
                    <a:pt x="1498" y="11"/>
                    <a:pt x="1498" y="11"/>
                  </a:cubicBezTo>
                  <a:cubicBezTo>
                    <a:pt x="1498" y="11"/>
                    <a:pt x="1498" y="11"/>
                    <a:pt x="1498" y="11"/>
                  </a:cubicBezTo>
                  <a:cubicBezTo>
                    <a:pt x="1498" y="11"/>
                    <a:pt x="1497" y="11"/>
                    <a:pt x="1497" y="11"/>
                  </a:cubicBezTo>
                  <a:cubicBezTo>
                    <a:pt x="1497" y="11"/>
                    <a:pt x="1497" y="11"/>
                    <a:pt x="1497" y="11"/>
                  </a:cubicBezTo>
                  <a:cubicBezTo>
                    <a:pt x="1497" y="11"/>
                    <a:pt x="1497" y="12"/>
                    <a:pt x="1497" y="12"/>
                  </a:cubicBezTo>
                  <a:cubicBezTo>
                    <a:pt x="1497" y="12"/>
                    <a:pt x="1497" y="12"/>
                    <a:pt x="1497" y="12"/>
                  </a:cubicBezTo>
                  <a:cubicBezTo>
                    <a:pt x="1497" y="12"/>
                    <a:pt x="1496" y="12"/>
                    <a:pt x="1496" y="12"/>
                  </a:cubicBezTo>
                  <a:cubicBezTo>
                    <a:pt x="1496" y="12"/>
                    <a:pt x="1496" y="12"/>
                    <a:pt x="1496" y="12"/>
                  </a:cubicBezTo>
                  <a:cubicBezTo>
                    <a:pt x="1496" y="12"/>
                    <a:pt x="1496" y="12"/>
                    <a:pt x="1495" y="12"/>
                  </a:cubicBezTo>
                  <a:cubicBezTo>
                    <a:pt x="1495" y="12"/>
                    <a:pt x="1495" y="12"/>
                    <a:pt x="1495" y="12"/>
                  </a:cubicBezTo>
                  <a:cubicBezTo>
                    <a:pt x="1495" y="13"/>
                    <a:pt x="1495" y="13"/>
                    <a:pt x="1495" y="13"/>
                  </a:cubicBezTo>
                  <a:cubicBezTo>
                    <a:pt x="1495" y="13"/>
                    <a:pt x="1495" y="13"/>
                    <a:pt x="1495" y="13"/>
                  </a:cubicBezTo>
                  <a:cubicBezTo>
                    <a:pt x="1495" y="13"/>
                    <a:pt x="1494" y="13"/>
                    <a:pt x="1494" y="13"/>
                  </a:cubicBezTo>
                  <a:cubicBezTo>
                    <a:pt x="1494" y="13"/>
                    <a:pt x="1494" y="13"/>
                    <a:pt x="1494" y="13"/>
                  </a:cubicBezTo>
                  <a:cubicBezTo>
                    <a:pt x="1494" y="13"/>
                    <a:pt x="1494" y="13"/>
                    <a:pt x="1494" y="13"/>
                  </a:cubicBezTo>
                  <a:cubicBezTo>
                    <a:pt x="1494" y="13"/>
                    <a:pt x="1494" y="13"/>
                    <a:pt x="1494" y="13"/>
                  </a:cubicBezTo>
                  <a:cubicBezTo>
                    <a:pt x="1493" y="14"/>
                    <a:pt x="1493" y="14"/>
                    <a:pt x="1493" y="14"/>
                  </a:cubicBezTo>
                  <a:cubicBezTo>
                    <a:pt x="1493" y="14"/>
                    <a:pt x="1493" y="14"/>
                    <a:pt x="1493" y="14"/>
                  </a:cubicBezTo>
                  <a:cubicBezTo>
                    <a:pt x="1493" y="14"/>
                    <a:pt x="1492" y="14"/>
                    <a:pt x="1492" y="14"/>
                  </a:cubicBezTo>
                  <a:cubicBezTo>
                    <a:pt x="1492" y="14"/>
                    <a:pt x="1492" y="14"/>
                    <a:pt x="1492" y="14"/>
                  </a:cubicBezTo>
                  <a:cubicBezTo>
                    <a:pt x="1492" y="14"/>
                    <a:pt x="1492" y="14"/>
                    <a:pt x="1492" y="15"/>
                  </a:cubicBezTo>
                  <a:cubicBezTo>
                    <a:pt x="1492" y="15"/>
                    <a:pt x="1492" y="15"/>
                    <a:pt x="1492" y="15"/>
                  </a:cubicBezTo>
                  <a:cubicBezTo>
                    <a:pt x="1491" y="15"/>
                    <a:pt x="1491" y="15"/>
                    <a:pt x="1491" y="15"/>
                  </a:cubicBezTo>
                  <a:cubicBezTo>
                    <a:pt x="1491" y="15"/>
                    <a:pt x="1491" y="15"/>
                    <a:pt x="1491" y="15"/>
                  </a:cubicBezTo>
                  <a:cubicBezTo>
                    <a:pt x="1491" y="15"/>
                    <a:pt x="1490" y="15"/>
                    <a:pt x="1490" y="15"/>
                  </a:cubicBezTo>
                  <a:cubicBezTo>
                    <a:pt x="1490" y="15"/>
                    <a:pt x="1490" y="15"/>
                    <a:pt x="1490" y="15"/>
                  </a:cubicBezTo>
                  <a:cubicBezTo>
                    <a:pt x="1490" y="15"/>
                    <a:pt x="1490" y="15"/>
                    <a:pt x="1489" y="16"/>
                  </a:cubicBezTo>
                  <a:cubicBezTo>
                    <a:pt x="1490" y="16"/>
                    <a:pt x="1490" y="16"/>
                    <a:pt x="1490" y="16"/>
                  </a:cubicBezTo>
                  <a:cubicBezTo>
                    <a:pt x="1489" y="16"/>
                    <a:pt x="1489" y="16"/>
                    <a:pt x="1489" y="16"/>
                  </a:cubicBezTo>
                  <a:cubicBezTo>
                    <a:pt x="1489" y="16"/>
                    <a:pt x="1489" y="16"/>
                    <a:pt x="1489" y="16"/>
                  </a:cubicBezTo>
                  <a:cubicBezTo>
                    <a:pt x="1489" y="16"/>
                    <a:pt x="1488" y="16"/>
                    <a:pt x="1488" y="16"/>
                  </a:cubicBezTo>
                  <a:cubicBezTo>
                    <a:pt x="1488" y="16"/>
                    <a:pt x="1488" y="16"/>
                    <a:pt x="1488" y="16"/>
                  </a:cubicBezTo>
                  <a:cubicBezTo>
                    <a:pt x="1488" y="16"/>
                    <a:pt x="1488" y="16"/>
                    <a:pt x="1487" y="17"/>
                  </a:cubicBezTo>
                  <a:cubicBezTo>
                    <a:pt x="1487" y="17"/>
                    <a:pt x="1487" y="17"/>
                    <a:pt x="1487" y="17"/>
                  </a:cubicBezTo>
                  <a:cubicBezTo>
                    <a:pt x="1487" y="17"/>
                    <a:pt x="1487" y="17"/>
                    <a:pt x="1487" y="17"/>
                  </a:cubicBezTo>
                  <a:cubicBezTo>
                    <a:pt x="1487" y="17"/>
                    <a:pt x="1487" y="17"/>
                    <a:pt x="1487" y="17"/>
                  </a:cubicBezTo>
                  <a:cubicBezTo>
                    <a:pt x="1486" y="17"/>
                    <a:pt x="1486" y="17"/>
                    <a:pt x="1486" y="17"/>
                  </a:cubicBezTo>
                  <a:cubicBezTo>
                    <a:pt x="1486" y="17"/>
                    <a:pt x="1486" y="17"/>
                    <a:pt x="1486" y="17"/>
                  </a:cubicBezTo>
                  <a:cubicBezTo>
                    <a:pt x="1486" y="17"/>
                    <a:pt x="1486" y="17"/>
                    <a:pt x="1486" y="17"/>
                  </a:cubicBezTo>
                  <a:cubicBezTo>
                    <a:pt x="1486" y="17"/>
                    <a:pt x="1485" y="17"/>
                    <a:pt x="1485" y="18"/>
                  </a:cubicBezTo>
                  <a:cubicBezTo>
                    <a:pt x="1485" y="18"/>
                    <a:pt x="1485" y="18"/>
                    <a:pt x="1485" y="18"/>
                  </a:cubicBezTo>
                  <a:cubicBezTo>
                    <a:pt x="1485" y="18"/>
                    <a:pt x="1484" y="18"/>
                    <a:pt x="1484" y="18"/>
                  </a:cubicBezTo>
                  <a:cubicBezTo>
                    <a:pt x="1484" y="18"/>
                    <a:pt x="1484" y="18"/>
                    <a:pt x="1484" y="18"/>
                  </a:cubicBezTo>
                  <a:cubicBezTo>
                    <a:pt x="1484" y="18"/>
                    <a:pt x="1484" y="18"/>
                    <a:pt x="1484" y="18"/>
                  </a:cubicBezTo>
                  <a:cubicBezTo>
                    <a:pt x="1483" y="18"/>
                    <a:pt x="1483" y="18"/>
                    <a:pt x="1483" y="18"/>
                  </a:cubicBezTo>
                  <a:cubicBezTo>
                    <a:pt x="1483" y="18"/>
                    <a:pt x="1483" y="18"/>
                    <a:pt x="1482" y="19"/>
                  </a:cubicBezTo>
                  <a:cubicBezTo>
                    <a:pt x="1482" y="19"/>
                    <a:pt x="1482" y="19"/>
                    <a:pt x="1482" y="19"/>
                  </a:cubicBezTo>
                  <a:cubicBezTo>
                    <a:pt x="1482" y="19"/>
                    <a:pt x="1482" y="19"/>
                    <a:pt x="1481" y="19"/>
                  </a:cubicBezTo>
                  <a:cubicBezTo>
                    <a:pt x="1481" y="19"/>
                    <a:pt x="1481" y="19"/>
                    <a:pt x="1481" y="19"/>
                  </a:cubicBezTo>
                  <a:cubicBezTo>
                    <a:pt x="1481" y="19"/>
                    <a:pt x="1481" y="19"/>
                    <a:pt x="1480" y="19"/>
                  </a:cubicBezTo>
                  <a:cubicBezTo>
                    <a:pt x="1480" y="19"/>
                    <a:pt x="1480" y="19"/>
                    <a:pt x="1480" y="19"/>
                  </a:cubicBezTo>
                  <a:cubicBezTo>
                    <a:pt x="1480" y="20"/>
                    <a:pt x="1480" y="19"/>
                    <a:pt x="1479" y="20"/>
                  </a:cubicBezTo>
                  <a:cubicBezTo>
                    <a:pt x="1479" y="20"/>
                    <a:pt x="1479" y="20"/>
                    <a:pt x="1479" y="20"/>
                  </a:cubicBezTo>
                  <a:cubicBezTo>
                    <a:pt x="1479" y="20"/>
                    <a:pt x="1479" y="20"/>
                    <a:pt x="1478" y="20"/>
                  </a:cubicBezTo>
                  <a:cubicBezTo>
                    <a:pt x="1478" y="20"/>
                    <a:pt x="1478" y="20"/>
                    <a:pt x="1478" y="20"/>
                  </a:cubicBezTo>
                  <a:cubicBezTo>
                    <a:pt x="1478" y="20"/>
                    <a:pt x="1477" y="20"/>
                    <a:pt x="1477" y="21"/>
                  </a:cubicBezTo>
                  <a:cubicBezTo>
                    <a:pt x="1477" y="24"/>
                    <a:pt x="1477" y="28"/>
                    <a:pt x="1477" y="31"/>
                  </a:cubicBezTo>
                  <a:cubicBezTo>
                    <a:pt x="1478" y="32"/>
                    <a:pt x="1478" y="31"/>
                    <a:pt x="1479" y="31"/>
                  </a:cubicBezTo>
                  <a:cubicBezTo>
                    <a:pt x="1479" y="31"/>
                    <a:pt x="1479" y="31"/>
                    <a:pt x="1479" y="31"/>
                  </a:cubicBezTo>
                  <a:cubicBezTo>
                    <a:pt x="1479" y="31"/>
                    <a:pt x="1479" y="31"/>
                    <a:pt x="1480" y="31"/>
                  </a:cubicBezTo>
                  <a:cubicBezTo>
                    <a:pt x="1480" y="31"/>
                    <a:pt x="1480" y="31"/>
                    <a:pt x="1480" y="31"/>
                  </a:cubicBezTo>
                  <a:cubicBezTo>
                    <a:pt x="1480" y="31"/>
                    <a:pt x="1480" y="31"/>
                    <a:pt x="1480" y="31"/>
                  </a:cubicBezTo>
                  <a:cubicBezTo>
                    <a:pt x="1480" y="31"/>
                    <a:pt x="1481" y="31"/>
                    <a:pt x="1481" y="31"/>
                  </a:cubicBezTo>
                  <a:cubicBezTo>
                    <a:pt x="1481" y="30"/>
                    <a:pt x="1481" y="30"/>
                    <a:pt x="1481" y="30"/>
                  </a:cubicBezTo>
                  <a:cubicBezTo>
                    <a:pt x="1481" y="30"/>
                    <a:pt x="1481" y="30"/>
                    <a:pt x="1481" y="30"/>
                  </a:cubicBezTo>
                  <a:cubicBezTo>
                    <a:pt x="1481" y="30"/>
                    <a:pt x="1482" y="30"/>
                    <a:pt x="1482" y="30"/>
                  </a:cubicBezTo>
                  <a:cubicBezTo>
                    <a:pt x="1482" y="30"/>
                    <a:pt x="1482" y="30"/>
                    <a:pt x="1482" y="30"/>
                  </a:cubicBezTo>
                  <a:cubicBezTo>
                    <a:pt x="1482" y="30"/>
                    <a:pt x="1483" y="30"/>
                    <a:pt x="1483" y="30"/>
                  </a:cubicBezTo>
                  <a:cubicBezTo>
                    <a:pt x="1483" y="30"/>
                    <a:pt x="1483" y="30"/>
                    <a:pt x="1483" y="30"/>
                  </a:cubicBezTo>
                  <a:cubicBezTo>
                    <a:pt x="1483" y="30"/>
                    <a:pt x="1483" y="30"/>
                    <a:pt x="1484" y="29"/>
                  </a:cubicBezTo>
                  <a:cubicBezTo>
                    <a:pt x="1484" y="29"/>
                    <a:pt x="1484" y="29"/>
                    <a:pt x="1484" y="29"/>
                  </a:cubicBezTo>
                  <a:cubicBezTo>
                    <a:pt x="1484" y="29"/>
                    <a:pt x="1484" y="29"/>
                    <a:pt x="1484" y="29"/>
                  </a:cubicBezTo>
                  <a:cubicBezTo>
                    <a:pt x="1484" y="29"/>
                    <a:pt x="1484" y="29"/>
                    <a:pt x="1485" y="29"/>
                  </a:cubicBezTo>
                  <a:cubicBezTo>
                    <a:pt x="1485" y="29"/>
                    <a:pt x="1485" y="29"/>
                    <a:pt x="1485" y="29"/>
                  </a:cubicBezTo>
                  <a:cubicBezTo>
                    <a:pt x="1485" y="29"/>
                    <a:pt x="1485" y="29"/>
                    <a:pt x="1485" y="29"/>
                  </a:cubicBezTo>
                  <a:cubicBezTo>
                    <a:pt x="1485" y="29"/>
                    <a:pt x="1485" y="29"/>
                    <a:pt x="1485" y="29"/>
                  </a:cubicBezTo>
                  <a:cubicBezTo>
                    <a:pt x="1485" y="29"/>
                    <a:pt x="1486" y="29"/>
                    <a:pt x="1486" y="28"/>
                  </a:cubicBezTo>
                  <a:cubicBezTo>
                    <a:pt x="1486" y="28"/>
                    <a:pt x="1486" y="28"/>
                    <a:pt x="1486" y="28"/>
                  </a:cubicBezTo>
                  <a:cubicBezTo>
                    <a:pt x="1486" y="28"/>
                    <a:pt x="1486" y="28"/>
                    <a:pt x="1486" y="28"/>
                  </a:cubicBezTo>
                  <a:cubicBezTo>
                    <a:pt x="1486" y="28"/>
                    <a:pt x="1487" y="28"/>
                    <a:pt x="1487" y="28"/>
                  </a:cubicBezTo>
                  <a:close/>
                  <a:moveTo>
                    <a:pt x="211" y="46"/>
                  </a:moveTo>
                  <a:cubicBezTo>
                    <a:pt x="211" y="42"/>
                    <a:pt x="211" y="39"/>
                    <a:pt x="211" y="36"/>
                  </a:cubicBezTo>
                  <a:cubicBezTo>
                    <a:pt x="211" y="34"/>
                    <a:pt x="211" y="34"/>
                    <a:pt x="210" y="34"/>
                  </a:cubicBezTo>
                  <a:cubicBezTo>
                    <a:pt x="208" y="34"/>
                    <a:pt x="205" y="34"/>
                    <a:pt x="203" y="34"/>
                  </a:cubicBezTo>
                  <a:cubicBezTo>
                    <a:pt x="200" y="34"/>
                    <a:pt x="201" y="34"/>
                    <a:pt x="201" y="36"/>
                  </a:cubicBezTo>
                  <a:cubicBezTo>
                    <a:pt x="201" y="57"/>
                    <a:pt x="201" y="78"/>
                    <a:pt x="201" y="99"/>
                  </a:cubicBezTo>
                  <a:cubicBezTo>
                    <a:pt x="201" y="100"/>
                    <a:pt x="201" y="100"/>
                    <a:pt x="201" y="100"/>
                  </a:cubicBezTo>
                  <a:cubicBezTo>
                    <a:pt x="201" y="101"/>
                    <a:pt x="201" y="101"/>
                    <a:pt x="202" y="101"/>
                  </a:cubicBezTo>
                  <a:cubicBezTo>
                    <a:pt x="205" y="101"/>
                    <a:pt x="207" y="101"/>
                    <a:pt x="210" y="101"/>
                  </a:cubicBezTo>
                  <a:cubicBezTo>
                    <a:pt x="212" y="101"/>
                    <a:pt x="211" y="102"/>
                    <a:pt x="211" y="100"/>
                  </a:cubicBezTo>
                  <a:cubicBezTo>
                    <a:pt x="211" y="89"/>
                    <a:pt x="211" y="78"/>
                    <a:pt x="211" y="68"/>
                  </a:cubicBezTo>
                  <a:cubicBezTo>
                    <a:pt x="211" y="65"/>
                    <a:pt x="212" y="63"/>
                    <a:pt x="212" y="60"/>
                  </a:cubicBezTo>
                  <a:cubicBezTo>
                    <a:pt x="213" y="55"/>
                    <a:pt x="214" y="51"/>
                    <a:pt x="218" y="47"/>
                  </a:cubicBezTo>
                  <a:cubicBezTo>
                    <a:pt x="220" y="44"/>
                    <a:pt x="224" y="43"/>
                    <a:pt x="228" y="43"/>
                  </a:cubicBezTo>
                  <a:cubicBezTo>
                    <a:pt x="230" y="43"/>
                    <a:pt x="233" y="44"/>
                    <a:pt x="236" y="45"/>
                  </a:cubicBezTo>
                  <a:cubicBezTo>
                    <a:pt x="236" y="42"/>
                    <a:pt x="236" y="39"/>
                    <a:pt x="236" y="35"/>
                  </a:cubicBezTo>
                  <a:cubicBezTo>
                    <a:pt x="236" y="34"/>
                    <a:pt x="236" y="34"/>
                    <a:pt x="234" y="34"/>
                  </a:cubicBezTo>
                  <a:cubicBezTo>
                    <a:pt x="227" y="32"/>
                    <a:pt x="221" y="34"/>
                    <a:pt x="216" y="40"/>
                  </a:cubicBezTo>
                  <a:cubicBezTo>
                    <a:pt x="214" y="42"/>
                    <a:pt x="213" y="44"/>
                    <a:pt x="212" y="46"/>
                  </a:cubicBezTo>
                  <a:cubicBezTo>
                    <a:pt x="212" y="47"/>
                    <a:pt x="212" y="47"/>
                    <a:pt x="212" y="48"/>
                  </a:cubicBezTo>
                  <a:cubicBezTo>
                    <a:pt x="211" y="47"/>
                    <a:pt x="211" y="46"/>
                    <a:pt x="211" y="46"/>
                  </a:cubicBezTo>
                  <a:close/>
                  <a:moveTo>
                    <a:pt x="1289" y="58"/>
                  </a:moveTo>
                  <a:cubicBezTo>
                    <a:pt x="1289" y="58"/>
                    <a:pt x="1289" y="58"/>
                    <a:pt x="1289" y="58"/>
                  </a:cubicBezTo>
                  <a:cubicBezTo>
                    <a:pt x="1289" y="58"/>
                    <a:pt x="1289" y="57"/>
                    <a:pt x="1289" y="57"/>
                  </a:cubicBezTo>
                  <a:cubicBezTo>
                    <a:pt x="1289" y="57"/>
                    <a:pt x="1289" y="57"/>
                    <a:pt x="1289" y="57"/>
                  </a:cubicBezTo>
                  <a:cubicBezTo>
                    <a:pt x="1290" y="56"/>
                    <a:pt x="1289" y="56"/>
                    <a:pt x="1290" y="56"/>
                  </a:cubicBezTo>
                  <a:cubicBezTo>
                    <a:pt x="1290" y="56"/>
                    <a:pt x="1290" y="56"/>
                    <a:pt x="1290" y="56"/>
                  </a:cubicBezTo>
                  <a:cubicBezTo>
                    <a:pt x="1290" y="55"/>
                    <a:pt x="1290" y="55"/>
                    <a:pt x="1290" y="55"/>
                  </a:cubicBezTo>
                  <a:cubicBezTo>
                    <a:pt x="1290" y="55"/>
                    <a:pt x="1290" y="55"/>
                    <a:pt x="1290" y="55"/>
                  </a:cubicBezTo>
                  <a:cubicBezTo>
                    <a:pt x="1290" y="54"/>
                    <a:pt x="1290" y="54"/>
                    <a:pt x="1290" y="54"/>
                  </a:cubicBezTo>
                  <a:cubicBezTo>
                    <a:pt x="1290" y="54"/>
                    <a:pt x="1290" y="54"/>
                    <a:pt x="1290" y="54"/>
                  </a:cubicBezTo>
                  <a:cubicBezTo>
                    <a:pt x="1291" y="54"/>
                    <a:pt x="1291" y="53"/>
                    <a:pt x="1291" y="53"/>
                  </a:cubicBezTo>
                  <a:cubicBezTo>
                    <a:pt x="1291" y="53"/>
                    <a:pt x="1291" y="53"/>
                    <a:pt x="1291" y="53"/>
                  </a:cubicBezTo>
                  <a:cubicBezTo>
                    <a:pt x="1291" y="53"/>
                    <a:pt x="1291" y="53"/>
                    <a:pt x="1291" y="52"/>
                  </a:cubicBezTo>
                  <a:cubicBezTo>
                    <a:pt x="1291" y="52"/>
                    <a:pt x="1291" y="52"/>
                    <a:pt x="1291" y="52"/>
                  </a:cubicBezTo>
                  <a:cubicBezTo>
                    <a:pt x="1291" y="52"/>
                    <a:pt x="1291" y="52"/>
                    <a:pt x="1291" y="52"/>
                  </a:cubicBezTo>
                  <a:cubicBezTo>
                    <a:pt x="1291" y="52"/>
                    <a:pt x="1291" y="52"/>
                    <a:pt x="1291" y="52"/>
                  </a:cubicBezTo>
                  <a:cubicBezTo>
                    <a:pt x="1292" y="52"/>
                    <a:pt x="1292" y="51"/>
                    <a:pt x="1292" y="51"/>
                  </a:cubicBezTo>
                  <a:cubicBezTo>
                    <a:pt x="1292" y="51"/>
                    <a:pt x="1292" y="51"/>
                    <a:pt x="1292" y="51"/>
                  </a:cubicBezTo>
                  <a:cubicBezTo>
                    <a:pt x="1292" y="51"/>
                    <a:pt x="1292" y="51"/>
                    <a:pt x="1292" y="50"/>
                  </a:cubicBezTo>
                  <a:cubicBezTo>
                    <a:pt x="1292" y="50"/>
                    <a:pt x="1292" y="50"/>
                    <a:pt x="1292" y="50"/>
                  </a:cubicBezTo>
                  <a:cubicBezTo>
                    <a:pt x="1292" y="50"/>
                    <a:pt x="1292" y="50"/>
                    <a:pt x="1292" y="50"/>
                  </a:cubicBezTo>
                  <a:cubicBezTo>
                    <a:pt x="1292" y="50"/>
                    <a:pt x="1292" y="50"/>
                    <a:pt x="1292" y="50"/>
                  </a:cubicBezTo>
                  <a:cubicBezTo>
                    <a:pt x="1293" y="50"/>
                    <a:pt x="1293" y="49"/>
                    <a:pt x="1293" y="49"/>
                  </a:cubicBezTo>
                  <a:cubicBezTo>
                    <a:pt x="1293" y="49"/>
                    <a:pt x="1293" y="49"/>
                    <a:pt x="1293" y="49"/>
                  </a:cubicBezTo>
                  <a:cubicBezTo>
                    <a:pt x="1293" y="49"/>
                    <a:pt x="1293" y="49"/>
                    <a:pt x="1293" y="49"/>
                  </a:cubicBezTo>
                  <a:cubicBezTo>
                    <a:pt x="1293" y="49"/>
                    <a:pt x="1293" y="49"/>
                    <a:pt x="1293" y="49"/>
                  </a:cubicBezTo>
                  <a:cubicBezTo>
                    <a:pt x="1293" y="49"/>
                    <a:pt x="1293" y="49"/>
                    <a:pt x="1293" y="48"/>
                  </a:cubicBezTo>
                  <a:cubicBezTo>
                    <a:pt x="1293" y="49"/>
                    <a:pt x="1293" y="49"/>
                    <a:pt x="1293" y="49"/>
                  </a:cubicBezTo>
                  <a:cubicBezTo>
                    <a:pt x="1294" y="48"/>
                    <a:pt x="1294" y="48"/>
                    <a:pt x="1294" y="48"/>
                  </a:cubicBezTo>
                  <a:cubicBezTo>
                    <a:pt x="1294" y="48"/>
                    <a:pt x="1294" y="48"/>
                    <a:pt x="1294" y="48"/>
                  </a:cubicBezTo>
                  <a:cubicBezTo>
                    <a:pt x="1294" y="48"/>
                    <a:pt x="1294" y="48"/>
                    <a:pt x="1294" y="48"/>
                  </a:cubicBezTo>
                  <a:cubicBezTo>
                    <a:pt x="1294" y="48"/>
                    <a:pt x="1294" y="48"/>
                    <a:pt x="1294" y="48"/>
                  </a:cubicBezTo>
                  <a:cubicBezTo>
                    <a:pt x="1294" y="47"/>
                    <a:pt x="1294"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7"/>
                    <a:pt x="1295" y="47"/>
                    <a:pt x="1295" y="47"/>
                  </a:cubicBezTo>
                  <a:cubicBezTo>
                    <a:pt x="1295" y="46"/>
                    <a:pt x="1295" y="46"/>
                    <a:pt x="1296" y="46"/>
                  </a:cubicBezTo>
                  <a:cubicBezTo>
                    <a:pt x="1296" y="46"/>
                    <a:pt x="1296" y="46"/>
                    <a:pt x="1296" y="46"/>
                  </a:cubicBezTo>
                  <a:cubicBezTo>
                    <a:pt x="1296" y="46"/>
                    <a:pt x="1296" y="46"/>
                    <a:pt x="1296" y="46"/>
                  </a:cubicBezTo>
                  <a:cubicBezTo>
                    <a:pt x="1296" y="46"/>
                    <a:pt x="1296" y="46"/>
                    <a:pt x="1296" y="46"/>
                  </a:cubicBezTo>
                  <a:cubicBezTo>
                    <a:pt x="1296" y="46"/>
                    <a:pt x="1296" y="46"/>
                    <a:pt x="1297" y="45"/>
                  </a:cubicBezTo>
                  <a:cubicBezTo>
                    <a:pt x="1297" y="45"/>
                    <a:pt x="1297" y="45"/>
                    <a:pt x="1297" y="45"/>
                  </a:cubicBezTo>
                  <a:cubicBezTo>
                    <a:pt x="1297" y="45"/>
                    <a:pt x="1297" y="45"/>
                    <a:pt x="1297" y="45"/>
                  </a:cubicBezTo>
                  <a:cubicBezTo>
                    <a:pt x="1297" y="45"/>
                    <a:pt x="1297" y="45"/>
                    <a:pt x="1297" y="45"/>
                  </a:cubicBezTo>
                  <a:cubicBezTo>
                    <a:pt x="1297" y="45"/>
                    <a:pt x="1297" y="45"/>
                    <a:pt x="1298" y="45"/>
                  </a:cubicBezTo>
                  <a:cubicBezTo>
                    <a:pt x="1298" y="45"/>
                    <a:pt x="1298" y="45"/>
                    <a:pt x="1298" y="45"/>
                  </a:cubicBezTo>
                  <a:cubicBezTo>
                    <a:pt x="1298" y="45"/>
                    <a:pt x="1298" y="45"/>
                    <a:pt x="1298" y="44"/>
                  </a:cubicBezTo>
                  <a:cubicBezTo>
                    <a:pt x="1298" y="44"/>
                    <a:pt x="1298" y="44"/>
                    <a:pt x="1298" y="44"/>
                  </a:cubicBezTo>
                  <a:cubicBezTo>
                    <a:pt x="1299" y="44"/>
                    <a:pt x="1299" y="44"/>
                    <a:pt x="1299" y="44"/>
                  </a:cubicBezTo>
                  <a:cubicBezTo>
                    <a:pt x="1299" y="44"/>
                    <a:pt x="1299" y="44"/>
                    <a:pt x="1299" y="44"/>
                  </a:cubicBezTo>
                  <a:cubicBezTo>
                    <a:pt x="1299" y="44"/>
                    <a:pt x="1300" y="44"/>
                    <a:pt x="1300" y="44"/>
                  </a:cubicBezTo>
                  <a:cubicBezTo>
                    <a:pt x="1300" y="44"/>
                    <a:pt x="1300" y="44"/>
                    <a:pt x="1300" y="44"/>
                  </a:cubicBezTo>
                  <a:cubicBezTo>
                    <a:pt x="1300" y="44"/>
                    <a:pt x="1300" y="44"/>
                    <a:pt x="1300" y="44"/>
                  </a:cubicBezTo>
                  <a:cubicBezTo>
                    <a:pt x="1301" y="44"/>
                    <a:pt x="1301" y="44"/>
                    <a:pt x="1301" y="43"/>
                  </a:cubicBezTo>
                  <a:cubicBezTo>
                    <a:pt x="1302" y="43"/>
                    <a:pt x="1302" y="43"/>
                    <a:pt x="1302" y="43"/>
                  </a:cubicBezTo>
                  <a:cubicBezTo>
                    <a:pt x="1302" y="43"/>
                    <a:pt x="1302" y="43"/>
                    <a:pt x="1302" y="43"/>
                  </a:cubicBezTo>
                  <a:cubicBezTo>
                    <a:pt x="1303" y="43"/>
                    <a:pt x="1305" y="43"/>
                    <a:pt x="1307" y="43"/>
                  </a:cubicBezTo>
                  <a:cubicBezTo>
                    <a:pt x="1307" y="43"/>
                    <a:pt x="1307" y="43"/>
                    <a:pt x="1307" y="43"/>
                  </a:cubicBezTo>
                  <a:cubicBezTo>
                    <a:pt x="1308" y="44"/>
                    <a:pt x="1308" y="43"/>
                    <a:pt x="1309" y="44"/>
                  </a:cubicBezTo>
                  <a:cubicBezTo>
                    <a:pt x="1309" y="44"/>
                    <a:pt x="1309" y="44"/>
                    <a:pt x="1309" y="44"/>
                  </a:cubicBezTo>
                  <a:cubicBezTo>
                    <a:pt x="1309" y="44"/>
                    <a:pt x="1309" y="44"/>
                    <a:pt x="1309" y="44"/>
                  </a:cubicBezTo>
                  <a:cubicBezTo>
                    <a:pt x="1309" y="44"/>
                    <a:pt x="1309" y="44"/>
                    <a:pt x="1310" y="44"/>
                  </a:cubicBezTo>
                  <a:cubicBezTo>
                    <a:pt x="1310" y="44"/>
                    <a:pt x="1310" y="44"/>
                    <a:pt x="1310" y="44"/>
                  </a:cubicBezTo>
                  <a:cubicBezTo>
                    <a:pt x="1310" y="44"/>
                    <a:pt x="1310" y="44"/>
                    <a:pt x="1310" y="44"/>
                  </a:cubicBezTo>
                  <a:cubicBezTo>
                    <a:pt x="1310" y="44"/>
                    <a:pt x="1310" y="44"/>
                    <a:pt x="1311" y="44"/>
                  </a:cubicBezTo>
                  <a:cubicBezTo>
                    <a:pt x="1311" y="44"/>
                    <a:pt x="1311" y="44"/>
                    <a:pt x="1311" y="44"/>
                  </a:cubicBezTo>
                  <a:cubicBezTo>
                    <a:pt x="1311" y="45"/>
                    <a:pt x="1311" y="45"/>
                    <a:pt x="1311" y="45"/>
                  </a:cubicBezTo>
                  <a:cubicBezTo>
                    <a:pt x="1311" y="45"/>
                    <a:pt x="1311" y="45"/>
                    <a:pt x="1311" y="45"/>
                  </a:cubicBezTo>
                  <a:cubicBezTo>
                    <a:pt x="1311" y="45"/>
                    <a:pt x="1311" y="45"/>
                    <a:pt x="1312" y="45"/>
                  </a:cubicBezTo>
                  <a:cubicBezTo>
                    <a:pt x="1312" y="45"/>
                    <a:pt x="1312" y="45"/>
                    <a:pt x="1312" y="45"/>
                  </a:cubicBezTo>
                  <a:cubicBezTo>
                    <a:pt x="1312" y="45"/>
                    <a:pt x="1312" y="45"/>
                    <a:pt x="1312" y="45"/>
                  </a:cubicBezTo>
                  <a:cubicBezTo>
                    <a:pt x="1312" y="41"/>
                    <a:pt x="1312" y="38"/>
                    <a:pt x="1312" y="34"/>
                  </a:cubicBezTo>
                  <a:cubicBezTo>
                    <a:pt x="1312" y="34"/>
                    <a:pt x="1312" y="34"/>
                    <a:pt x="1311" y="34"/>
                  </a:cubicBezTo>
                  <a:cubicBezTo>
                    <a:pt x="1311" y="34"/>
                    <a:pt x="1311" y="34"/>
                    <a:pt x="1311" y="34"/>
                  </a:cubicBezTo>
                  <a:cubicBezTo>
                    <a:pt x="1311" y="33"/>
                    <a:pt x="1310" y="34"/>
                    <a:pt x="1310" y="33"/>
                  </a:cubicBezTo>
                  <a:cubicBezTo>
                    <a:pt x="1310" y="33"/>
                    <a:pt x="1310" y="33"/>
                    <a:pt x="1309" y="33"/>
                  </a:cubicBezTo>
                  <a:cubicBezTo>
                    <a:pt x="1307" y="33"/>
                    <a:pt x="1305" y="33"/>
                    <a:pt x="1303" y="33"/>
                  </a:cubicBezTo>
                  <a:cubicBezTo>
                    <a:pt x="1302" y="33"/>
                    <a:pt x="1302" y="33"/>
                    <a:pt x="1302" y="33"/>
                  </a:cubicBezTo>
                  <a:cubicBezTo>
                    <a:pt x="1302" y="33"/>
                    <a:pt x="1302" y="33"/>
                    <a:pt x="1302" y="33"/>
                  </a:cubicBezTo>
                  <a:cubicBezTo>
                    <a:pt x="1302" y="34"/>
                    <a:pt x="1301" y="33"/>
                    <a:pt x="1301" y="34"/>
                  </a:cubicBezTo>
                  <a:cubicBezTo>
                    <a:pt x="1301" y="34"/>
                    <a:pt x="1301" y="34"/>
                    <a:pt x="1301" y="34"/>
                  </a:cubicBezTo>
                  <a:cubicBezTo>
                    <a:pt x="1301" y="34"/>
                    <a:pt x="1301" y="34"/>
                    <a:pt x="1301" y="34"/>
                  </a:cubicBezTo>
                  <a:cubicBezTo>
                    <a:pt x="1301" y="34"/>
                    <a:pt x="1300" y="34"/>
                    <a:pt x="1300" y="34"/>
                  </a:cubicBezTo>
                  <a:cubicBezTo>
                    <a:pt x="1300" y="34"/>
                    <a:pt x="1300" y="34"/>
                    <a:pt x="1300" y="34"/>
                  </a:cubicBezTo>
                  <a:cubicBezTo>
                    <a:pt x="1300" y="34"/>
                    <a:pt x="1300" y="34"/>
                    <a:pt x="1300" y="34"/>
                  </a:cubicBezTo>
                  <a:cubicBezTo>
                    <a:pt x="1300" y="34"/>
                    <a:pt x="1299" y="34"/>
                    <a:pt x="1299" y="34"/>
                  </a:cubicBezTo>
                  <a:cubicBezTo>
                    <a:pt x="1299" y="34"/>
                    <a:pt x="1299" y="34"/>
                    <a:pt x="1299" y="34"/>
                  </a:cubicBezTo>
                  <a:cubicBezTo>
                    <a:pt x="1299" y="35"/>
                    <a:pt x="1299" y="34"/>
                    <a:pt x="1298" y="35"/>
                  </a:cubicBezTo>
                  <a:cubicBezTo>
                    <a:pt x="1298" y="35"/>
                    <a:pt x="1298" y="35"/>
                    <a:pt x="1298" y="35"/>
                  </a:cubicBezTo>
                  <a:cubicBezTo>
                    <a:pt x="1298" y="35"/>
                    <a:pt x="1298" y="35"/>
                    <a:pt x="1298" y="35"/>
                  </a:cubicBezTo>
                  <a:cubicBezTo>
                    <a:pt x="1298" y="35"/>
                    <a:pt x="1298" y="35"/>
                    <a:pt x="1298" y="35"/>
                  </a:cubicBezTo>
                  <a:cubicBezTo>
                    <a:pt x="1298" y="35"/>
                    <a:pt x="1297" y="35"/>
                    <a:pt x="1297" y="35"/>
                  </a:cubicBezTo>
                  <a:cubicBezTo>
                    <a:pt x="1297" y="35"/>
                    <a:pt x="1297" y="35"/>
                    <a:pt x="1297" y="35"/>
                  </a:cubicBezTo>
                  <a:cubicBezTo>
                    <a:pt x="1297" y="36"/>
                    <a:pt x="1297" y="36"/>
                    <a:pt x="1297" y="36"/>
                  </a:cubicBezTo>
                  <a:cubicBezTo>
                    <a:pt x="1297" y="36"/>
                    <a:pt x="1297" y="36"/>
                    <a:pt x="1297" y="36"/>
                  </a:cubicBezTo>
                  <a:cubicBezTo>
                    <a:pt x="1296" y="36"/>
                    <a:pt x="1296" y="36"/>
                    <a:pt x="1296" y="36"/>
                  </a:cubicBezTo>
                  <a:cubicBezTo>
                    <a:pt x="1296" y="36"/>
                    <a:pt x="1296" y="36"/>
                    <a:pt x="1296" y="36"/>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5" y="37"/>
                    <a:pt x="1295" y="37"/>
                    <a:pt x="1295" y="37"/>
                  </a:cubicBezTo>
                  <a:cubicBezTo>
                    <a:pt x="1294" y="38"/>
                    <a:pt x="1293" y="38"/>
                    <a:pt x="1293" y="39"/>
                  </a:cubicBezTo>
                  <a:cubicBezTo>
                    <a:pt x="1293" y="39"/>
                    <a:pt x="1293" y="39"/>
                    <a:pt x="1293" y="39"/>
                  </a:cubicBezTo>
                  <a:cubicBezTo>
                    <a:pt x="1293" y="39"/>
                    <a:pt x="1293" y="39"/>
                    <a:pt x="1293" y="39"/>
                  </a:cubicBezTo>
                  <a:cubicBezTo>
                    <a:pt x="1293" y="39"/>
                    <a:pt x="1293" y="39"/>
                    <a:pt x="1293" y="39"/>
                  </a:cubicBezTo>
                  <a:cubicBezTo>
                    <a:pt x="1293" y="39"/>
                    <a:pt x="1293" y="39"/>
                    <a:pt x="1292" y="40"/>
                  </a:cubicBezTo>
                  <a:cubicBezTo>
                    <a:pt x="1292" y="40"/>
                    <a:pt x="1292" y="40"/>
                    <a:pt x="1292" y="40"/>
                  </a:cubicBezTo>
                  <a:cubicBezTo>
                    <a:pt x="1292" y="40"/>
                    <a:pt x="1292" y="40"/>
                    <a:pt x="1292" y="40"/>
                  </a:cubicBezTo>
                  <a:cubicBezTo>
                    <a:pt x="1292" y="40"/>
                    <a:pt x="1292" y="40"/>
                    <a:pt x="1292" y="40"/>
                  </a:cubicBezTo>
                  <a:cubicBezTo>
                    <a:pt x="1292" y="40"/>
                    <a:pt x="1292" y="40"/>
                    <a:pt x="1292" y="41"/>
                  </a:cubicBezTo>
                  <a:cubicBezTo>
                    <a:pt x="1292" y="41"/>
                    <a:pt x="1292" y="41"/>
                    <a:pt x="1292" y="41"/>
                  </a:cubicBezTo>
                  <a:cubicBezTo>
                    <a:pt x="1292" y="41"/>
                    <a:pt x="1291" y="41"/>
                    <a:pt x="1291" y="41"/>
                  </a:cubicBezTo>
                  <a:cubicBezTo>
                    <a:pt x="1291" y="41"/>
                    <a:pt x="1291" y="41"/>
                    <a:pt x="1291" y="41"/>
                  </a:cubicBezTo>
                  <a:cubicBezTo>
                    <a:pt x="1291" y="41"/>
                    <a:pt x="1291" y="41"/>
                    <a:pt x="1291" y="42"/>
                  </a:cubicBezTo>
                  <a:cubicBezTo>
                    <a:pt x="1291" y="42"/>
                    <a:pt x="1291" y="42"/>
                    <a:pt x="1291" y="42"/>
                  </a:cubicBezTo>
                  <a:cubicBezTo>
                    <a:pt x="1291" y="42"/>
                    <a:pt x="1291" y="42"/>
                    <a:pt x="1291" y="42"/>
                  </a:cubicBezTo>
                  <a:cubicBezTo>
                    <a:pt x="1291" y="42"/>
                    <a:pt x="1291" y="42"/>
                    <a:pt x="1291" y="42"/>
                  </a:cubicBezTo>
                  <a:cubicBezTo>
                    <a:pt x="1290" y="42"/>
                    <a:pt x="1291" y="43"/>
                    <a:pt x="1290" y="43"/>
                  </a:cubicBezTo>
                  <a:cubicBezTo>
                    <a:pt x="1290" y="43"/>
                    <a:pt x="1290" y="43"/>
                    <a:pt x="1290" y="43"/>
                  </a:cubicBezTo>
                  <a:cubicBezTo>
                    <a:pt x="1290" y="43"/>
                    <a:pt x="1290" y="43"/>
                    <a:pt x="1290" y="43"/>
                  </a:cubicBezTo>
                  <a:cubicBezTo>
                    <a:pt x="1290" y="43"/>
                    <a:pt x="1290" y="43"/>
                    <a:pt x="1290" y="43"/>
                  </a:cubicBezTo>
                  <a:cubicBezTo>
                    <a:pt x="1290" y="44"/>
                    <a:pt x="1290" y="44"/>
                    <a:pt x="1290" y="44"/>
                  </a:cubicBezTo>
                  <a:cubicBezTo>
                    <a:pt x="1290" y="44"/>
                    <a:pt x="1290" y="44"/>
                    <a:pt x="1290" y="44"/>
                  </a:cubicBezTo>
                  <a:cubicBezTo>
                    <a:pt x="1289" y="44"/>
                    <a:pt x="1290" y="45"/>
                    <a:pt x="1289" y="45"/>
                  </a:cubicBezTo>
                  <a:cubicBezTo>
                    <a:pt x="1289" y="45"/>
                    <a:pt x="1289" y="45"/>
                    <a:pt x="1289" y="45"/>
                  </a:cubicBezTo>
                  <a:cubicBezTo>
                    <a:pt x="1289" y="45"/>
                    <a:pt x="1289" y="45"/>
                    <a:pt x="1289" y="45"/>
                  </a:cubicBezTo>
                  <a:cubicBezTo>
                    <a:pt x="1289" y="45"/>
                    <a:pt x="1289" y="45"/>
                    <a:pt x="1289" y="45"/>
                  </a:cubicBezTo>
                  <a:cubicBezTo>
                    <a:pt x="1289" y="46"/>
                    <a:pt x="1289" y="46"/>
                    <a:pt x="1289" y="46"/>
                  </a:cubicBezTo>
                  <a:cubicBezTo>
                    <a:pt x="1289" y="46"/>
                    <a:pt x="1289" y="46"/>
                    <a:pt x="1289" y="46"/>
                  </a:cubicBezTo>
                  <a:cubicBezTo>
                    <a:pt x="1288" y="46"/>
                    <a:pt x="1288" y="45"/>
                    <a:pt x="1288" y="45"/>
                  </a:cubicBez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9"/>
                    <a:pt x="1277" y="100"/>
                  </a:cubicBezTo>
                  <a:cubicBezTo>
                    <a:pt x="1277" y="100"/>
                    <a:pt x="1277" y="100"/>
                    <a:pt x="1277" y="100"/>
                  </a:cubicBezTo>
                  <a:cubicBezTo>
                    <a:pt x="1277" y="101"/>
                    <a:pt x="1277" y="102"/>
                    <a:pt x="1278" y="102"/>
                  </a:cubicBezTo>
                  <a:cubicBezTo>
                    <a:pt x="1281" y="102"/>
                    <a:pt x="1283" y="102"/>
                    <a:pt x="1285" y="102"/>
                  </a:cubicBezTo>
                  <a:cubicBezTo>
                    <a:pt x="1286" y="102"/>
                    <a:pt x="1287" y="102"/>
                    <a:pt x="1288" y="101"/>
                  </a:cubicBezTo>
                  <a:cubicBezTo>
                    <a:pt x="1288" y="101"/>
                    <a:pt x="1288" y="101"/>
                    <a:pt x="1288" y="101"/>
                  </a:cubicBezTo>
                  <a:cubicBezTo>
                    <a:pt x="1288" y="101"/>
                    <a:pt x="1288" y="100"/>
                    <a:pt x="1288" y="100"/>
                  </a:cubicBezTo>
                  <a:cubicBezTo>
                    <a:pt x="1288" y="88"/>
                    <a:pt x="1288" y="76"/>
                    <a:pt x="1288" y="65"/>
                  </a:cubicBezTo>
                  <a:cubicBezTo>
                    <a:pt x="1288" y="64"/>
                    <a:pt x="1288" y="63"/>
                    <a:pt x="1288" y="63"/>
                  </a:cubicBezTo>
                  <a:cubicBezTo>
                    <a:pt x="1288" y="62"/>
                    <a:pt x="1288" y="62"/>
                    <a:pt x="1288" y="62"/>
                  </a:cubicBezTo>
                  <a:cubicBezTo>
                    <a:pt x="1289" y="61"/>
                    <a:pt x="1288" y="61"/>
                    <a:pt x="1289" y="60"/>
                  </a:cubicBezTo>
                  <a:cubicBezTo>
                    <a:pt x="1289" y="60"/>
                    <a:pt x="1289" y="60"/>
                    <a:pt x="1289" y="60"/>
                  </a:cubicBezTo>
                  <a:cubicBezTo>
                    <a:pt x="1289" y="59"/>
                    <a:pt x="1289" y="59"/>
                    <a:pt x="1289" y="58"/>
                  </a:cubicBezTo>
                  <a:close/>
                  <a:moveTo>
                    <a:pt x="126" y="60"/>
                  </a:moveTo>
                  <a:cubicBezTo>
                    <a:pt x="126" y="52"/>
                    <a:pt x="126" y="44"/>
                    <a:pt x="126" y="36"/>
                  </a:cubicBezTo>
                  <a:cubicBezTo>
                    <a:pt x="126" y="34"/>
                    <a:pt x="126" y="34"/>
                    <a:pt x="124" y="34"/>
                  </a:cubicBezTo>
                  <a:cubicBezTo>
                    <a:pt x="122" y="34"/>
                    <a:pt x="120" y="34"/>
                    <a:pt x="117" y="34"/>
                  </a:cubicBezTo>
                  <a:cubicBezTo>
                    <a:pt x="115" y="34"/>
                    <a:pt x="115" y="34"/>
                    <a:pt x="115" y="36"/>
                  </a:cubicBezTo>
                  <a:cubicBezTo>
                    <a:pt x="115" y="57"/>
                    <a:pt x="115" y="78"/>
                    <a:pt x="115" y="100"/>
                  </a:cubicBezTo>
                  <a:cubicBezTo>
                    <a:pt x="115" y="100"/>
                    <a:pt x="115" y="100"/>
                    <a:pt x="115" y="101"/>
                  </a:cubicBezTo>
                  <a:cubicBezTo>
                    <a:pt x="115" y="101"/>
                    <a:pt x="115" y="101"/>
                    <a:pt x="116" y="101"/>
                  </a:cubicBezTo>
                  <a:cubicBezTo>
                    <a:pt x="119" y="101"/>
                    <a:pt x="122" y="101"/>
                    <a:pt x="125" y="101"/>
                  </a:cubicBezTo>
                  <a:cubicBezTo>
                    <a:pt x="126" y="101"/>
                    <a:pt x="126" y="101"/>
                    <a:pt x="126" y="101"/>
                  </a:cubicBezTo>
                  <a:cubicBezTo>
                    <a:pt x="126" y="100"/>
                    <a:pt x="126" y="100"/>
                    <a:pt x="126" y="99"/>
                  </a:cubicBezTo>
                  <a:cubicBezTo>
                    <a:pt x="126" y="89"/>
                    <a:pt x="126" y="78"/>
                    <a:pt x="126" y="68"/>
                  </a:cubicBezTo>
                  <a:cubicBezTo>
                    <a:pt x="126" y="65"/>
                    <a:pt x="126" y="63"/>
                    <a:pt x="126" y="60"/>
                  </a:cubicBezTo>
                  <a:close/>
                  <a:moveTo>
                    <a:pt x="114" y="10"/>
                  </a:moveTo>
                  <a:cubicBezTo>
                    <a:pt x="114" y="14"/>
                    <a:pt x="117" y="17"/>
                    <a:pt x="121" y="17"/>
                  </a:cubicBezTo>
                  <a:cubicBezTo>
                    <a:pt x="125" y="17"/>
                    <a:pt x="128" y="14"/>
                    <a:pt x="128" y="10"/>
                  </a:cubicBezTo>
                  <a:cubicBezTo>
                    <a:pt x="128" y="6"/>
                    <a:pt x="125" y="3"/>
                    <a:pt x="121" y="3"/>
                  </a:cubicBezTo>
                  <a:cubicBezTo>
                    <a:pt x="117" y="3"/>
                    <a:pt x="114" y="6"/>
                    <a:pt x="114" y="10"/>
                  </a:cubicBezTo>
                  <a:close/>
                  <a:moveTo>
                    <a:pt x="1658" y="7"/>
                  </a:moveTo>
                  <a:cubicBezTo>
                    <a:pt x="1649" y="7"/>
                    <a:pt x="1639" y="7"/>
                    <a:pt x="1630" y="7"/>
                  </a:cubicBezTo>
                  <a:cubicBezTo>
                    <a:pt x="1627" y="7"/>
                    <a:pt x="1627" y="7"/>
                    <a:pt x="1627" y="10"/>
                  </a:cubicBezTo>
                  <a:cubicBezTo>
                    <a:pt x="1627" y="39"/>
                    <a:pt x="1627" y="69"/>
                    <a:pt x="1627" y="99"/>
                  </a:cubicBezTo>
                  <a:cubicBezTo>
                    <a:pt x="1627" y="100"/>
                    <a:pt x="1627" y="100"/>
                    <a:pt x="1627" y="100"/>
                  </a:cubicBezTo>
                  <a:cubicBezTo>
                    <a:pt x="1627" y="102"/>
                    <a:pt x="1627" y="102"/>
                    <a:pt x="1629" y="102"/>
                  </a:cubicBezTo>
                  <a:cubicBezTo>
                    <a:pt x="1632" y="102"/>
                    <a:pt x="1634" y="102"/>
                    <a:pt x="1637" y="102"/>
                  </a:cubicBezTo>
                  <a:cubicBezTo>
                    <a:pt x="1639" y="102"/>
                    <a:pt x="1639" y="102"/>
                    <a:pt x="1639" y="101"/>
                  </a:cubicBezTo>
                  <a:cubicBezTo>
                    <a:pt x="1639" y="100"/>
                    <a:pt x="1639" y="100"/>
                    <a:pt x="1639" y="99"/>
                  </a:cubicBezTo>
                  <a:cubicBezTo>
                    <a:pt x="1639" y="87"/>
                    <a:pt x="1639" y="76"/>
                    <a:pt x="1639" y="64"/>
                  </a:cubicBezTo>
                  <a:cubicBezTo>
                    <a:pt x="1639" y="62"/>
                    <a:pt x="1639" y="62"/>
                    <a:pt x="1641" y="62"/>
                  </a:cubicBezTo>
                  <a:cubicBezTo>
                    <a:pt x="1644" y="62"/>
                    <a:pt x="1647" y="62"/>
                    <a:pt x="1650" y="62"/>
                  </a:cubicBezTo>
                  <a:cubicBezTo>
                    <a:pt x="1650" y="62"/>
                    <a:pt x="1650" y="62"/>
                    <a:pt x="1650" y="62"/>
                  </a:cubicBezTo>
                  <a:cubicBezTo>
                    <a:pt x="1647" y="61"/>
                    <a:pt x="1643" y="62"/>
                    <a:pt x="1639" y="61"/>
                  </a:cubicBezTo>
                  <a:cubicBezTo>
                    <a:pt x="1639" y="61"/>
                    <a:pt x="1638" y="62"/>
                    <a:pt x="1639" y="62"/>
                  </a:cubicBezTo>
                  <a:cubicBezTo>
                    <a:pt x="1639" y="63"/>
                    <a:pt x="1638" y="63"/>
                    <a:pt x="1638" y="63"/>
                  </a:cubicBezTo>
                  <a:cubicBezTo>
                    <a:pt x="1638" y="72"/>
                    <a:pt x="1638" y="81"/>
                    <a:pt x="1638" y="90"/>
                  </a:cubicBezTo>
                  <a:cubicBezTo>
                    <a:pt x="1638" y="94"/>
                    <a:pt x="1638" y="97"/>
                    <a:pt x="1639" y="100"/>
                  </a:cubicBezTo>
                  <a:cubicBezTo>
                    <a:pt x="1639" y="101"/>
                    <a:pt x="1638" y="102"/>
                    <a:pt x="1637" y="102"/>
                  </a:cubicBezTo>
                  <a:cubicBezTo>
                    <a:pt x="1635" y="101"/>
                    <a:pt x="1632" y="101"/>
                    <a:pt x="1629" y="101"/>
                  </a:cubicBezTo>
                  <a:cubicBezTo>
                    <a:pt x="1627" y="101"/>
                    <a:pt x="1627" y="102"/>
                    <a:pt x="1627" y="100"/>
                  </a:cubicBezTo>
                  <a:cubicBezTo>
                    <a:pt x="1627" y="69"/>
                    <a:pt x="1627" y="39"/>
                    <a:pt x="1627" y="9"/>
                  </a:cubicBezTo>
                  <a:cubicBezTo>
                    <a:pt x="1627" y="7"/>
                    <a:pt x="1627" y="7"/>
                    <a:pt x="1629" y="7"/>
                  </a:cubicBezTo>
                  <a:cubicBezTo>
                    <a:pt x="1640" y="7"/>
                    <a:pt x="1650" y="7"/>
                    <a:pt x="1660" y="8"/>
                  </a:cubicBezTo>
                  <a:cubicBezTo>
                    <a:pt x="1659" y="7"/>
                    <a:pt x="1659" y="7"/>
                    <a:pt x="1658" y="7"/>
                  </a:cubicBezTo>
                  <a:close/>
                  <a:moveTo>
                    <a:pt x="828" y="43"/>
                  </a:moveTo>
                  <a:cubicBezTo>
                    <a:pt x="828" y="40"/>
                    <a:pt x="828" y="38"/>
                    <a:pt x="828" y="36"/>
                  </a:cubicBezTo>
                  <a:cubicBezTo>
                    <a:pt x="828" y="34"/>
                    <a:pt x="828" y="34"/>
                    <a:pt x="826" y="34"/>
                  </a:cubicBezTo>
                  <a:cubicBezTo>
                    <a:pt x="824" y="34"/>
                    <a:pt x="822" y="34"/>
                    <a:pt x="819" y="34"/>
                  </a:cubicBezTo>
                  <a:cubicBezTo>
                    <a:pt x="817" y="34"/>
                    <a:pt x="817" y="34"/>
                    <a:pt x="817" y="36"/>
                  </a:cubicBezTo>
                  <a:cubicBezTo>
                    <a:pt x="817" y="57"/>
                    <a:pt x="817" y="78"/>
                    <a:pt x="817" y="100"/>
                  </a:cubicBezTo>
                  <a:cubicBezTo>
                    <a:pt x="817" y="100"/>
                    <a:pt x="817" y="100"/>
                    <a:pt x="817" y="101"/>
                  </a:cubicBezTo>
                  <a:cubicBezTo>
                    <a:pt x="817" y="102"/>
                    <a:pt x="817" y="102"/>
                    <a:pt x="818" y="102"/>
                  </a:cubicBezTo>
                  <a:cubicBezTo>
                    <a:pt x="821" y="102"/>
                    <a:pt x="824" y="102"/>
                    <a:pt x="827" y="102"/>
                  </a:cubicBezTo>
                  <a:cubicBezTo>
                    <a:pt x="828" y="102"/>
                    <a:pt x="828" y="102"/>
                    <a:pt x="828" y="100"/>
                  </a:cubicBezTo>
                  <a:cubicBezTo>
                    <a:pt x="828" y="97"/>
                    <a:pt x="828" y="94"/>
                    <a:pt x="828" y="91"/>
                  </a:cubicBezTo>
                  <a:cubicBezTo>
                    <a:pt x="828" y="82"/>
                    <a:pt x="828" y="72"/>
                    <a:pt x="828" y="63"/>
                  </a:cubicBezTo>
                  <a:cubicBezTo>
                    <a:pt x="828" y="63"/>
                    <a:pt x="828" y="64"/>
                    <a:pt x="828" y="64"/>
                  </a:cubicBezTo>
                  <a:cubicBezTo>
                    <a:pt x="828" y="67"/>
                    <a:pt x="828" y="70"/>
                    <a:pt x="828" y="73"/>
                  </a:cubicBezTo>
                  <a:cubicBezTo>
                    <a:pt x="828" y="82"/>
                    <a:pt x="828" y="91"/>
                    <a:pt x="828" y="100"/>
                  </a:cubicBezTo>
                  <a:cubicBezTo>
                    <a:pt x="828" y="102"/>
                    <a:pt x="828" y="101"/>
                    <a:pt x="826" y="101"/>
                  </a:cubicBezTo>
                  <a:cubicBezTo>
                    <a:pt x="824" y="101"/>
                    <a:pt x="821" y="101"/>
                    <a:pt x="819" y="101"/>
                  </a:cubicBezTo>
                  <a:cubicBezTo>
                    <a:pt x="817" y="101"/>
                    <a:pt x="817" y="102"/>
                    <a:pt x="817" y="99"/>
                  </a:cubicBezTo>
                  <a:cubicBezTo>
                    <a:pt x="817" y="78"/>
                    <a:pt x="817" y="57"/>
                    <a:pt x="817" y="36"/>
                  </a:cubicBezTo>
                  <a:cubicBezTo>
                    <a:pt x="817" y="36"/>
                    <a:pt x="817" y="36"/>
                    <a:pt x="817" y="35"/>
                  </a:cubicBezTo>
                  <a:cubicBezTo>
                    <a:pt x="817" y="34"/>
                    <a:pt x="817" y="34"/>
                    <a:pt x="818" y="34"/>
                  </a:cubicBezTo>
                  <a:cubicBezTo>
                    <a:pt x="821" y="34"/>
                    <a:pt x="824" y="34"/>
                    <a:pt x="827" y="34"/>
                  </a:cubicBezTo>
                  <a:cubicBezTo>
                    <a:pt x="828" y="34"/>
                    <a:pt x="828" y="35"/>
                    <a:pt x="828" y="36"/>
                  </a:cubicBezTo>
                  <a:cubicBezTo>
                    <a:pt x="828" y="38"/>
                    <a:pt x="828" y="41"/>
                    <a:pt x="828" y="43"/>
                  </a:cubicBezTo>
                  <a:cubicBezTo>
                    <a:pt x="828" y="44"/>
                    <a:pt x="828" y="44"/>
                    <a:pt x="828" y="44"/>
                  </a:cubicBezTo>
                  <a:cubicBezTo>
                    <a:pt x="828" y="45"/>
                    <a:pt x="828" y="45"/>
                    <a:pt x="828" y="45"/>
                  </a:cubicBezTo>
                  <a:cubicBezTo>
                    <a:pt x="828" y="45"/>
                    <a:pt x="828" y="44"/>
                    <a:pt x="828" y="44"/>
                  </a:cubicBezTo>
                  <a:cubicBezTo>
                    <a:pt x="828" y="44"/>
                    <a:pt x="828" y="43"/>
                    <a:pt x="828" y="43"/>
                  </a:cubicBezTo>
                  <a:close/>
                  <a:moveTo>
                    <a:pt x="1288" y="44"/>
                  </a:moveTo>
                  <a:cubicBezTo>
                    <a:pt x="1288" y="42"/>
                    <a:pt x="1288" y="39"/>
                    <a:pt x="1288" y="36"/>
                  </a:cubicBezTo>
                  <a:cubicBezTo>
                    <a:pt x="1288" y="34"/>
                    <a:pt x="1288" y="34"/>
                    <a:pt x="1286" y="34"/>
                  </a:cubicBezTo>
                  <a:cubicBezTo>
                    <a:pt x="1284" y="34"/>
                    <a:pt x="1281" y="34"/>
                    <a:pt x="1279" y="34"/>
                  </a:cubicBezTo>
                  <a:cubicBezTo>
                    <a:pt x="1277" y="34"/>
                    <a:pt x="1277" y="34"/>
                    <a:pt x="1277" y="36"/>
                  </a:cubicBezTo>
                  <a:cubicBezTo>
                    <a:pt x="1277" y="57"/>
                    <a:pt x="1277" y="78"/>
                    <a:pt x="1277" y="100"/>
                  </a:cubicBezTo>
                  <a:cubicBezTo>
                    <a:pt x="1277" y="100"/>
                    <a:pt x="1277" y="100"/>
                    <a:pt x="1277" y="101"/>
                  </a:cubicBezTo>
                  <a:cubicBezTo>
                    <a:pt x="1277" y="102"/>
                    <a:pt x="1277" y="102"/>
                    <a:pt x="1278" y="102"/>
                  </a:cubicBezTo>
                  <a:cubicBezTo>
                    <a:pt x="1281" y="102"/>
                    <a:pt x="1284" y="102"/>
                    <a:pt x="1287" y="102"/>
                  </a:cubicBezTo>
                  <a:cubicBezTo>
                    <a:pt x="1287" y="102"/>
                    <a:pt x="1288" y="102"/>
                    <a:pt x="1288" y="101"/>
                  </a:cubicBezTo>
                  <a:cubicBezTo>
                    <a:pt x="1285" y="101"/>
                    <a:pt x="1282" y="101"/>
                    <a:pt x="1279" y="101"/>
                  </a:cubicBezTo>
                  <a:cubicBezTo>
                    <a:pt x="1277" y="101"/>
                    <a:pt x="1277" y="102"/>
                    <a:pt x="1277" y="100"/>
                  </a:cubicBezTo>
                  <a:cubicBezTo>
                    <a:pt x="1277" y="78"/>
                    <a:pt x="1277" y="57"/>
                    <a:pt x="1277" y="36"/>
                  </a:cubicBezTo>
                  <a:cubicBezTo>
                    <a:pt x="1277" y="36"/>
                    <a:pt x="1277" y="36"/>
                    <a:pt x="1277" y="35"/>
                  </a:cubicBezTo>
                  <a:cubicBezTo>
                    <a:pt x="1277" y="35"/>
                    <a:pt x="1277" y="34"/>
                    <a:pt x="1278" y="34"/>
                  </a:cubicBezTo>
                  <a:cubicBezTo>
                    <a:pt x="1281" y="34"/>
                    <a:pt x="1284" y="34"/>
                    <a:pt x="1287" y="34"/>
                  </a:cubicBezTo>
                  <a:cubicBezTo>
                    <a:pt x="1288" y="34"/>
                    <a:pt x="1288" y="34"/>
                    <a:pt x="1288" y="36"/>
                  </a:cubicBezTo>
                  <a:cubicBezTo>
                    <a:pt x="1288" y="39"/>
                    <a:pt x="1288" y="43"/>
                    <a:pt x="1288" y="46"/>
                  </a:cubicBezTo>
                  <a:cubicBezTo>
                    <a:pt x="1288" y="47"/>
                    <a:pt x="1288" y="47"/>
                    <a:pt x="1288" y="48"/>
                  </a:cubicBezTo>
                  <a:cubicBezTo>
                    <a:pt x="1288" y="47"/>
                    <a:pt x="1289" y="47"/>
                    <a:pt x="1289" y="46"/>
                  </a:cubicBezTo>
                  <a:cubicBezTo>
                    <a:pt x="1288" y="46"/>
                    <a:pt x="1288" y="45"/>
                    <a:pt x="1288" y="44"/>
                  </a:cubicBezTo>
                  <a:close/>
                  <a:moveTo>
                    <a:pt x="1510" y="100"/>
                  </a:moveTo>
                  <a:cubicBezTo>
                    <a:pt x="1510" y="69"/>
                    <a:pt x="1510" y="38"/>
                    <a:pt x="1510" y="7"/>
                  </a:cubicBezTo>
                  <a:cubicBezTo>
                    <a:pt x="1510" y="7"/>
                    <a:pt x="1510" y="6"/>
                    <a:pt x="1510" y="6"/>
                  </a:cubicBezTo>
                  <a:cubicBezTo>
                    <a:pt x="1510" y="6"/>
                    <a:pt x="1510" y="5"/>
                    <a:pt x="1510" y="5"/>
                  </a:cubicBezTo>
                  <a:cubicBezTo>
                    <a:pt x="1508" y="5"/>
                    <a:pt x="1507" y="5"/>
                    <a:pt x="1505" y="5"/>
                  </a:cubicBezTo>
                  <a:cubicBezTo>
                    <a:pt x="1507" y="5"/>
                    <a:pt x="1508" y="5"/>
                    <a:pt x="1509" y="5"/>
                  </a:cubicBezTo>
                  <a:cubicBezTo>
                    <a:pt x="1510" y="5"/>
                    <a:pt x="1510" y="5"/>
                    <a:pt x="1510" y="6"/>
                  </a:cubicBezTo>
                  <a:cubicBezTo>
                    <a:pt x="1510" y="7"/>
                    <a:pt x="1510" y="7"/>
                    <a:pt x="1510" y="7"/>
                  </a:cubicBezTo>
                  <a:cubicBezTo>
                    <a:pt x="1510" y="38"/>
                    <a:pt x="1510" y="69"/>
                    <a:pt x="1510" y="100"/>
                  </a:cubicBezTo>
                  <a:cubicBezTo>
                    <a:pt x="1510" y="100"/>
                    <a:pt x="1510" y="101"/>
                    <a:pt x="1510" y="101"/>
                  </a:cubicBezTo>
                  <a:cubicBezTo>
                    <a:pt x="1511" y="101"/>
                    <a:pt x="1510" y="100"/>
                    <a:pt x="1510" y="100"/>
                  </a:cubicBezTo>
                  <a:close/>
                  <a:moveTo>
                    <a:pt x="902" y="100"/>
                  </a:moveTo>
                  <a:cubicBezTo>
                    <a:pt x="902" y="100"/>
                    <a:pt x="902" y="101"/>
                    <a:pt x="902" y="101"/>
                  </a:cubicBezTo>
                  <a:cubicBezTo>
                    <a:pt x="902" y="102"/>
                    <a:pt x="902" y="102"/>
                    <a:pt x="902" y="102"/>
                  </a:cubicBezTo>
                  <a:cubicBezTo>
                    <a:pt x="906" y="102"/>
                    <a:pt x="909" y="102"/>
                    <a:pt x="912" y="102"/>
                  </a:cubicBezTo>
                  <a:cubicBezTo>
                    <a:pt x="912" y="102"/>
                    <a:pt x="913" y="102"/>
                    <a:pt x="913" y="101"/>
                  </a:cubicBezTo>
                  <a:cubicBezTo>
                    <a:pt x="913" y="101"/>
                    <a:pt x="913" y="100"/>
                    <a:pt x="913" y="100"/>
                  </a:cubicBezTo>
                  <a:cubicBezTo>
                    <a:pt x="913" y="85"/>
                    <a:pt x="913" y="71"/>
                    <a:pt x="913" y="56"/>
                  </a:cubicBezTo>
                  <a:cubicBezTo>
                    <a:pt x="913" y="56"/>
                    <a:pt x="913" y="55"/>
                    <a:pt x="912" y="55"/>
                  </a:cubicBezTo>
                  <a:cubicBezTo>
                    <a:pt x="912" y="56"/>
                    <a:pt x="912" y="58"/>
                    <a:pt x="912" y="60"/>
                  </a:cubicBezTo>
                  <a:cubicBezTo>
                    <a:pt x="912" y="73"/>
                    <a:pt x="912" y="86"/>
                    <a:pt x="912" y="99"/>
                  </a:cubicBezTo>
                  <a:cubicBezTo>
                    <a:pt x="912" y="100"/>
                    <a:pt x="912" y="100"/>
                    <a:pt x="912" y="100"/>
                  </a:cubicBezTo>
                  <a:cubicBezTo>
                    <a:pt x="913" y="101"/>
                    <a:pt x="912" y="102"/>
                    <a:pt x="911" y="102"/>
                  </a:cubicBezTo>
                  <a:cubicBezTo>
                    <a:pt x="909" y="101"/>
                    <a:pt x="906" y="101"/>
                    <a:pt x="903" y="101"/>
                  </a:cubicBezTo>
                  <a:cubicBezTo>
                    <a:pt x="902" y="102"/>
                    <a:pt x="902" y="101"/>
                    <a:pt x="902" y="101"/>
                  </a:cubicBezTo>
                  <a:cubicBezTo>
                    <a:pt x="902" y="100"/>
                    <a:pt x="902" y="100"/>
                    <a:pt x="902" y="99"/>
                  </a:cubicBezTo>
                  <a:cubicBezTo>
                    <a:pt x="902" y="87"/>
                    <a:pt x="902" y="75"/>
                    <a:pt x="902" y="63"/>
                  </a:cubicBezTo>
                  <a:cubicBezTo>
                    <a:pt x="902" y="62"/>
                    <a:pt x="902" y="62"/>
                    <a:pt x="902" y="61"/>
                  </a:cubicBezTo>
                  <a:cubicBezTo>
                    <a:pt x="902" y="74"/>
                    <a:pt x="902" y="87"/>
                    <a:pt x="902" y="100"/>
                  </a:cubicBezTo>
                  <a:close/>
                  <a:moveTo>
                    <a:pt x="1499" y="23"/>
                  </a:moveTo>
                  <a:cubicBezTo>
                    <a:pt x="1499" y="49"/>
                    <a:pt x="1499" y="74"/>
                    <a:pt x="1499" y="99"/>
                  </a:cubicBezTo>
                  <a:cubicBezTo>
                    <a:pt x="1499" y="100"/>
                    <a:pt x="1499" y="100"/>
                    <a:pt x="1499" y="100"/>
                  </a:cubicBezTo>
                  <a:cubicBezTo>
                    <a:pt x="1499" y="102"/>
                    <a:pt x="1499" y="102"/>
                    <a:pt x="1500" y="102"/>
                  </a:cubicBezTo>
                  <a:cubicBezTo>
                    <a:pt x="1503" y="102"/>
                    <a:pt x="1506" y="102"/>
                    <a:pt x="1509" y="102"/>
                  </a:cubicBezTo>
                  <a:cubicBezTo>
                    <a:pt x="1509" y="102"/>
                    <a:pt x="1510" y="102"/>
                    <a:pt x="1510" y="101"/>
                  </a:cubicBezTo>
                  <a:cubicBezTo>
                    <a:pt x="1507" y="101"/>
                    <a:pt x="1504" y="101"/>
                    <a:pt x="1501" y="101"/>
                  </a:cubicBezTo>
                  <a:cubicBezTo>
                    <a:pt x="1499" y="101"/>
                    <a:pt x="1499" y="101"/>
                    <a:pt x="1499" y="99"/>
                  </a:cubicBezTo>
                  <a:cubicBezTo>
                    <a:pt x="1499" y="74"/>
                    <a:pt x="1499" y="48"/>
                    <a:pt x="1499" y="22"/>
                  </a:cubicBezTo>
                  <a:cubicBezTo>
                    <a:pt x="1499" y="22"/>
                    <a:pt x="1499" y="21"/>
                    <a:pt x="1499" y="21"/>
                  </a:cubicBezTo>
                  <a:cubicBezTo>
                    <a:pt x="1499" y="20"/>
                    <a:pt x="1499" y="21"/>
                    <a:pt x="1498" y="21"/>
                  </a:cubicBezTo>
                  <a:cubicBezTo>
                    <a:pt x="1499" y="22"/>
                    <a:pt x="1499" y="22"/>
                    <a:pt x="1499" y="23"/>
                  </a:cubicBezTo>
                  <a:close/>
                  <a:moveTo>
                    <a:pt x="1174" y="19"/>
                  </a:moveTo>
                  <a:cubicBezTo>
                    <a:pt x="1174" y="23"/>
                    <a:pt x="1174" y="28"/>
                    <a:pt x="1174" y="32"/>
                  </a:cubicBezTo>
                  <a:cubicBezTo>
                    <a:pt x="1174" y="34"/>
                    <a:pt x="1174" y="34"/>
                    <a:pt x="1172" y="34"/>
                  </a:cubicBezTo>
                  <a:cubicBezTo>
                    <a:pt x="1169" y="34"/>
                    <a:pt x="1167" y="34"/>
                    <a:pt x="1164" y="34"/>
                  </a:cubicBezTo>
                  <a:cubicBezTo>
                    <a:pt x="1163" y="34"/>
                    <a:pt x="1163" y="34"/>
                    <a:pt x="1163" y="35"/>
                  </a:cubicBezTo>
                  <a:cubicBezTo>
                    <a:pt x="1163" y="38"/>
                    <a:pt x="1163" y="40"/>
                    <a:pt x="1163" y="42"/>
                  </a:cubicBezTo>
                  <a:cubicBezTo>
                    <a:pt x="1163" y="44"/>
                    <a:pt x="1163" y="44"/>
                    <a:pt x="1164" y="44"/>
                  </a:cubicBezTo>
                  <a:cubicBezTo>
                    <a:pt x="1167" y="44"/>
                    <a:pt x="1170" y="44"/>
                    <a:pt x="1173" y="44"/>
                  </a:cubicBezTo>
                  <a:cubicBezTo>
                    <a:pt x="1174" y="44"/>
                    <a:pt x="1174" y="44"/>
                    <a:pt x="1174" y="45"/>
                  </a:cubicBezTo>
                  <a:cubicBezTo>
                    <a:pt x="1174" y="45"/>
                    <a:pt x="1174" y="46"/>
                    <a:pt x="1174" y="46"/>
                  </a:cubicBezTo>
                  <a:cubicBezTo>
                    <a:pt x="1174" y="59"/>
                    <a:pt x="1174" y="71"/>
                    <a:pt x="1174" y="84"/>
                  </a:cubicBezTo>
                  <a:cubicBezTo>
                    <a:pt x="1174" y="84"/>
                    <a:pt x="1174" y="85"/>
                    <a:pt x="1174" y="85"/>
                  </a:cubicBezTo>
                  <a:cubicBezTo>
                    <a:pt x="1174" y="84"/>
                    <a:pt x="1174" y="83"/>
                    <a:pt x="1174" y="82"/>
                  </a:cubicBezTo>
                  <a:cubicBezTo>
                    <a:pt x="1174" y="70"/>
                    <a:pt x="1174" y="57"/>
                    <a:pt x="1174" y="45"/>
                  </a:cubicBezTo>
                  <a:cubicBezTo>
                    <a:pt x="1174" y="43"/>
                    <a:pt x="1174" y="43"/>
                    <a:pt x="1173" y="43"/>
                  </a:cubicBezTo>
                  <a:cubicBezTo>
                    <a:pt x="1170" y="43"/>
                    <a:pt x="1167" y="43"/>
                    <a:pt x="1164" y="43"/>
                  </a:cubicBezTo>
                  <a:cubicBezTo>
                    <a:pt x="1163" y="43"/>
                    <a:pt x="1163" y="43"/>
                    <a:pt x="1163" y="42"/>
                  </a:cubicBezTo>
                  <a:cubicBezTo>
                    <a:pt x="1163" y="40"/>
                    <a:pt x="1163" y="38"/>
                    <a:pt x="1163" y="35"/>
                  </a:cubicBezTo>
                  <a:cubicBezTo>
                    <a:pt x="1163" y="34"/>
                    <a:pt x="1163" y="34"/>
                    <a:pt x="1164" y="34"/>
                  </a:cubicBezTo>
                  <a:cubicBezTo>
                    <a:pt x="1167" y="34"/>
                    <a:pt x="1170" y="34"/>
                    <a:pt x="1173" y="34"/>
                  </a:cubicBezTo>
                  <a:cubicBezTo>
                    <a:pt x="1174" y="34"/>
                    <a:pt x="1174" y="34"/>
                    <a:pt x="1174" y="33"/>
                  </a:cubicBezTo>
                  <a:cubicBezTo>
                    <a:pt x="1174" y="28"/>
                    <a:pt x="1174" y="24"/>
                    <a:pt x="1174" y="19"/>
                  </a:cubicBezTo>
                  <a:cubicBezTo>
                    <a:pt x="1174" y="19"/>
                    <a:pt x="1174" y="18"/>
                    <a:pt x="1175" y="18"/>
                  </a:cubicBezTo>
                  <a:cubicBezTo>
                    <a:pt x="1174" y="18"/>
                    <a:pt x="1174" y="18"/>
                    <a:pt x="1174" y="19"/>
                  </a:cubicBezTo>
                  <a:close/>
                  <a:moveTo>
                    <a:pt x="1110" y="43"/>
                  </a:moveTo>
                  <a:cubicBezTo>
                    <a:pt x="1110" y="40"/>
                    <a:pt x="1110" y="38"/>
                    <a:pt x="1110" y="36"/>
                  </a:cubicBezTo>
                  <a:cubicBezTo>
                    <a:pt x="1110" y="34"/>
                    <a:pt x="1110" y="34"/>
                    <a:pt x="1109" y="34"/>
                  </a:cubicBezTo>
                  <a:cubicBezTo>
                    <a:pt x="1106" y="34"/>
                    <a:pt x="1103" y="34"/>
                    <a:pt x="1101" y="34"/>
                  </a:cubicBezTo>
                  <a:cubicBezTo>
                    <a:pt x="1099" y="34"/>
                    <a:pt x="1099" y="34"/>
                    <a:pt x="1099" y="36"/>
                  </a:cubicBezTo>
                  <a:cubicBezTo>
                    <a:pt x="1099" y="36"/>
                    <a:pt x="1099" y="36"/>
                    <a:pt x="1099" y="37"/>
                  </a:cubicBezTo>
                  <a:cubicBezTo>
                    <a:pt x="1099" y="57"/>
                    <a:pt x="1099" y="78"/>
                    <a:pt x="1099" y="99"/>
                  </a:cubicBezTo>
                  <a:cubicBezTo>
                    <a:pt x="1099" y="100"/>
                    <a:pt x="1099" y="100"/>
                    <a:pt x="1099" y="101"/>
                  </a:cubicBezTo>
                  <a:cubicBezTo>
                    <a:pt x="1099" y="101"/>
                    <a:pt x="1099" y="101"/>
                    <a:pt x="1099" y="101"/>
                  </a:cubicBezTo>
                  <a:cubicBezTo>
                    <a:pt x="1099" y="101"/>
                    <a:pt x="1099" y="100"/>
                    <a:pt x="1099" y="100"/>
                  </a:cubicBezTo>
                  <a:cubicBezTo>
                    <a:pt x="1099" y="78"/>
                    <a:pt x="1099" y="57"/>
                    <a:pt x="1099" y="36"/>
                  </a:cubicBezTo>
                  <a:cubicBezTo>
                    <a:pt x="1099" y="36"/>
                    <a:pt x="1099" y="36"/>
                    <a:pt x="1099" y="35"/>
                  </a:cubicBezTo>
                  <a:cubicBezTo>
                    <a:pt x="1099" y="35"/>
                    <a:pt x="1099" y="34"/>
                    <a:pt x="1100" y="34"/>
                  </a:cubicBezTo>
                  <a:cubicBezTo>
                    <a:pt x="1103" y="34"/>
                    <a:pt x="1106" y="34"/>
                    <a:pt x="1109" y="34"/>
                  </a:cubicBezTo>
                  <a:cubicBezTo>
                    <a:pt x="1110" y="34"/>
                    <a:pt x="1110" y="35"/>
                    <a:pt x="1110" y="35"/>
                  </a:cubicBezTo>
                  <a:cubicBezTo>
                    <a:pt x="1110" y="38"/>
                    <a:pt x="1110" y="41"/>
                    <a:pt x="1110" y="44"/>
                  </a:cubicBezTo>
                  <a:cubicBezTo>
                    <a:pt x="1110" y="45"/>
                    <a:pt x="1110" y="45"/>
                    <a:pt x="1110" y="45"/>
                  </a:cubicBezTo>
                  <a:cubicBezTo>
                    <a:pt x="1111" y="45"/>
                    <a:pt x="1111" y="45"/>
                    <a:pt x="1111" y="44"/>
                  </a:cubicBezTo>
                  <a:cubicBezTo>
                    <a:pt x="1110" y="44"/>
                    <a:pt x="1110" y="43"/>
                    <a:pt x="1110" y="43"/>
                  </a:cubicBezTo>
                  <a:close/>
                  <a:moveTo>
                    <a:pt x="1343" y="95"/>
                  </a:moveTo>
                  <a:cubicBezTo>
                    <a:pt x="1343" y="97"/>
                    <a:pt x="1343" y="98"/>
                    <a:pt x="1343" y="100"/>
                  </a:cubicBezTo>
                  <a:cubicBezTo>
                    <a:pt x="1343" y="102"/>
                    <a:pt x="1342" y="102"/>
                    <a:pt x="1345" y="102"/>
                  </a:cubicBezTo>
                  <a:cubicBezTo>
                    <a:pt x="1363" y="102"/>
                    <a:pt x="1381" y="102"/>
                    <a:pt x="1399" y="102"/>
                  </a:cubicBezTo>
                  <a:cubicBezTo>
                    <a:pt x="1399" y="102"/>
                    <a:pt x="1400" y="102"/>
                    <a:pt x="1400" y="102"/>
                  </a:cubicBezTo>
                  <a:cubicBezTo>
                    <a:pt x="1401" y="102"/>
                    <a:pt x="1401" y="102"/>
                    <a:pt x="1401" y="101"/>
                  </a:cubicBezTo>
                  <a:cubicBezTo>
                    <a:pt x="1400" y="101"/>
                    <a:pt x="1400" y="101"/>
                    <a:pt x="1399" y="101"/>
                  </a:cubicBezTo>
                  <a:cubicBezTo>
                    <a:pt x="1381" y="101"/>
                    <a:pt x="1363" y="101"/>
                    <a:pt x="1345" y="101"/>
                  </a:cubicBezTo>
                  <a:cubicBezTo>
                    <a:pt x="1343" y="101"/>
                    <a:pt x="1343" y="101"/>
                    <a:pt x="1343" y="99"/>
                  </a:cubicBezTo>
                  <a:cubicBezTo>
                    <a:pt x="1343" y="97"/>
                    <a:pt x="1343" y="95"/>
                    <a:pt x="1343" y="94"/>
                  </a:cubicBezTo>
                  <a:cubicBezTo>
                    <a:pt x="1342" y="94"/>
                    <a:pt x="1343" y="94"/>
                    <a:pt x="1343" y="95"/>
                  </a:cubicBezTo>
                  <a:close/>
                  <a:moveTo>
                    <a:pt x="1041" y="72"/>
                  </a:moveTo>
                  <a:cubicBezTo>
                    <a:pt x="1041" y="71"/>
                    <a:pt x="1041" y="71"/>
                    <a:pt x="1042" y="71"/>
                  </a:cubicBezTo>
                  <a:cubicBezTo>
                    <a:pt x="1043" y="71"/>
                    <a:pt x="1043" y="71"/>
                    <a:pt x="1044" y="71"/>
                  </a:cubicBezTo>
                  <a:cubicBezTo>
                    <a:pt x="1058" y="71"/>
                    <a:pt x="1072" y="71"/>
                    <a:pt x="1086" y="71"/>
                  </a:cubicBezTo>
                  <a:cubicBezTo>
                    <a:pt x="1086" y="71"/>
                    <a:pt x="1086" y="71"/>
                    <a:pt x="1087" y="71"/>
                  </a:cubicBezTo>
                  <a:cubicBezTo>
                    <a:pt x="1088" y="71"/>
                    <a:pt x="1088" y="71"/>
                    <a:pt x="1088" y="70"/>
                  </a:cubicBezTo>
                  <a:cubicBezTo>
                    <a:pt x="1088" y="67"/>
                    <a:pt x="1088" y="64"/>
                    <a:pt x="1088" y="62"/>
                  </a:cubicBezTo>
                  <a:cubicBezTo>
                    <a:pt x="1088" y="61"/>
                    <a:pt x="1088" y="61"/>
                    <a:pt x="1088" y="60"/>
                  </a:cubicBezTo>
                  <a:cubicBezTo>
                    <a:pt x="1088" y="63"/>
                    <a:pt x="1088" y="66"/>
                    <a:pt x="1088" y="69"/>
                  </a:cubicBezTo>
                  <a:cubicBezTo>
                    <a:pt x="1088" y="71"/>
                    <a:pt x="1088" y="71"/>
                    <a:pt x="1086" y="71"/>
                  </a:cubicBezTo>
                  <a:cubicBezTo>
                    <a:pt x="1086" y="71"/>
                    <a:pt x="1086" y="71"/>
                    <a:pt x="1085" y="71"/>
                  </a:cubicBezTo>
                  <a:cubicBezTo>
                    <a:pt x="1071" y="71"/>
                    <a:pt x="1057" y="71"/>
                    <a:pt x="1043" y="71"/>
                  </a:cubicBezTo>
                  <a:cubicBezTo>
                    <a:pt x="1040" y="71"/>
                    <a:pt x="1040" y="71"/>
                    <a:pt x="1041" y="73"/>
                  </a:cubicBezTo>
                  <a:cubicBezTo>
                    <a:pt x="1041" y="73"/>
                    <a:pt x="1041" y="73"/>
                    <a:pt x="1041" y="72"/>
                  </a:cubicBezTo>
                  <a:close/>
                  <a:moveTo>
                    <a:pt x="1219" y="72"/>
                  </a:moveTo>
                  <a:cubicBezTo>
                    <a:pt x="1219" y="71"/>
                    <a:pt x="1219" y="71"/>
                    <a:pt x="1220" y="71"/>
                  </a:cubicBezTo>
                  <a:cubicBezTo>
                    <a:pt x="1220" y="71"/>
                    <a:pt x="1221" y="71"/>
                    <a:pt x="1221" y="71"/>
                  </a:cubicBezTo>
                  <a:cubicBezTo>
                    <a:pt x="1235" y="71"/>
                    <a:pt x="1249" y="71"/>
                    <a:pt x="1263" y="71"/>
                  </a:cubicBezTo>
                  <a:cubicBezTo>
                    <a:pt x="1264" y="71"/>
                    <a:pt x="1264" y="71"/>
                    <a:pt x="1265" y="71"/>
                  </a:cubicBezTo>
                  <a:cubicBezTo>
                    <a:pt x="1266" y="71"/>
                    <a:pt x="1266" y="71"/>
                    <a:pt x="1266" y="70"/>
                  </a:cubicBezTo>
                  <a:cubicBezTo>
                    <a:pt x="1266" y="67"/>
                    <a:pt x="1266" y="65"/>
                    <a:pt x="1266" y="62"/>
                  </a:cubicBezTo>
                  <a:cubicBezTo>
                    <a:pt x="1266" y="62"/>
                    <a:pt x="1266" y="61"/>
                    <a:pt x="1266" y="61"/>
                  </a:cubicBezTo>
                  <a:cubicBezTo>
                    <a:pt x="1266" y="64"/>
                    <a:pt x="1266" y="66"/>
                    <a:pt x="1266" y="69"/>
                  </a:cubicBezTo>
                  <a:cubicBezTo>
                    <a:pt x="1266" y="71"/>
                    <a:pt x="1266" y="71"/>
                    <a:pt x="1264" y="71"/>
                  </a:cubicBezTo>
                  <a:cubicBezTo>
                    <a:pt x="1250" y="71"/>
                    <a:pt x="1235" y="71"/>
                    <a:pt x="1221" y="71"/>
                  </a:cubicBezTo>
                  <a:cubicBezTo>
                    <a:pt x="1218" y="71"/>
                    <a:pt x="1218" y="71"/>
                    <a:pt x="1218" y="74"/>
                  </a:cubicBezTo>
                  <a:cubicBezTo>
                    <a:pt x="1218" y="74"/>
                    <a:pt x="1219" y="74"/>
                    <a:pt x="1219" y="74"/>
                  </a:cubicBezTo>
                  <a:cubicBezTo>
                    <a:pt x="1219" y="73"/>
                    <a:pt x="1219" y="73"/>
                    <a:pt x="1219" y="72"/>
                  </a:cubicBezTo>
                  <a:close/>
                  <a:moveTo>
                    <a:pt x="1529" y="102"/>
                  </a:moveTo>
                  <a:cubicBezTo>
                    <a:pt x="1547" y="102"/>
                    <a:pt x="1565" y="102"/>
                    <a:pt x="1583" y="102"/>
                  </a:cubicBezTo>
                  <a:cubicBezTo>
                    <a:pt x="1584" y="102"/>
                    <a:pt x="1584" y="102"/>
                    <a:pt x="1584" y="102"/>
                  </a:cubicBezTo>
                  <a:cubicBezTo>
                    <a:pt x="1585" y="102"/>
                    <a:pt x="1585" y="102"/>
                    <a:pt x="1585" y="101"/>
                  </a:cubicBezTo>
                  <a:cubicBezTo>
                    <a:pt x="1585" y="101"/>
                    <a:pt x="1584" y="101"/>
                    <a:pt x="1584" y="101"/>
                  </a:cubicBezTo>
                  <a:cubicBezTo>
                    <a:pt x="1566" y="101"/>
                    <a:pt x="1547" y="101"/>
                    <a:pt x="1529" y="101"/>
                  </a:cubicBezTo>
                  <a:cubicBezTo>
                    <a:pt x="1528" y="101"/>
                    <a:pt x="1528" y="101"/>
                    <a:pt x="1527" y="101"/>
                  </a:cubicBezTo>
                  <a:cubicBezTo>
                    <a:pt x="1528" y="102"/>
                    <a:pt x="1528" y="102"/>
                    <a:pt x="1529" y="102"/>
                  </a:cubicBezTo>
                  <a:close/>
                  <a:moveTo>
                    <a:pt x="1697" y="102"/>
                  </a:moveTo>
                  <a:cubicBezTo>
                    <a:pt x="1715" y="102"/>
                    <a:pt x="1733" y="102"/>
                    <a:pt x="1751" y="102"/>
                  </a:cubicBezTo>
                  <a:cubicBezTo>
                    <a:pt x="1752" y="102"/>
                    <a:pt x="1752" y="102"/>
                    <a:pt x="1753" y="102"/>
                  </a:cubicBezTo>
                  <a:cubicBezTo>
                    <a:pt x="1753" y="102"/>
                    <a:pt x="1753" y="102"/>
                    <a:pt x="1753" y="101"/>
                  </a:cubicBezTo>
                  <a:cubicBezTo>
                    <a:pt x="1753" y="101"/>
                    <a:pt x="1752" y="101"/>
                    <a:pt x="1752" y="101"/>
                  </a:cubicBezTo>
                  <a:cubicBezTo>
                    <a:pt x="1734" y="101"/>
                    <a:pt x="1715" y="101"/>
                    <a:pt x="1697" y="101"/>
                  </a:cubicBezTo>
                  <a:cubicBezTo>
                    <a:pt x="1696" y="101"/>
                    <a:pt x="1696" y="101"/>
                    <a:pt x="1695" y="101"/>
                  </a:cubicBezTo>
                  <a:cubicBezTo>
                    <a:pt x="1696" y="102"/>
                    <a:pt x="1697" y="102"/>
                    <a:pt x="1697" y="102"/>
                  </a:cubicBezTo>
                  <a:close/>
                  <a:moveTo>
                    <a:pt x="1186" y="82"/>
                  </a:moveTo>
                  <a:cubicBezTo>
                    <a:pt x="1186" y="70"/>
                    <a:pt x="1186" y="58"/>
                    <a:pt x="1186" y="46"/>
                  </a:cubicBezTo>
                  <a:cubicBezTo>
                    <a:pt x="1186" y="46"/>
                    <a:pt x="1186" y="46"/>
                    <a:pt x="1186" y="45"/>
                  </a:cubicBezTo>
                  <a:cubicBezTo>
                    <a:pt x="1186" y="44"/>
                    <a:pt x="1186" y="44"/>
                    <a:pt x="1187" y="44"/>
                  </a:cubicBezTo>
                  <a:cubicBezTo>
                    <a:pt x="1188" y="44"/>
                    <a:pt x="1188" y="44"/>
                    <a:pt x="1188" y="44"/>
                  </a:cubicBezTo>
                  <a:cubicBezTo>
                    <a:pt x="1192" y="44"/>
                    <a:pt x="1196" y="44"/>
                    <a:pt x="1201" y="44"/>
                  </a:cubicBezTo>
                  <a:cubicBezTo>
                    <a:pt x="1201" y="44"/>
                    <a:pt x="1202" y="44"/>
                    <a:pt x="1202" y="43"/>
                  </a:cubicBezTo>
                  <a:cubicBezTo>
                    <a:pt x="1202" y="44"/>
                    <a:pt x="1201" y="43"/>
                    <a:pt x="1200" y="43"/>
                  </a:cubicBezTo>
                  <a:cubicBezTo>
                    <a:pt x="1196" y="43"/>
                    <a:pt x="1191" y="43"/>
                    <a:pt x="1187" y="43"/>
                  </a:cubicBezTo>
                  <a:cubicBezTo>
                    <a:pt x="1185" y="43"/>
                    <a:pt x="1185" y="43"/>
                    <a:pt x="1185" y="45"/>
                  </a:cubicBezTo>
                  <a:cubicBezTo>
                    <a:pt x="1185" y="57"/>
                    <a:pt x="1185" y="70"/>
                    <a:pt x="1185" y="83"/>
                  </a:cubicBezTo>
                  <a:cubicBezTo>
                    <a:pt x="1185" y="83"/>
                    <a:pt x="1185" y="84"/>
                    <a:pt x="1186" y="85"/>
                  </a:cubicBezTo>
                  <a:cubicBezTo>
                    <a:pt x="1186" y="84"/>
                    <a:pt x="1186" y="83"/>
                    <a:pt x="1186" y="82"/>
                  </a:cubicBezTo>
                  <a:close/>
                  <a:moveTo>
                    <a:pt x="1145" y="102"/>
                  </a:moveTo>
                  <a:cubicBezTo>
                    <a:pt x="1145" y="102"/>
                    <a:pt x="1146" y="102"/>
                    <a:pt x="1146" y="102"/>
                  </a:cubicBezTo>
                  <a:cubicBezTo>
                    <a:pt x="1149" y="102"/>
                    <a:pt x="1152" y="102"/>
                    <a:pt x="1154" y="102"/>
                  </a:cubicBezTo>
                  <a:cubicBezTo>
                    <a:pt x="1155" y="102"/>
                    <a:pt x="1155" y="102"/>
                    <a:pt x="1155" y="101"/>
                  </a:cubicBezTo>
                  <a:cubicBezTo>
                    <a:pt x="1155" y="100"/>
                    <a:pt x="1155" y="100"/>
                    <a:pt x="1155" y="100"/>
                  </a:cubicBezTo>
                  <a:cubicBezTo>
                    <a:pt x="1155" y="86"/>
                    <a:pt x="1155" y="72"/>
                    <a:pt x="1155" y="58"/>
                  </a:cubicBezTo>
                  <a:cubicBezTo>
                    <a:pt x="1155" y="57"/>
                    <a:pt x="1155" y="56"/>
                    <a:pt x="1155" y="56"/>
                  </a:cubicBezTo>
                  <a:cubicBezTo>
                    <a:pt x="1155" y="57"/>
                    <a:pt x="1155" y="59"/>
                    <a:pt x="1155" y="60"/>
                  </a:cubicBezTo>
                  <a:cubicBezTo>
                    <a:pt x="1155" y="73"/>
                    <a:pt x="1155" y="86"/>
                    <a:pt x="1155" y="100"/>
                  </a:cubicBezTo>
                  <a:cubicBezTo>
                    <a:pt x="1155" y="100"/>
                    <a:pt x="1155" y="100"/>
                    <a:pt x="1155" y="101"/>
                  </a:cubicBezTo>
                  <a:cubicBezTo>
                    <a:pt x="1155" y="101"/>
                    <a:pt x="1155" y="101"/>
                    <a:pt x="1154" y="101"/>
                  </a:cubicBezTo>
                  <a:cubicBezTo>
                    <a:pt x="1151" y="101"/>
                    <a:pt x="1148" y="102"/>
                    <a:pt x="1144" y="101"/>
                  </a:cubicBezTo>
                  <a:cubicBezTo>
                    <a:pt x="1144" y="102"/>
                    <a:pt x="1145" y="102"/>
                    <a:pt x="1145" y="102"/>
                  </a:cubicBezTo>
                  <a:close/>
                  <a:moveTo>
                    <a:pt x="714" y="19"/>
                  </a:moveTo>
                  <a:cubicBezTo>
                    <a:pt x="714" y="24"/>
                    <a:pt x="714" y="28"/>
                    <a:pt x="714" y="33"/>
                  </a:cubicBezTo>
                  <a:cubicBezTo>
                    <a:pt x="714" y="34"/>
                    <a:pt x="714" y="34"/>
                    <a:pt x="713" y="34"/>
                  </a:cubicBezTo>
                  <a:cubicBezTo>
                    <a:pt x="710" y="34"/>
                    <a:pt x="707" y="34"/>
                    <a:pt x="704" y="34"/>
                  </a:cubicBezTo>
                  <a:cubicBezTo>
                    <a:pt x="703" y="34"/>
                    <a:pt x="703" y="34"/>
                    <a:pt x="703" y="35"/>
                  </a:cubicBezTo>
                  <a:cubicBezTo>
                    <a:pt x="703" y="38"/>
                    <a:pt x="703" y="40"/>
                    <a:pt x="703" y="42"/>
                  </a:cubicBezTo>
                  <a:cubicBezTo>
                    <a:pt x="703" y="44"/>
                    <a:pt x="703" y="44"/>
                    <a:pt x="704" y="44"/>
                  </a:cubicBezTo>
                  <a:cubicBezTo>
                    <a:pt x="708" y="44"/>
                    <a:pt x="711" y="44"/>
                    <a:pt x="714" y="44"/>
                  </a:cubicBezTo>
                  <a:cubicBezTo>
                    <a:pt x="714" y="43"/>
                    <a:pt x="713" y="43"/>
                    <a:pt x="713" y="43"/>
                  </a:cubicBezTo>
                  <a:cubicBezTo>
                    <a:pt x="710" y="43"/>
                    <a:pt x="707" y="43"/>
                    <a:pt x="704" y="43"/>
                  </a:cubicBezTo>
                  <a:cubicBezTo>
                    <a:pt x="703" y="43"/>
                    <a:pt x="703" y="43"/>
                    <a:pt x="703" y="42"/>
                  </a:cubicBezTo>
                  <a:cubicBezTo>
                    <a:pt x="703" y="40"/>
                    <a:pt x="703" y="38"/>
                    <a:pt x="703" y="36"/>
                  </a:cubicBezTo>
                  <a:cubicBezTo>
                    <a:pt x="703" y="34"/>
                    <a:pt x="703" y="34"/>
                    <a:pt x="704" y="34"/>
                  </a:cubicBezTo>
                  <a:cubicBezTo>
                    <a:pt x="707" y="34"/>
                    <a:pt x="710" y="34"/>
                    <a:pt x="713" y="34"/>
                  </a:cubicBezTo>
                  <a:cubicBezTo>
                    <a:pt x="714" y="34"/>
                    <a:pt x="714" y="34"/>
                    <a:pt x="715" y="33"/>
                  </a:cubicBezTo>
                  <a:cubicBezTo>
                    <a:pt x="715" y="28"/>
                    <a:pt x="714" y="24"/>
                    <a:pt x="715" y="19"/>
                  </a:cubicBezTo>
                  <a:cubicBezTo>
                    <a:pt x="715" y="19"/>
                    <a:pt x="714" y="18"/>
                    <a:pt x="715" y="18"/>
                  </a:cubicBezTo>
                  <a:cubicBezTo>
                    <a:pt x="714" y="18"/>
                    <a:pt x="714" y="19"/>
                    <a:pt x="714" y="19"/>
                  </a:cubicBezTo>
                  <a:close/>
                  <a:moveTo>
                    <a:pt x="1399" y="91"/>
                  </a:moveTo>
                  <a:cubicBezTo>
                    <a:pt x="1385" y="91"/>
                    <a:pt x="1371" y="91"/>
                    <a:pt x="1357" y="91"/>
                  </a:cubicBezTo>
                  <a:cubicBezTo>
                    <a:pt x="1356" y="91"/>
                    <a:pt x="1356" y="91"/>
                    <a:pt x="1355" y="91"/>
                  </a:cubicBezTo>
                  <a:cubicBezTo>
                    <a:pt x="1355" y="91"/>
                    <a:pt x="1354" y="91"/>
                    <a:pt x="1354" y="91"/>
                  </a:cubicBezTo>
                  <a:cubicBezTo>
                    <a:pt x="1354" y="90"/>
                    <a:pt x="1354" y="90"/>
                    <a:pt x="1354" y="89"/>
                  </a:cubicBezTo>
                  <a:cubicBezTo>
                    <a:pt x="1354" y="92"/>
                    <a:pt x="1354" y="92"/>
                    <a:pt x="1356" y="92"/>
                  </a:cubicBezTo>
                  <a:cubicBezTo>
                    <a:pt x="1370" y="92"/>
                    <a:pt x="1385" y="92"/>
                    <a:pt x="1399" y="92"/>
                  </a:cubicBezTo>
                  <a:cubicBezTo>
                    <a:pt x="1400" y="92"/>
                    <a:pt x="1400" y="92"/>
                    <a:pt x="1401" y="92"/>
                  </a:cubicBezTo>
                  <a:cubicBezTo>
                    <a:pt x="1401" y="91"/>
                    <a:pt x="1400" y="91"/>
                    <a:pt x="1399" y="91"/>
                  </a:cubicBezTo>
                  <a:close/>
                  <a:moveTo>
                    <a:pt x="792" y="71"/>
                  </a:moveTo>
                  <a:cubicBezTo>
                    <a:pt x="796" y="71"/>
                    <a:pt x="800" y="71"/>
                    <a:pt x="804" y="71"/>
                  </a:cubicBezTo>
                  <a:cubicBezTo>
                    <a:pt x="805" y="71"/>
                    <a:pt x="805" y="71"/>
                    <a:pt x="806" y="70"/>
                  </a:cubicBezTo>
                  <a:cubicBezTo>
                    <a:pt x="805" y="71"/>
                    <a:pt x="804" y="71"/>
                    <a:pt x="804" y="71"/>
                  </a:cubicBezTo>
                  <a:cubicBezTo>
                    <a:pt x="789" y="71"/>
                    <a:pt x="775" y="71"/>
                    <a:pt x="760" y="71"/>
                  </a:cubicBezTo>
                  <a:cubicBezTo>
                    <a:pt x="760" y="71"/>
                    <a:pt x="759" y="70"/>
                    <a:pt x="759" y="71"/>
                  </a:cubicBezTo>
                  <a:cubicBezTo>
                    <a:pt x="770" y="71"/>
                    <a:pt x="781" y="71"/>
                    <a:pt x="792" y="71"/>
                  </a:cubicBezTo>
                  <a:close/>
                  <a:moveTo>
                    <a:pt x="1751" y="91"/>
                  </a:moveTo>
                  <a:cubicBezTo>
                    <a:pt x="1736" y="91"/>
                    <a:pt x="1722" y="91"/>
                    <a:pt x="1707" y="91"/>
                  </a:cubicBezTo>
                  <a:cubicBezTo>
                    <a:pt x="1707" y="92"/>
                    <a:pt x="1708" y="92"/>
                    <a:pt x="1708" y="92"/>
                  </a:cubicBezTo>
                  <a:cubicBezTo>
                    <a:pt x="1722" y="92"/>
                    <a:pt x="1735" y="92"/>
                    <a:pt x="1748" y="92"/>
                  </a:cubicBezTo>
                  <a:cubicBezTo>
                    <a:pt x="1750" y="92"/>
                    <a:pt x="1752" y="92"/>
                    <a:pt x="1753" y="92"/>
                  </a:cubicBezTo>
                  <a:cubicBezTo>
                    <a:pt x="1753" y="91"/>
                    <a:pt x="1752" y="91"/>
                    <a:pt x="1751" y="91"/>
                  </a:cubicBezTo>
                  <a:close/>
                  <a:moveTo>
                    <a:pt x="1583" y="91"/>
                  </a:moveTo>
                  <a:cubicBezTo>
                    <a:pt x="1568" y="91"/>
                    <a:pt x="1553" y="91"/>
                    <a:pt x="1539" y="91"/>
                  </a:cubicBezTo>
                  <a:cubicBezTo>
                    <a:pt x="1539" y="92"/>
                    <a:pt x="1540" y="92"/>
                    <a:pt x="1540" y="92"/>
                  </a:cubicBezTo>
                  <a:cubicBezTo>
                    <a:pt x="1554" y="92"/>
                    <a:pt x="1567" y="92"/>
                    <a:pt x="1580" y="92"/>
                  </a:cubicBezTo>
                  <a:cubicBezTo>
                    <a:pt x="1582" y="92"/>
                    <a:pt x="1583" y="92"/>
                    <a:pt x="1585" y="92"/>
                  </a:cubicBezTo>
                  <a:cubicBezTo>
                    <a:pt x="1585" y="91"/>
                    <a:pt x="1584" y="91"/>
                    <a:pt x="1583" y="91"/>
                  </a:cubicBezTo>
                  <a:close/>
                  <a:moveTo>
                    <a:pt x="859" y="81"/>
                  </a:moveTo>
                  <a:cubicBezTo>
                    <a:pt x="859" y="87"/>
                    <a:pt x="859" y="94"/>
                    <a:pt x="859" y="100"/>
                  </a:cubicBezTo>
                  <a:cubicBezTo>
                    <a:pt x="859" y="100"/>
                    <a:pt x="859" y="101"/>
                    <a:pt x="859" y="101"/>
                  </a:cubicBezTo>
                  <a:cubicBezTo>
                    <a:pt x="859" y="101"/>
                    <a:pt x="859" y="100"/>
                    <a:pt x="859" y="99"/>
                  </a:cubicBezTo>
                  <a:cubicBezTo>
                    <a:pt x="859" y="87"/>
                    <a:pt x="859" y="74"/>
                    <a:pt x="859" y="61"/>
                  </a:cubicBezTo>
                  <a:cubicBezTo>
                    <a:pt x="859" y="60"/>
                    <a:pt x="860" y="59"/>
                    <a:pt x="859" y="57"/>
                  </a:cubicBezTo>
                  <a:cubicBezTo>
                    <a:pt x="859" y="65"/>
                    <a:pt x="859" y="73"/>
                    <a:pt x="859" y="81"/>
                  </a:cubicBezTo>
                  <a:close/>
                  <a:moveTo>
                    <a:pt x="714" y="86"/>
                  </a:moveTo>
                  <a:cubicBezTo>
                    <a:pt x="714" y="86"/>
                    <a:pt x="714" y="87"/>
                    <a:pt x="715" y="87"/>
                  </a:cubicBezTo>
                  <a:cubicBezTo>
                    <a:pt x="715" y="85"/>
                    <a:pt x="715" y="83"/>
                    <a:pt x="715" y="81"/>
                  </a:cubicBezTo>
                  <a:cubicBezTo>
                    <a:pt x="714" y="69"/>
                    <a:pt x="715" y="57"/>
                    <a:pt x="714" y="46"/>
                  </a:cubicBezTo>
                  <a:cubicBezTo>
                    <a:pt x="714" y="45"/>
                    <a:pt x="715" y="44"/>
                    <a:pt x="714" y="44"/>
                  </a:cubicBezTo>
                  <a:cubicBezTo>
                    <a:pt x="714" y="58"/>
                    <a:pt x="714" y="72"/>
                    <a:pt x="714" y="86"/>
                  </a:cubicBezTo>
                  <a:close/>
                  <a:moveTo>
                    <a:pt x="741" y="44"/>
                  </a:moveTo>
                  <a:cubicBezTo>
                    <a:pt x="742" y="44"/>
                    <a:pt x="742" y="44"/>
                    <a:pt x="742" y="42"/>
                  </a:cubicBezTo>
                  <a:cubicBezTo>
                    <a:pt x="742" y="40"/>
                    <a:pt x="742" y="38"/>
                    <a:pt x="742" y="36"/>
                  </a:cubicBezTo>
                  <a:cubicBezTo>
                    <a:pt x="742" y="34"/>
                    <a:pt x="742" y="34"/>
                    <a:pt x="741" y="34"/>
                  </a:cubicBezTo>
                  <a:cubicBezTo>
                    <a:pt x="736" y="34"/>
                    <a:pt x="731" y="34"/>
                    <a:pt x="725" y="34"/>
                  </a:cubicBezTo>
                  <a:cubicBezTo>
                    <a:pt x="726" y="35"/>
                    <a:pt x="726" y="34"/>
                    <a:pt x="727" y="34"/>
                  </a:cubicBezTo>
                  <a:cubicBezTo>
                    <a:pt x="732" y="34"/>
                    <a:pt x="736" y="34"/>
                    <a:pt x="741" y="34"/>
                  </a:cubicBezTo>
                  <a:cubicBezTo>
                    <a:pt x="742" y="34"/>
                    <a:pt x="742" y="34"/>
                    <a:pt x="742" y="36"/>
                  </a:cubicBezTo>
                  <a:cubicBezTo>
                    <a:pt x="742" y="38"/>
                    <a:pt x="742" y="40"/>
                    <a:pt x="742" y="42"/>
                  </a:cubicBezTo>
                  <a:cubicBezTo>
                    <a:pt x="742" y="44"/>
                    <a:pt x="742" y="43"/>
                    <a:pt x="741" y="43"/>
                  </a:cubicBezTo>
                  <a:cubicBezTo>
                    <a:pt x="736" y="43"/>
                    <a:pt x="732" y="43"/>
                    <a:pt x="727" y="43"/>
                  </a:cubicBezTo>
                  <a:cubicBezTo>
                    <a:pt x="726" y="43"/>
                    <a:pt x="726" y="43"/>
                    <a:pt x="725" y="44"/>
                  </a:cubicBezTo>
                  <a:cubicBezTo>
                    <a:pt x="731" y="44"/>
                    <a:pt x="736" y="44"/>
                    <a:pt x="741" y="44"/>
                  </a:cubicBezTo>
                  <a:close/>
                  <a:moveTo>
                    <a:pt x="871" y="100"/>
                  </a:moveTo>
                  <a:cubicBezTo>
                    <a:pt x="871" y="93"/>
                    <a:pt x="871" y="87"/>
                    <a:pt x="871" y="80"/>
                  </a:cubicBezTo>
                  <a:cubicBezTo>
                    <a:pt x="871" y="73"/>
                    <a:pt x="871" y="67"/>
                    <a:pt x="871" y="60"/>
                  </a:cubicBezTo>
                  <a:cubicBezTo>
                    <a:pt x="870" y="61"/>
                    <a:pt x="870" y="63"/>
                    <a:pt x="870" y="64"/>
                  </a:cubicBezTo>
                  <a:cubicBezTo>
                    <a:pt x="870" y="76"/>
                    <a:pt x="870" y="88"/>
                    <a:pt x="870" y="99"/>
                  </a:cubicBezTo>
                  <a:cubicBezTo>
                    <a:pt x="870" y="100"/>
                    <a:pt x="870" y="101"/>
                    <a:pt x="870" y="101"/>
                  </a:cubicBezTo>
                  <a:cubicBezTo>
                    <a:pt x="871" y="101"/>
                    <a:pt x="871" y="100"/>
                    <a:pt x="871" y="100"/>
                  </a:cubicBezTo>
                  <a:close/>
                  <a:moveTo>
                    <a:pt x="1110" y="100"/>
                  </a:moveTo>
                  <a:cubicBezTo>
                    <a:pt x="1110" y="93"/>
                    <a:pt x="1110" y="86"/>
                    <a:pt x="1110" y="79"/>
                  </a:cubicBezTo>
                  <a:cubicBezTo>
                    <a:pt x="1110" y="73"/>
                    <a:pt x="1110" y="66"/>
                    <a:pt x="1110" y="60"/>
                  </a:cubicBezTo>
                  <a:cubicBezTo>
                    <a:pt x="1110" y="61"/>
                    <a:pt x="1110" y="63"/>
                    <a:pt x="1110" y="64"/>
                  </a:cubicBezTo>
                  <a:cubicBezTo>
                    <a:pt x="1110" y="76"/>
                    <a:pt x="1110" y="88"/>
                    <a:pt x="1110" y="99"/>
                  </a:cubicBezTo>
                  <a:cubicBezTo>
                    <a:pt x="1110" y="100"/>
                    <a:pt x="1110" y="101"/>
                    <a:pt x="1110" y="101"/>
                  </a:cubicBezTo>
                  <a:cubicBezTo>
                    <a:pt x="1111" y="101"/>
                    <a:pt x="1110" y="100"/>
                    <a:pt x="1110" y="100"/>
                  </a:cubicBezTo>
                  <a:close/>
                  <a:moveTo>
                    <a:pt x="1288" y="100"/>
                  </a:moveTo>
                  <a:cubicBezTo>
                    <a:pt x="1288" y="88"/>
                    <a:pt x="1288" y="75"/>
                    <a:pt x="1288" y="63"/>
                  </a:cubicBezTo>
                  <a:cubicBezTo>
                    <a:pt x="1288" y="64"/>
                    <a:pt x="1288" y="65"/>
                    <a:pt x="1288" y="66"/>
                  </a:cubicBezTo>
                  <a:cubicBezTo>
                    <a:pt x="1288" y="77"/>
                    <a:pt x="1288" y="88"/>
                    <a:pt x="1288" y="99"/>
                  </a:cubicBezTo>
                  <a:cubicBezTo>
                    <a:pt x="1288" y="100"/>
                    <a:pt x="1288" y="101"/>
                    <a:pt x="1288" y="101"/>
                  </a:cubicBezTo>
                  <a:cubicBezTo>
                    <a:pt x="1288" y="101"/>
                    <a:pt x="1288" y="101"/>
                    <a:pt x="1288" y="100"/>
                  </a:cubicBezTo>
                  <a:close/>
                  <a:moveTo>
                    <a:pt x="1201" y="34"/>
                  </a:moveTo>
                  <a:cubicBezTo>
                    <a:pt x="1196" y="34"/>
                    <a:pt x="1192" y="34"/>
                    <a:pt x="1187" y="34"/>
                  </a:cubicBezTo>
                  <a:cubicBezTo>
                    <a:pt x="1186" y="34"/>
                    <a:pt x="1186" y="34"/>
                    <a:pt x="1186" y="32"/>
                  </a:cubicBezTo>
                  <a:cubicBezTo>
                    <a:pt x="1186" y="27"/>
                    <a:pt x="1186" y="21"/>
                    <a:pt x="1186" y="16"/>
                  </a:cubicBezTo>
                  <a:cubicBezTo>
                    <a:pt x="1186" y="16"/>
                    <a:pt x="1186" y="15"/>
                    <a:pt x="1186" y="15"/>
                  </a:cubicBezTo>
                  <a:cubicBezTo>
                    <a:pt x="1185" y="14"/>
                    <a:pt x="1185" y="14"/>
                    <a:pt x="1185" y="15"/>
                  </a:cubicBezTo>
                  <a:cubicBezTo>
                    <a:pt x="1185" y="15"/>
                    <a:pt x="1185" y="14"/>
                    <a:pt x="1185" y="15"/>
                  </a:cubicBezTo>
                  <a:cubicBezTo>
                    <a:pt x="1185" y="15"/>
                    <a:pt x="1185" y="16"/>
                    <a:pt x="1185" y="16"/>
                  </a:cubicBezTo>
                  <a:cubicBezTo>
                    <a:pt x="1185" y="22"/>
                    <a:pt x="1185" y="27"/>
                    <a:pt x="1185" y="33"/>
                  </a:cubicBezTo>
                  <a:cubicBezTo>
                    <a:pt x="1185" y="34"/>
                    <a:pt x="1185" y="34"/>
                    <a:pt x="1187" y="34"/>
                  </a:cubicBezTo>
                  <a:cubicBezTo>
                    <a:pt x="1191" y="34"/>
                    <a:pt x="1196" y="34"/>
                    <a:pt x="1200" y="34"/>
                  </a:cubicBezTo>
                  <a:cubicBezTo>
                    <a:pt x="1201" y="34"/>
                    <a:pt x="1202" y="34"/>
                    <a:pt x="1202" y="34"/>
                  </a:cubicBezTo>
                  <a:cubicBezTo>
                    <a:pt x="1202" y="34"/>
                    <a:pt x="1201" y="34"/>
                    <a:pt x="1201" y="34"/>
                  </a:cubicBezTo>
                  <a:close/>
                  <a:moveTo>
                    <a:pt x="1346" y="16"/>
                  </a:moveTo>
                  <a:cubicBezTo>
                    <a:pt x="1346" y="19"/>
                    <a:pt x="1346" y="22"/>
                    <a:pt x="1346" y="26"/>
                  </a:cubicBezTo>
                  <a:cubicBezTo>
                    <a:pt x="1346" y="26"/>
                    <a:pt x="1346" y="26"/>
                    <a:pt x="1347" y="27"/>
                  </a:cubicBezTo>
                  <a:cubicBezTo>
                    <a:pt x="1348" y="26"/>
                    <a:pt x="1349" y="25"/>
                    <a:pt x="1350" y="23"/>
                  </a:cubicBezTo>
                  <a:cubicBezTo>
                    <a:pt x="1349" y="24"/>
                    <a:pt x="1348" y="25"/>
                    <a:pt x="1347" y="26"/>
                  </a:cubicBezTo>
                  <a:cubicBezTo>
                    <a:pt x="1347" y="22"/>
                    <a:pt x="1347" y="19"/>
                    <a:pt x="1347" y="15"/>
                  </a:cubicBezTo>
                  <a:cubicBezTo>
                    <a:pt x="1347" y="15"/>
                    <a:pt x="1347" y="15"/>
                    <a:pt x="1347" y="15"/>
                  </a:cubicBezTo>
                  <a:cubicBezTo>
                    <a:pt x="1346" y="15"/>
                    <a:pt x="1346" y="15"/>
                    <a:pt x="1346" y="16"/>
                  </a:cubicBezTo>
                  <a:close/>
                  <a:moveTo>
                    <a:pt x="1676" y="102"/>
                  </a:moveTo>
                  <a:cubicBezTo>
                    <a:pt x="1680" y="102"/>
                    <a:pt x="1683" y="102"/>
                    <a:pt x="1687" y="102"/>
                  </a:cubicBezTo>
                  <a:cubicBezTo>
                    <a:pt x="1687" y="102"/>
                    <a:pt x="1687" y="102"/>
                    <a:pt x="1688" y="102"/>
                  </a:cubicBezTo>
                  <a:cubicBezTo>
                    <a:pt x="1688" y="102"/>
                    <a:pt x="1688" y="101"/>
                    <a:pt x="1688" y="101"/>
                  </a:cubicBezTo>
                  <a:cubicBezTo>
                    <a:pt x="1688" y="101"/>
                    <a:pt x="1688" y="101"/>
                    <a:pt x="1687" y="101"/>
                  </a:cubicBezTo>
                  <a:cubicBezTo>
                    <a:pt x="1683" y="101"/>
                    <a:pt x="1679" y="101"/>
                    <a:pt x="1675" y="101"/>
                  </a:cubicBezTo>
                  <a:cubicBezTo>
                    <a:pt x="1675" y="102"/>
                    <a:pt x="1676" y="102"/>
                    <a:pt x="1676" y="102"/>
                  </a:cubicBezTo>
                  <a:close/>
                  <a:moveTo>
                    <a:pt x="603" y="34"/>
                  </a:moveTo>
                  <a:cubicBezTo>
                    <a:pt x="600" y="34"/>
                    <a:pt x="597" y="34"/>
                    <a:pt x="593" y="34"/>
                  </a:cubicBezTo>
                  <a:cubicBezTo>
                    <a:pt x="593" y="34"/>
                    <a:pt x="593" y="34"/>
                    <a:pt x="592" y="34"/>
                  </a:cubicBezTo>
                  <a:cubicBezTo>
                    <a:pt x="592" y="34"/>
                    <a:pt x="592" y="35"/>
                    <a:pt x="592" y="35"/>
                  </a:cubicBezTo>
                  <a:cubicBezTo>
                    <a:pt x="592" y="34"/>
                    <a:pt x="593" y="34"/>
                    <a:pt x="593" y="34"/>
                  </a:cubicBezTo>
                  <a:cubicBezTo>
                    <a:pt x="597" y="34"/>
                    <a:pt x="600" y="34"/>
                    <a:pt x="603" y="34"/>
                  </a:cubicBezTo>
                  <a:cubicBezTo>
                    <a:pt x="604" y="34"/>
                    <a:pt x="604" y="34"/>
                    <a:pt x="605" y="35"/>
                  </a:cubicBezTo>
                  <a:cubicBezTo>
                    <a:pt x="605" y="34"/>
                    <a:pt x="604" y="34"/>
                    <a:pt x="603" y="34"/>
                  </a:cubicBezTo>
                  <a:close/>
                  <a:moveTo>
                    <a:pt x="1471" y="59"/>
                  </a:moveTo>
                  <a:cubicBezTo>
                    <a:pt x="1471" y="56"/>
                    <a:pt x="1471" y="52"/>
                    <a:pt x="1471" y="48"/>
                  </a:cubicBezTo>
                  <a:cubicBezTo>
                    <a:pt x="1471" y="48"/>
                    <a:pt x="1471" y="47"/>
                    <a:pt x="1471" y="47"/>
                  </a:cubicBezTo>
                  <a:cubicBezTo>
                    <a:pt x="1471" y="51"/>
                    <a:pt x="1471" y="56"/>
                    <a:pt x="1471" y="60"/>
                  </a:cubicBezTo>
                  <a:cubicBezTo>
                    <a:pt x="1471" y="60"/>
                    <a:pt x="1471" y="60"/>
                    <a:pt x="1471" y="59"/>
                  </a:cubicBezTo>
                  <a:close/>
                  <a:moveTo>
                    <a:pt x="585" y="22"/>
                  </a:moveTo>
                  <a:cubicBezTo>
                    <a:pt x="585" y="21"/>
                    <a:pt x="585" y="21"/>
                    <a:pt x="585" y="21"/>
                  </a:cubicBezTo>
                  <a:cubicBezTo>
                    <a:pt x="585" y="17"/>
                    <a:pt x="585" y="14"/>
                    <a:pt x="585" y="10"/>
                  </a:cubicBezTo>
                  <a:cubicBezTo>
                    <a:pt x="585" y="10"/>
                    <a:pt x="585" y="9"/>
                    <a:pt x="585" y="9"/>
                  </a:cubicBezTo>
                  <a:cubicBezTo>
                    <a:pt x="585" y="9"/>
                    <a:pt x="585" y="9"/>
                    <a:pt x="585" y="10"/>
                  </a:cubicBezTo>
                  <a:cubicBezTo>
                    <a:pt x="585" y="13"/>
                    <a:pt x="585" y="17"/>
                    <a:pt x="585" y="21"/>
                  </a:cubicBezTo>
                  <a:cubicBezTo>
                    <a:pt x="585" y="21"/>
                    <a:pt x="585" y="21"/>
                    <a:pt x="585" y="21"/>
                  </a:cubicBezTo>
                  <a:cubicBezTo>
                    <a:pt x="585" y="22"/>
                    <a:pt x="585" y="22"/>
                    <a:pt x="585" y="22"/>
                  </a:cubicBezTo>
                  <a:close/>
                  <a:moveTo>
                    <a:pt x="1699" y="15"/>
                  </a:moveTo>
                  <a:cubicBezTo>
                    <a:pt x="1699" y="19"/>
                    <a:pt x="1699" y="22"/>
                    <a:pt x="1699" y="26"/>
                  </a:cubicBezTo>
                  <a:cubicBezTo>
                    <a:pt x="1699" y="26"/>
                    <a:pt x="1699" y="26"/>
                    <a:pt x="1699" y="26"/>
                  </a:cubicBezTo>
                  <a:cubicBezTo>
                    <a:pt x="1699" y="27"/>
                    <a:pt x="1699" y="26"/>
                    <a:pt x="1699" y="26"/>
                  </a:cubicBezTo>
                  <a:cubicBezTo>
                    <a:pt x="1699" y="26"/>
                    <a:pt x="1699" y="25"/>
                    <a:pt x="1699" y="25"/>
                  </a:cubicBezTo>
                  <a:cubicBezTo>
                    <a:pt x="1699" y="22"/>
                    <a:pt x="1699" y="19"/>
                    <a:pt x="1699" y="17"/>
                  </a:cubicBezTo>
                  <a:cubicBezTo>
                    <a:pt x="1699" y="16"/>
                    <a:pt x="1699" y="15"/>
                    <a:pt x="1699" y="15"/>
                  </a:cubicBezTo>
                  <a:cubicBezTo>
                    <a:pt x="1699" y="15"/>
                    <a:pt x="1699" y="15"/>
                    <a:pt x="1699" y="15"/>
                  </a:cubicBezTo>
                  <a:close/>
                  <a:moveTo>
                    <a:pt x="1531" y="15"/>
                  </a:moveTo>
                  <a:cubicBezTo>
                    <a:pt x="1531" y="19"/>
                    <a:pt x="1531" y="22"/>
                    <a:pt x="1531" y="26"/>
                  </a:cubicBezTo>
                  <a:cubicBezTo>
                    <a:pt x="1531" y="26"/>
                    <a:pt x="1531" y="26"/>
                    <a:pt x="1531" y="26"/>
                  </a:cubicBezTo>
                  <a:cubicBezTo>
                    <a:pt x="1531" y="27"/>
                    <a:pt x="1531" y="26"/>
                    <a:pt x="1531" y="26"/>
                  </a:cubicBezTo>
                  <a:cubicBezTo>
                    <a:pt x="1531" y="26"/>
                    <a:pt x="1531" y="25"/>
                    <a:pt x="1531" y="25"/>
                  </a:cubicBezTo>
                  <a:cubicBezTo>
                    <a:pt x="1531" y="22"/>
                    <a:pt x="1531" y="19"/>
                    <a:pt x="1531" y="17"/>
                  </a:cubicBezTo>
                  <a:cubicBezTo>
                    <a:pt x="1531" y="16"/>
                    <a:pt x="1531" y="15"/>
                    <a:pt x="1531" y="15"/>
                  </a:cubicBezTo>
                  <a:cubicBezTo>
                    <a:pt x="1531" y="15"/>
                    <a:pt x="1531" y="15"/>
                    <a:pt x="1531" y="15"/>
                  </a:cubicBezTo>
                  <a:close/>
                  <a:moveTo>
                    <a:pt x="1261" y="95"/>
                  </a:moveTo>
                  <a:cubicBezTo>
                    <a:pt x="1261" y="93"/>
                    <a:pt x="1261" y="91"/>
                    <a:pt x="1261" y="89"/>
                  </a:cubicBezTo>
                  <a:cubicBezTo>
                    <a:pt x="1261" y="88"/>
                    <a:pt x="1261" y="87"/>
                    <a:pt x="1261" y="86"/>
                  </a:cubicBezTo>
                  <a:cubicBezTo>
                    <a:pt x="1260" y="86"/>
                    <a:pt x="1260" y="87"/>
                    <a:pt x="1260" y="87"/>
                  </a:cubicBezTo>
                  <a:cubicBezTo>
                    <a:pt x="1260" y="87"/>
                    <a:pt x="1260" y="87"/>
                    <a:pt x="1261" y="87"/>
                  </a:cubicBezTo>
                  <a:cubicBezTo>
                    <a:pt x="1261" y="90"/>
                    <a:pt x="1261" y="93"/>
                    <a:pt x="1261" y="96"/>
                  </a:cubicBezTo>
                  <a:cubicBezTo>
                    <a:pt x="1261" y="96"/>
                    <a:pt x="1261" y="97"/>
                    <a:pt x="1261" y="97"/>
                  </a:cubicBezTo>
                  <a:cubicBezTo>
                    <a:pt x="1261" y="97"/>
                    <a:pt x="1261" y="96"/>
                    <a:pt x="1261" y="95"/>
                  </a:cubicBezTo>
                  <a:close/>
                  <a:moveTo>
                    <a:pt x="801" y="96"/>
                  </a:moveTo>
                  <a:cubicBezTo>
                    <a:pt x="801" y="93"/>
                    <a:pt x="801" y="90"/>
                    <a:pt x="801" y="87"/>
                  </a:cubicBezTo>
                  <a:cubicBezTo>
                    <a:pt x="801" y="87"/>
                    <a:pt x="801" y="87"/>
                    <a:pt x="801" y="86"/>
                  </a:cubicBezTo>
                  <a:cubicBezTo>
                    <a:pt x="801" y="86"/>
                    <a:pt x="801" y="86"/>
                    <a:pt x="801" y="87"/>
                  </a:cubicBezTo>
                  <a:cubicBezTo>
                    <a:pt x="801" y="87"/>
                    <a:pt x="801" y="87"/>
                    <a:pt x="801" y="87"/>
                  </a:cubicBezTo>
                  <a:cubicBezTo>
                    <a:pt x="801" y="90"/>
                    <a:pt x="801" y="93"/>
                    <a:pt x="801" y="96"/>
                  </a:cubicBezTo>
                  <a:cubicBezTo>
                    <a:pt x="801" y="97"/>
                    <a:pt x="801" y="97"/>
                    <a:pt x="800" y="97"/>
                  </a:cubicBezTo>
                  <a:cubicBezTo>
                    <a:pt x="801" y="97"/>
                    <a:pt x="801" y="97"/>
                    <a:pt x="801" y="96"/>
                  </a:cubicBezTo>
                  <a:close/>
                  <a:moveTo>
                    <a:pt x="1021" y="20"/>
                  </a:moveTo>
                  <a:cubicBezTo>
                    <a:pt x="1021" y="17"/>
                    <a:pt x="1021" y="14"/>
                    <a:pt x="1021" y="11"/>
                  </a:cubicBezTo>
                  <a:cubicBezTo>
                    <a:pt x="1021" y="10"/>
                    <a:pt x="1021" y="10"/>
                    <a:pt x="1021" y="10"/>
                  </a:cubicBezTo>
                  <a:cubicBezTo>
                    <a:pt x="1021" y="14"/>
                    <a:pt x="1021" y="17"/>
                    <a:pt x="1021" y="21"/>
                  </a:cubicBezTo>
                  <a:cubicBezTo>
                    <a:pt x="1021" y="21"/>
                    <a:pt x="1021" y="21"/>
                    <a:pt x="1021" y="20"/>
                  </a:cubicBezTo>
                  <a:close/>
                  <a:moveTo>
                    <a:pt x="951" y="51"/>
                  </a:moveTo>
                  <a:cubicBezTo>
                    <a:pt x="951" y="55"/>
                    <a:pt x="951" y="58"/>
                    <a:pt x="951" y="61"/>
                  </a:cubicBezTo>
                  <a:cubicBezTo>
                    <a:pt x="951" y="61"/>
                    <a:pt x="951" y="62"/>
                    <a:pt x="951" y="62"/>
                  </a:cubicBezTo>
                  <a:cubicBezTo>
                    <a:pt x="951" y="58"/>
                    <a:pt x="951" y="54"/>
                    <a:pt x="951" y="50"/>
                  </a:cubicBezTo>
                  <a:cubicBezTo>
                    <a:pt x="951" y="51"/>
                    <a:pt x="951" y="51"/>
                    <a:pt x="951" y="51"/>
                  </a:cubicBezTo>
                  <a:close/>
                  <a:moveTo>
                    <a:pt x="1021" y="97"/>
                  </a:moveTo>
                  <a:cubicBezTo>
                    <a:pt x="1021" y="94"/>
                    <a:pt x="1021" y="91"/>
                    <a:pt x="1021" y="88"/>
                  </a:cubicBezTo>
                  <a:cubicBezTo>
                    <a:pt x="1021" y="87"/>
                    <a:pt x="1021" y="87"/>
                    <a:pt x="1021" y="87"/>
                  </a:cubicBezTo>
                  <a:cubicBezTo>
                    <a:pt x="1021" y="87"/>
                    <a:pt x="1021" y="87"/>
                    <a:pt x="1021" y="87"/>
                  </a:cubicBezTo>
                  <a:cubicBezTo>
                    <a:pt x="1021" y="87"/>
                    <a:pt x="1021" y="87"/>
                    <a:pt x="1021" y="88"/>
                  </a:cubicBezTo>
                  <a:cubicBezTo>
                    <a:pt x="1021" y="91"/>
                    <a:pt x="1021" y="94"/>
                    <a:pt x="1021" y="98"/>
                  </a:cubicBezTo>
                  <a:cubicBezTo>
                    <a:pt x="1021" y="97"/>
                    <a:pt x="1021" y="97"/>
                    <a:pt x="1021" y="97"/>
                  </a:cubicBezTo>
                  <a:close/>
                  <a:moveTo>
                    <a:pt x="594" y="123"/>
                  </a:moveTo>
                  <a:cubicBezTo>
                    <a:pt x="594" y="126"/>
                    <a:pt x="594" y="129"/>
                    <a:pt x="594" y="132"/>
                  </a:cubicBezTo>
                  <a:cubicBezTo>
                    <a:pt x="594" y="132"/>
                    <a:pt x="594" y="132"/>
                    <a:pt x="595" y="132"/>
                  </a:cubicBezTo>
                  <a:cubicBezTo>
                    <a:pt x="595" y="132"/>
                    <a:pt x="595" y="132"/>
                    <a:pt x="595" y="132"/>
                  </a:cubicBezTo>
                  <a:cubicBezTo>
                    <a:pt x="595" y="129"/>
                    <a:pt x="595" y="126"/>
                    <a:pt x="595" y="123"/>
                  </a:cubicBezTo>
                  <a:cubicBezTo>
                    <a:pt x="595" y="123"/>
                    <a:pt x="595" y="123"/>
                    <a:pt x="596" y="123"/>
                  </a:cubicBezTo>
                  <a:cubicBezTo>
                    <a:pt x="594" y="122"/>
                    <a:pt x="594" y="122"/>
                    <a:pt x="594" y="123"/>
                  </a:cubicBezTo>
                  <a:close/>
                  <a:moveTo>
                    <a:pt x="697" y="46"/>
                  </a:moveTo>
                  <a:cubicBezTo>
                    <a:pt x="697" y="43"/>
                    <a:pt x="697" y="40"/>
                    <a:pt x="697" y="37"/>
                  </a:cubicBezTo>
                  <a:cubicBezTo>
                    <a:pt x="697" y="36"/>
                    <a:pt x="697" y="36"/>
                    <a:pt x="696" y="36"/>
                  </a:cubicBezTo>
                  <a:cubicBezTo>
                    <a:pt x="696" y="39"/>
                    <a:pt x="696" y="42"/>
                    <a:pt x="696" y="46"/>
                  </a:cubicBezTo>
                  <a:cubicBezTo>
                    <a:pt x="696" y="46"/>
                    <a:pt x="697" y="46"/>
                    <a:pt x="696" y="47"/>
                  </a:cubicBezTo>
                  <a:cubicBezTo>
                    <a:pt x="697" y="47"/>
                    <a:pt x="697" y="46"/>
                    <a:pt x="697" y="46"/>
                  </a:cubicBezTo>
                  <a:close/>
                  <a:moveTo>
                    <a:pt x="655" y="34"/>
                  </a:moveTo>
                  <a:cubicBezTo>
                    <a:pt x="652" y="34"/>
                    <a:pt x="648" y="34"/>
                    <a:pt x="645" y="34"/>
                  </a:cubicBezTo>
                  <a:cubicBezTo>
                    <a:pt x="645" y="34"/>
                    <a:pt x="645" y="34"/>
                    <a:pt x="644" y="34"/>
                  </a:cubicBezTo>
                  <a:cubicBezTo>
                    <a:pt x="645" y="34"/>
                    <a:pt x="645" y="34"/>
                    <a:pt x="645" y="34"/>
                  </a:cubicBezTo>
                  <a:cubicBezTo>
                    <a:pt x="648" y="34"/>
                    <a:pt x="652" y="34"/>
                    <a:pt x="655" y="34"/>
                  </a:cubicBezTo>
                  <a:cubicBezTo>
                    <a:pt x="655" y="34"/>
                    <a:pt x="655" y="34"/>
                    <a:pt x="656" y="35"/>
                  </a:cubicBezTo>
                  <a:cubicBezTo>
                    <a:pt x="656" y="34"/>
                    <a:pt x="655" y="34"/>
                    <a:pt x="655" y="34"/>
                  </a:cubicBezTo>
                  <a:close/>
                  <a:moveTo>
                    <a:pt x="1100" y="102"/>
                  </a:moveTo>
                  <a:cubicBezTo>
                    <a:pt x="1103" y="102"/>
                    <a:pt x="1106" y="102"/>
                    <a:pt x="1109" y="102"/>
                  </a:cubicBezTo>
                  <a:cubicBezTo>
                    <a:pt x="1109" y="102"/>
                    <a:pt x="1110" y="102"/>
                    <a:pt x="1110" y="101"/>
                  </a:cubicBezTo>
                  <a:cubicBezTo>
                    <a:pt x="1106" y="101"/>
                    <a:pt x="1103" y="101"/>
                    <a:pt x="1099" y="101"/>
                  </a:cubicBezTo>
                  <a:cubicBezTo>
                    <a:pt x="1099" y="102"/>
                    <a:pt x="1100" y="102"/>
                    <a:pt x="1100" y="102"/>
                  </a:cubicBezTo>
                  <a:close/>
                  <a:moveTo>
                    <a:pt x="860" y="102"/>
                  </a:moveTo>
                  <a:cubicBezTo>
                    <a:pt x="863" y="102"/>
                    <a:pt x="866" y="102"/>
                    <a:pt x="869" y="102"/>
                  </a:cubicBezTo>
                  <a:cubicBezTo>
                    <a:pt x="870" y="102"/>
                    <a:pt x="870" y="102"/>
                    <a:pt x="870" y="101"/>
                  </a:cubicBezTo>
                  <a:cubicBezTo>
                    <a:pt x="867" y="101"/>
                    <a:pt x="863" y="101"/>
                    <a:pt x="859" y="101"/>
                  </a:cubicBezTo>
                  <a:cubicBezTo>
                    <a:pt x="860" y="102"/>
                    <a:pt x="860" y="102"/>
                    <a:pt x="860" y="102"/>
                  </a:cubicBezTo>
                  <a:close/>
                  <a:moveTo>
                    <a:pt x="742" y="100"/>
                  </a:moveTo>
                  <a:cubicBezTo>
                    <a:pt x="742" y="97"/>
                    <a:pt x="742" y="95"/>
                    <a:pt x="742" y="93"/>
                  </a:cubicBezTo>
                  <a:cubicBezTo>
                    <a:pt x="742" y="92"/>
                    <a:pt x="742" y="92"/>
                    <a:pt x="742" y="92"/>
                  </a:cubicBezTo>
                  <a:cubicBezTo>
                    <a:pt x="742" y="91"/>
                    <a:pt x="742" y="92"/>
                    <a:pt x="742" y="92"/>
                  </a:cubicBezTo>
                  <a:cubicBezTo>
                    <a:pt x="742" y="92"/>
                    <a:pt x="742" y="92"/>
                    <a:pt x="742" y="93"/>
                  </a:cubicBezTo>
                  <a:cubicBezTo>
                    <a:pt x="742" y="95"/>
                    <a:pt x="742" y="98"/>
                    <a:pt x="742" y="100"/>
                  </a:cubicBezTo>
                  <a:cubicBezTo>
                    <a:pt x="742" y="101"/>
                    <a:pt x="742" y="101"/>
                    <a:pt x="742" y="101"/>
                  </a:cubicBezTo>
                  <a:cubicBezTo>
                    <a:pt x="743" y="101"/>
                    <a:pt x="742" y="100"/>
                    <a:pt x="742" y="100"/>
                  </a:cubicBezTo>
                  <a:close/>
                  <a:moveTo>
                    <a:pt x="1586" y="101"/>
                  </a:moveTo>
                  <a:cubicBezTo>
                    <a:pt x="1586" y="98"/>
                    <a:pt x="1586" y="95"/>
                    <a:pt x="1586" y="93"/>
                  </a:cubicBezTo>
                  <a:cubicBezTo>
                    <a:pt x="1586" y="92"/>
                    <a:pt x="1585" y="92"/>
                    <a:pt x="1585" y="92"/>
                  </a:cubicBezTo>
                  <a:cubicBezTo>
                    <a:pt x="1585" y="95"/>
                    <a:pt x="1585" y="98"/>
                    <a:pt x="1585" y="101"/>
                  </a:cubicBezTo>
                  <a:cubicBezTo>
                    <a:pt x="1585" y="101"/>
                    <a:pt x="1586" y="101"/>
                    <a:pt x="1586" y="101"/>
                  </a:cubicBezTo>
                  <a:close/>
                  <a:moveTo>
                    <a:pt x="1754" y="101"/>
                  </a:moveTo>
                  <a:cubicBezTo>
                    <a:pt x="1754" y="98"/>
                    <a:pt x="1754" y="95"/>
                    <a:pt x="1754" y="93"/>
                  </a:cubicBezTo>
                  <a:cubicBezTo>
                    <a:pt x="1754" y="92"/>
                    <a:pt x="1754" y="92"/>
                    <a:pt x="1753" y="92"/>
                  </a:cubicBezTo>
                  <a:cubicBezTo>
                    <a:pt x="1753" y="95"/>
                    <a:pt x="1753" y="98"/>
                    <a:pt x="1753" y="101"/>
                  </a:cubicBezTo>
                  <a:cubicBezTo>
                    <a:pt x="1754" y="101"/>
                    <a:pt x="1754" y="101"/>
                    <a:pt x="1754" y="101"/>
                  </a:cubicBezTo>
                  <a:close/>
                  <a:moveTo>
                    <a:pt x="1684" y="36"/>
                  </a:moveTo>
                  <a:cubicBezTo>
                    <a:pt x="1684" y="34"/>
                    <a:pt x="1684" y="31"/>
                    <a:pt x="1684" y="29"/>
                  </a:cubicBezTo>
                  <a:cubicBezTo>
                    <a:pt x="1684" y="29"/>
                    <a:pt x="1684" y="28"/>
                    <a:pt x="1684" y="28"/>
                  </a:cubicBezTo>
                  <a:cubicBezTo>
                    <a:pt x="1684" y="31"/>
                    <a:pt x="1684" y="34"/>
                    <a:pt x="1684" y="37"/>
                  </a:cubicBezTo>
                  <a:cubicBezTo>
                    <a:pt x="1684" y="37"/>
                    <a:pt x="1684" y="36"/>
                    <a:pt x="1684" y="36"/>
                  </a:cubicBezTo>
                  <a:close/>
                  <a:moveTo>
                    <a:pt x="1207" y="73"/>
                  </a:moveTo>
                  <a:cubicBezTo>
                    <a:pt x="1207" y="70"/>
                    <a:pt x="1207" y="67"/>
                    <a:pt x="1207" y="64"/>
                  </a:cubicBezTo>
                  <a:cubicBezTo>
                    <a:pt x="1207" y="66"/>
                    <a:pt x="1207" y="71"/>
                    <a:pt x="1207" y="73"/>
                  </a:cubicBezTo>
                  <a:close/>
                  <a:moveTo>
                    <a:pt x="1398" y="35"/>
                  </a:moveTo>
                  <a:cubicBezTo>
                    <a:pt x="1398" y="33"/>
                    <a:pt x="1398" y="30"/>
                    <a:pt x="1398" y="28"/>
                  </a:cubicBezTo>
                  <a:cubicBezTo>
                    <a:pt x="1398" y="28"/>
                    <a:pt x="1397" y="28"/>
                    <a:pt x="1397" y="27"/>
                  </a:cubicBezTo>
                  <a:cubicBezTo>
                    <a:pt x="1397" y="30"/>
                    <a:pt x="1397" y="33"/>
                    <a:pt x="1397" y="35"/>
                  </a:cubicBezTo>
                  <a:cubicBezTo>
                    <a:pt x="1397" y="35"/>
                    <a:pt x="1398" y="35"/>
                    <a:pt x="1398" y="35"/>
                  </a:cubicBezTo>
                  <a:close/>
                  <a:moveTo>
                    <a:pt x="1058" y="94"/>
                  </a:moveTo>
                  <a:cubicBezTo>
                    <a:pt x="1061" y="94"/>
                    <a:pt x="1064" y="94"/>
                    <a:pt x="1066" y="94"/>
                  </a:cubicBezTo>
                  <a:cubicBezTo>
                    <a:pt x="1064" y="94"/>
                    <a:pt x="1061" y="94"/>
                    <a:pt x="1058" y="94"/>
                  </a:cubicBezTo>
                  <a:close/>
                  <a:moveTo>
                    <a:pt x="1236" y="94"/>
                  </a:moveTo>
                  <a:cubicBezTo>
                    <a:pt x="1239" y="94"/>
                    <a:pt x="1242" y="94"/>
                    <a:pt x="1244" y="94"/>
                  </a:cubicBezTo>
                  <a:cubicBezTo>
                    <a:pt x="1242" y="94"/>
                    <a:pt x="1239" y="94"/>
                    <a:pt x="1236" y="94"/>
                  </a:cubicBezTo>
                  <a:close/>
                  <a:moveTo>
                    <a:pt x="598" y="133"/>
                  </a:moveTo>
                  <a:cubicBezTo>
                    <a:pt x="600" y="133"/>
                    <a:pt x="602" y="133"/>
                    <a:pt x="604" y="133"/>
                  </a:cubicBezTo>
                  <a:cubicBezTo>
                    <a:pt x="605" y="133"/>
                    <a:pt x="605" y="133"/>
                    <a:pt x="605" y="133"/>
                  </a:cubicBezTo>
                  <a:cubicBezTo>
                    <a:pt x="602" y="133"/>
                    <a:pt x="600" y="133"/>
                    <a:pt x="597" y="133"/>
                  </a:cubicBezTo>
                  <a:cubicBezTo>
                    <a:pt x="597" y="133"/>
                    <a:pt x="598" y="133"/>
                    <a:pt x="598" y="133"/>
                  </a:cubicBezTo>
                  <a:close/>
                  <a:moveTo>
                    <a:pt x="993" y="93"/>
                  </a:moveTo>
                  <a:cubicBezTo>
                    <a:pt x="996" y="93"/>
                    <a:pt x="998" y="93"/>
                    <a:pt x="1001" y="93"/>
                  </a:cubicBezTo>
                  <a:cubicBezTo>
                    <a:pt x="998" y="93"/>
                    <a:pt x="996" y="93"/>
                    <a:pt x="993" y="93"/>
                  </a:cubicBezTo>
                  <a:close/>
                  <a:moveTo>
                    <a:pt x="1559" y="54"/>
                  </a:moveTo>
                  <a:cubicBezTo>
                    <a:pt x="1561" y="53"/>
                    <a:pt x="1562" y="52"/>
                    <a:pt x="1563" y="50"/>
                  </a:cubicBezTo>
                  <a:cubicBezTo>
                    <a:pt x="1562" y="51"/>
                    <a:pt x="1561" y="53"/>
                    <a:pt x="1559" y="54"/>
                  </a:cubicBezTo>
                  <a:close/>
                  <a:moveTo>
                    <a:pt x="1728" y="54"/>
                  </a:moveTo>
                  <a:cubicBezTo>
                    <a:pt x="1729" y="53"/>
                    <a:pt x="1730" y="52"/>
                    <a:pt x="1731" y="50"/>
                  </a:cubicBezTo>
                  <a:cubicBezTo>
                    <a:pt x="1730" y="51"/>
                    <a:pt x="1729" y="53"/>
                    <a:pt x="1728" y="54"/>
                  </a:cubicBezTo>
                  <a:close/>
                  <a:moveTo>
                    <a:pt x="776" y="94"/>
                  </a:moveTo>
                  <a:cubicBezTo>
                    <a:pt x="779" y="94"/>
                    <a:pt x="782" y="94"/>
                    <a:pt x="784" y="94"/>
                  </a:cubicBezTo>
                  <a:cubicBezTo>
                    <a:pt x="782" y="94"/>
                    <a:pt x="779" y="94"/>
                    <a:pt x="776" y="94"/>
                  </a:cubicBezTo>
                  <a:close/>
                  <a:moveTo>
                    <a:pt x="672" y="94"/>
                  </a:moveTo>
                  <a:cubicBezTo>
                    <a:pt x="675" y="94"/>
                    <a:pt x="677" y="94"/>
                    <a:pt x="680" y="94"/>
                  </a:cubicBezTo>
                  <a:cubicBezTo>
                    <a:pt x="677" y="94"/>
                    <a:pt x="675" y="94"/>
                    <a:pt x="672" y="94"/>
                  </a:cubicBezTo>
                  <a:close/>
                  <a:moveTo>
                    <a:pt x="1570" y="36"/>
                  </a:moveTo>
                  <a:cubicBezTo>
                    <a:pt x="1571" y="33"/>
                    <a:pt x="1571" y="31"/>
                    <a:pt x="1570" y="29"/>
                  </a:cubicBezTo>
                  <a:cubicBezTo>
                    <a:pt x="1570" y="31"/>
                    <a:pt x="1570" y="33"/>
                    <a:pt x="1570" y="36"/>
                  </a:cubicBezTo>
                  <a:close/>
                  <a:moveTo>
                    <a:pt x="1738" y="36"/>
                  </a:moveTo>
                  <a:cubicBezTo>
                    <a:pt x="1739" y="33"/>
                    <a:pt x="1739" y="31"/>
                    <a:pt x="1738" y="29"/>
                  </a:cubicBezTo>
                  <a:cubicBezTo>
                    <a:pt x="1738" y="31"/>
                    <a:pt x="1738" y="33"/>
                    <a:pt x="1738" y="36"/>
                  </a:cubicBezTo>
                  <a:close/>
                  <a:moveTo>
                    <a:pt x="1309" y="33"/>
                  </a:moveTo>
                  <a:cubicBezTo>
                    <a:pt x="1307" y="33"/>
                    <a:pt x="1305" y="33"/>
                    <a:pt x="1303" y="33"/>
                  </a:cubicBezTo>
                  <a:cubicBezTo>
                    <a:pt x="1303" y="33"/>
                    <a:pt x="1303" y="33"/>
                    <a:pt x="1303" y="33"/>
                  </a:cubicBezTo>
                  <a:cubicBezTo>
                    <a:pt x="1305" y="33"/>
                    <a:pt x="1307" y="33"/>
                    <a:pt x="1309" y="33"/>
                  </a:cubicBezTo>
                  <a:cubicBezTo>
                    <a:pt x="1309" y="33"/>
                    <a:pt x="1309" y="33"/>
                    <a:pt x="1309" y="33"/>
                  </a:cubicBezTo>
                  <a:close/>
                  <a:moveTo>
                    <a:pt x="1029" y="66"/>
                  </a:moveTo>
                  <a:cubicBezTo>
                    <a:pt x="1029" y="68"/>
                    <a:pt x="1029" y="69"/>
                    <a:pt x="1029" y="71"/>
                  </a:cubicBezTo>
                  <a:cubicBezTo>
                    <a:pt x="1029" y="71"/>
                    <a:pt x="1029" y="72"/>
                    <a:pt x="1029" y="72"/>
                  </a:cubicBezTo>
                  <a:cubicBezTo>
                    <a:pt x="1029" y="70"/>
                    <a:pt x="1029" y="67"/>
                    <a:pt x="1029" y="65"/>
                  </a:cubicBezTo>
                  <a:cubicBezTo>
                    <a:pt x="1029" y="65"/>
                    <a:pt x="1029" y="66"/>
                    <a:pt x="1029" y="66"/>
                  </a:cubicBezTo>
                  <a:close/>
                  <a:moveTo>
                    <a:pt x="1351" y="74"/>
                  </a:moveTo>
                  <a:cubicBezTo>
                    <a:pt x="1352" y="73"/>
                    <a:pt x="1353" y="72"/>
                    <a:pt x="1354" y="71"/>
                  </a:cubicBezTo>
                  <a:cubicBezTo>
                    <a:pt x="1353" y="72"/>
                    <a:pt x="1352" y="73"/>
                    <a:pt x="1351" y="74"/>
                  </a:cubicBezTo>
                  <a:close/>
                  <a:moveTo>
                    <a:pt x="730" y="103"/>
                  </a:moveTo>
                  <a:cubicBezTo>
                    <a:pt x="731" y="103"/>
                    <a:pt x="733" y="103"/>
                    <a:pt x="735" y="103"/>
                  </a:cubicBezTo>
                  <a:cubicBezTo>
                    <a:pt x="735" y="103"/>
                    <a:pt x="735" y="103"/>
                    <a:pt x="735" y="103"/>
                  </a:cubicBezTo>
                  <a:cubicBezTo>
                    <a:pt x="733" y="103"/>
                    <a:pt x="731" y="103"/>
                    <a:pt x="729" y="103"/>
                  </a:cubicBezTo>
                  <a:cubicBezTo>
                    <a:pt x="729" y="103"/>
                    <a:pt x="729" y="103"/>
                    <a:pt x="730" y="103"/>
                  </a:cubicBezTo>
                  <a:close/>
                  <a:moveTo>
                    <a:pt x="1195" y="103"/>
                  </a:moveTo>
                  <a:cubicBezTo>
                    <a:pt x="1195" y="103"/>
                    <a:pt x="1195" y="103"/>
                    <a:pt x="1195" y="103"/>
                  </a:cubicBezTo>
                  <a:cubicBezTo>
                    <a:pt x="1193" y="103"/>
                    <a:pt x="1191" y="103"/>
                    <a:pt x="1189" y="103"/>
                  </a:cubicBezTo>
                  <a:cubicBezTo>
                    <a:pt x="1191" y="104"/>
                    <a:pt x="1193" y="103"/>
                    <a:pt x="1195" y="103"/>
                  </a:cubicBezTo>
                  <a:close/>
                  <a:moveTo>
                    <a:pt x="549" y="27"/>
                  </a:moveTo>
                  <a:cubicBezTo>
                    <a:pt x="548" y="29"/>
                    <a:pt x="548" y="31"/>
                    <a:pt x="549" y="33"/>
                  </a:cubicBezTo>
                  <a:cubicBezTo>
                    <a:pt x="549" y="31"/>
                    <a:pt x="549" y="29"/>
                    <a:pt x="549" y="27"/>
                  </a:cubicBezTo>
                  <a:close/>
                  <a:moveTo>
                    <a:pt x="658" y="51"/>
                  </a:moveTo>
                  <a:cubicBezTo>
                    <a:pt x="658" y="52"/>
                    <a:pt x="658" y="54"/>
                    <a:pt x="659" y="55"/>
                  </a:cubicBezTo>
                  <a:cubicBezTo>
                    <a:pt x="659" y="53"/>
                    <a:pt x="659" y="51"/>
                    <a:pt x="659" y="49"/>
                  </a:cubicBezTo>
                  <a:cubicBezTo>
                    <a:pt x="658" y="50"/>
                    <a:pt x="658" y="50"/>
                    <a:pt x="658" y="51"/>
                  </a:cubicBezTo>
                  <a:close/>
                  <a:moveTo>
                    <a:pt x="1409" y="48"/>
                  </a:moveTo>
                  <a:cubicBezTo>
                    <a:pt x="1409" y="49"/>
                    <a:pt x="1409" y="50"/>
                    <a:pt x="1409" y="52"/>
                  </a:cubicBezTo>
                  <a:cubicBezTo>
                    <a:pt x="1410" y="50"/>
                    <a:pt x="1410" y="48"/>
                    <a:pt x="1410" y="47"/>
                  </a:cubicBezTo>
                  <a:cubicBezTo>
                    <a:pt x="1409" y="47"/>
                    <a:pt x="1409" y="47"/>
                    <a:pt x="1409" y="48"/>
                  </a:cubicBezTo>
                  <a:close/>
                  <a:moveTo>
                    <a:pt x="1386" y="35"/>
                  </a:moveTo>
                  <a:cubicBezTo>
                    <a:pt x="1387" y="33"/>
                    <a:pt x="1387" y="31"/>
                    <a:pt x="1386" y="30"/>
                  </a:cubicBezTo>
                  <a:cubicBezTo>
                    <a:pt x="1386" y="31"/>
                    <a:pt x="1386" y="33"/>
                    <a:pt x="1386" y="35"/>
                  </a:cubicBezTo>
                  <a:close/>
                  <a:moveTo>
                    <a:pt x="694" y="70"/>
                  </a:moveTo>
                  <a:cubicBezTo>
                    <a:pt x="695" y="71"/>
                    <a:pt x="695" y="72"/>
                    <a:pt x="696" y="73"/>
                  </a:cubicBezTo>
                  <a:cubicBezTo>
                    <a:pt x="696" y="71"/>
                    <a:pt x="695" y="71"/>
                    <a:pt x="694" y="70"/>
                  </a:cubicBezTo>
                  <a:close/>
                  <a:moveTo>
                    <a:pt x="1676" y="14"/>
                  </a:moveTo>
                  <a:cubicBezTo>
                    <a:pt x="1677" y="15"/>
                    <a:pt x="1678" y="15"/>
                    <a:pt x="1679" y="16"/>
                  </a:cubicBezTo>
                  <a:cubicBezTo>
                    <a:pt x="1678" y="15"/>
                    <a:pt x="1678" y="14"/>
                    <a:pt x="1676" y="14"/>
                  </a:cubicBezTo>
                  <a:close/>
                  <a:moveTo>
                    <a:pt x="999" y="103"/>
                  </a:moveTo>
                  <a:cubicBezTo>
                    <a:pt x="1000" y="103"/>
                    <a:pt x="1001" y="104"/>
                    <a:pt x="1002" y="103"/>
                  </a:cubicBezTo>
                  <a:cubicBezTo>
                    <a:pt x="1000" y="103"/>
                    <a:pt x="999" y="103"/>
                    <a:pt x="997" y="103"/>
                  </a:cubicBezTo>
                  <a:cubicBezTo>
                    <a:pt x="998" y="103"/>
                    <a:pt x="998" y="103"/>
                    <a:pt x="999" y="103"/>
                  </a:cubicBezTo>
                  <a:close/>
                  <a:moveTo>
                    <a:pt x="1678" y="50"/>
                  </a:moveTo>
                  <a:cubicBezTo>
                    <a:pt x="1677" y="51"/>
                    <a:pt x="1677" y="52"/>
                    <a:pt x="1676" y="52"/>
                  </a:cubicBezTo>
                  <a:cubicBezTo>
                    <a:pt x="1677" y="52"/>
                    <a:pt x="1678" y="51"/>
                    <a:pt x="1678" y="50"/>
                  </a:cubicBezTo>
                  <a:close/>
                  <a:moveTo>
                    <a:pt x="747" y="72"/>
                  </a:moveTo>
                  <a:cubicBezTo>
                    <a:pt x="747" y="72"/>
                    <a:pt x="747" y="73"/>
                    <a:pt x="747" y="74"/>
                  </a:cubicBezTo>
                  <a:cubicBezTo>
                    <a:pt x="747" y="72"/>
                    <a:pt x="747" y="71"/>
                    <a:pt x="747" y="69"/>
                  </a:cubicBezTo>
                  <a:cubicBezTo>
                    <a:pt x="747" y="70"/>
                    <a:pt x="747" y="71"/>
                    <a:pt x="747" y="72"/>
                  </a:cubicBezTo>
                  <a:close/>
                  <a:moveTo>
                    <a:pt x="1078" y="39"/>
                  </a:moveTo>
                  <a:cubicBezTo>
                    <a:pt x="1079" y="39"/>
                    <a:pt x="1080" y="40"/>
                    <a:pt x="1080" y="41"/>
                  </a:cubicBezTo>
                  <a:cubicBezTo>
                    <a:pt x="1080" y="40"/>
                    <a:pt x="1079" y="39"/>
                    <a:pt x="1078" y="39"/>
                  </a:cubicBezTo>
                  <a:close/>
                  <a:moveTo>
                    <a:pt x="1307" y="43"/>
                  </a:moveTo>
                  <a:cubicBezTo>
                    <a:pt x="1305" y="43"/>
                    <a:pt x="1303" y="43"/>
                    <a:pt x="1302" y="43"/>
                  </a:cubicBezTo>
                  <a:cubicBezTo>
                    <a:pt x="1303" y="43"/>
                    <a:pt x="1305" y="43"/>
                    <a:pt x="1307" y="43"/>
                  </a:cubicBezTo>
                  <a:close/>
                  <a:moveTo>
                    <a:pt x="688" y="87"/>
                  </a:moveTo>
                  <a:cubicBezTo>
                    <a:pt x="689" y="85"/>
                    <a:pt x="689" y="84"/>
                    <a:pt x="688" y="82"/>
                  </a:cubicBezTo>
                  <a:cubicBezTo>
                    <a:pt x="688" y="84"/>
                    <a:pt x="688" y="85"/>
                    <a:pt x="688" y="87"/>
                  </a:cubicBezTo>
                  <a:close/>
                  <a:moveTo>
                    <a:pt x="1409" y="63"/>
                  </a:moveTo>
                  <a:cubicBezTo>
                    <a:pt x="1409" y="64"/>
                    <a:pt x="1409" y="65"/>
                    <a:pt x="1410" y="65"/>
                  </a:cubicBezTo>
                  <a:cubicBezTo>
                    <a:pt x="1410" y="64"/>
                    <a:pt x="1410" y="62"/>
                    <a:pt x="1409" y="61"/>
                  </a:cubicBezTo>
                  <a:cubicBezTo>
                    <a:pt x="1409" y="61"/>
                    <a:pt x="1409" y="62"/>
                    <a:pt x="1409" y="63"/>
                  </a:cubicBezTo>
                  <a:close/>
                  <a:moveTo>
                    <a:pt x="1241" y="103"/>
                  </a:moveTo>
                  <a:cubicBezTo>
                    <a:pt x="1242" y="103"/>
                    <a:pt x="1243" y="104"/>
                    <a:pt x="1244" y="103"/>
                  </a:cubicBezTo>
                  <a:cubicBezTo>
                    <a:pt x="1242" y="103"/>
                    <a:pt x="1241" y="103"/>
                    <a:pt x="1239" y="103"/>
                  </a:cubicBezTo>
                  <a:cubicBezTo>
                    <a:pt x="1240" y="103"/>
                    <a:pt x="1241" y="103"/>
                    <a:pt x="1241" y="103"/>
                  </a:cubicBezTo>
                  <a:close/>
                  <a:moveTo>
                    <a:pt x="1063" y="103"/>
                  </a:moveTo>
                  <a:cubicBezTo>
                    <a:pt x="1064" y="103"/>
                    <a:pt x="1065" y="104"/>
                    <a:pt x="1066" y="103"/>
                  </a:cubicBezTo>
                  <a:cubicBezTo>
                    <a:pt x="1064" y="103"/>
                    <a:pt x="1063" y="103"/>
                    <a:pt x="1062" y="103"/>
                  </a:cubicBezTo>
                  <a:cubicBezTo>
                    <a:pt x="1062" y="103"/>
                    <a:pt x="1063" y="103"/>
                    <a:pt x="1063" y="103"/>
                  </a:cubicBezTo>
                  <a:close/>
                  <a:moveTo>
                    <a:pt x="561" y="103"/>
                  </a:moveTo>
                  <a:cubicBezTo>
                    <a:pt x="562" y="103"/>
                    <a:pt x="563" y="104"/>
                    <a:pt x="564" y="103"/>
                  </a:cubicBezTo>
                  <a:cubicBezTo>
                    <a:pt x="562" y="103"/>
                    <a:pt x="561" y="103"/>
                    <a:pt x="560" y="103"/>
                  </a:cubicBezTo>
                  <a:cubicBezTo>
                    <a:pt x="560" y="103"/>
                    <a:pt x="561" y="103"/>
                    <a:pt x="561" y="103"/>
                  </a:cubicBezTo>
                  <a:close/>
                  <a:moveTo>
                    <a:pt x="747" y="64"/>
                  </a:moveTo>
                  <a:cubicBezTo>
                    <a:pt x="747" y="65"/>
                    <a:pt x="747" y="66"/>
                    <a:pt x="747" y="67"/>
                  </a:cubicBezTo>
                  <a:cubicBezTo>
                    <a:pt x="747" y="66"/>
                    <a:pt x="747" y="64"/>
                    <a:pt x="747" y="63"/>
                  </a:cubicBezTo>
                  <a:cubicBezTo>
                    <a:pt x="747" y="63"/>
                    <a:pt x="747" y="64"/>
                    <a:pt x="747" y="64"/>
                  </a:cubicBezTo>
                  <a:close/>
                  <a:moveTo>
                    <a:pt x="963" y="50"/>
                  </a:moveTo>
                  <a:cubicBezTo>
                    <a:pt x="962" y="52"/>
                    <a:pt x="962" y="53"/>
                    <a:pt x="962" y="55"/>
                  </a:cubicBezTo>
                  <a:cubicBezTo>
                    <a:pt x="963" y="53"/>
                    <a:pt x="963" y="52"/>
                    <a:pt x="963" y="50"/>
                  </a:cubicBezTo>
                  <a:close/>
                  <a:moveTo>
                    <a:pt x="962" y="57"/>
                  </a:moveTo>
                  <a:cubicBezTo>
                    <a:pt x="962" y="58"/>
                    <a:pt x="962" y="60"/>
                    <a:pt x="963" y="61"/>
                  </a:cubicBezTo>
                  <a:cubicBezTo>
                    <a:pt x="963" y="59"/>
                    <a:pt x="963" y="58"/>
                    <a:pt x="962" y="57"/>
                  </a:cubicBezTo>
                  <a:close/>
                  <a:moveTo>
                    <a:pt x="993" y="103"/>
                  </a:moveTo>
                  <a:cubicBezTo>
                    <a:pt x="992" y="103"/>
                    <a:pt x="991" y="103"/>
                    <a:pt x="989" y="103"/>
                  </a:cubicBezTo>
                  <a:cubicBezTo>
                    <a:pt x="991" y="104"/>
                    <a:pt x="992" y="103"/>
                    <a:pt x="993" y="103"/>
                  </a:cubicBezTo>
                  <a:close/>
                  <a:moveTo>
                    <a:pt x="784" y="103"/>
                  </a:moveTo>
                  <a:cubicBezTo>
                    <a:pt x="782" y="103"/>
                    <a:pt x="781" y="103"/>
                    <a:pt x="779" y="103"/>
                  </a:cubicBezTo>
                  <a:cubicBezTo>
                    <a:pt x="781" y="103"/>
                    <a:pt x="782" y="104"/>
                    <a:pt x="784" y="103"/>
                  </a:cubicBezTo>
                  <a:close/>
                  <a:moveTo>
                    <a:pt x="1658" y="67"/>
                  </a:moveTo>
                  <a:cubicBezTo>
                    <a:pt x="1658" y="66"/>
                    <a:pt x="1657" y="65"/>
                    <a:pt x="1656" y="65"/>
                  </a:cubicBezTo>
                  <a:cubicBezTo>
                    <a:pt x="1657" y="65"/>
                    <a:pt x="1657" y="66"/>
                    <a:pt x="1658" y="67"/>
                  </a:cubicBezTo>
                  <a:close/>
                  <a:moveTo>
                    <a:pt x="1144" y="62"/>
                  </a:moveTo>
                  <a:cubicBezTo>
                    <a:pt x="1144" y="60"/>
                    <a:pt x="1144" y="59"/>
                    <a:pt x="1144" y="58"/>
                  </a:cubicBezTo>
                  <a:cubicBezTo>
                    <a:pt x="1144" y="59"/>
                    <a:pt x="1143" y="61"/>
                    <a:pt x="1144" y="62"/>
                  </a:cubicBezTo>
                  <a:close/>
                  <a:moveTo>
                    <a:pt x="599" y="123"/>
                  </a:moveTo>
                  <a:cubicBezTo>
                    <a:pt x="600" y="124"/>
                    <a:pt x="601" y="124"/>
                    <a:pt x="603" y="123"/>
                  </a:cubicBezTo>
                  <a:cubicBezTo>
                    <a:pt x="601" y="123"/>
                    <a:pt x="600" y="123"/>
                    <a:pt x="599" y="123"/>
                  </a:cubicBezTo>
                  <a:close/>
                  <a:moveTo>
                    <a:pt x="571" y="16"/>
                  </a:moveTo>
                  <a:cubicBezTo>
                    <a:pt x="570" y="16"/>
                    <a:pt x="569" y="16"/>
                    <a:pt x="568" y="16"/>
                  </a:cubicBezTo>
                  <a:cubicBezTo>
                    <a:pt x="569" y="17"/>
                    <a:pt x="570" y="16"/>
                    <a:pt x="571" y="16"/>
                  </a:cubicBezTo>
                  <a:close/>
                  <a:moveTo>
                    <a:pt x="1004" y="16"/>
                  </a:moveTo>
                  <a:cubicBezTo>
                    <a:pt x="1003" y="16"/>
                    <a:pt x="1002" y="16"/>
                    <a:pt x="1000" y="16"/>
                  </a:cubicBezTo>
                  <a:cubicBezTo>
                    <a:pt x="1002" y="17"/>
                    <a:pt x="1003" y="16"/>
                    <a:pt x="1004" y="16"/>
                  </a:cubicBezTo>
                  <a:close/>
                  <a:moveTo>
                    <a:pt x="997" y="16"/>
                  </a:moveTo>
                  <a:cubicBezTo>
                    <a:pt x="996" y="16"/>
                    <a:pt x="995" y="16"/>
                    <a:pt x="994" y="16"/>
                  </a:cubicBezTo>
                  <a:cubicBezTo>
                    <a:pt x="995" y="16"/>
                    <a:pt x="996" y="17"/>
                    <a:pt x="997" y="16"/>
                  </a:cubicBezTo>
                  <a:close/>
                  <a:moveTo>
                    <a:pt x="1003" y="6"/>
                  </a:moveTo>
                  <a:cubicBezTo>
                    <a:pt x="1004" y="6"/>
                    <a:pt x="1005" y="6"/>
                    <a:pt x="1007" y="6"/>
                  </a:cubicBezTo>
                  <a:cubicBezTo>
                    <a:pt x="1005" y="5"/>
                    <a:pt x="1004" y="6"/>
                    <a:pt x="1003" y="6"/>
                  </a:cubicBezTo>
                  <a:close/>
                  <a:moveTo>
                    <a:pt x="571" y="6"/>
                  </a:moveTo>
                  <a:cubicBezTo>
                    <a:pt x="572" y="6"/>
                    <a:pt x="573" y="6"/>
                    <a:pt x="575" y="6"/>
                  </a:cubicBezTo>
                  <a:cubicBezTo>
                    <a:pt x="574" y="5"/>
                    <a:pt x="572" y="6"/>
                    <a:pt x="571" y="6"/>
                  </a:cubicBezTo>
                  <a:close/>
                  <a:moveTo>
                    <a:pt x="680" y="103"/>
                  </a:moveTo>
                  <a:cubicBezTo>
                    <a:pt x="679" y="103"/>
                    <a:pt x="678" y="103"/>
                    <a:pt x="676" y="103"/>
                  </a:cubicBezTo>
                  <a:cubicBezTo>
                    <a:pt x="678" y="103"/>
                    <a:pt x="679" y="104"/>
                    <a:pt x="680" y="103"/>
                  </a:cubicBezTo>
                  <a:close/>
                  <a:moveTo>
                    <a:pt x="1236" y="103"/>
                  </a:moveTo>
                  <a:cubicBezTo>
                    <a:pt x="1235" y="103"/>
                    <a:pt x="1234" y="103"/>
                    <a:pt x="1233" y="103"/>
                  </a:cubicBezTo>
                  <a:cubicBezTo>
                    <a:pt x="1234" y="104"/>
                    <a:pt x="1235" y="103"/>
                    <a:pt x="1236" y="103"/>
                  </a:cubicBezTo>
                  <a:close/>
                  <a:moveTo>
                    <a:pt x="1058" y="103"/>
                  </a:moveTo>
                  <a:cubicBezTo>
                    <a:pt x="1057" y="103"/>
                    <a:pt x="1056" y="103"/>
                    <a:pt x="1055" y="103"/>
                  </a:cubicBezTo>
                  <a:cubicBezTo>
                    <a:pt x="1056" y="104"/>
                    <a:pt x="1057" y="103"/>
                    <a:pt x="1058" y="103"/>
                  </a:cubicBezTo>
                  <a:close/>
                  <a:moveTo>
                    <a:pt x="1470" y="42"/>
                  </a:moveTo>
                  <a:cubicBezTo>
                    <a:pt x="1470" y="43"/>
                    <a:pt x="1470" y="44"/>
                    <a:pt x="1471" y="46"/>
                  </a:cubicBezTo>
                  <a:cubicBezTo>
                    <a:pt x="1471" y="44"/>
                    <a:pt x="1471" y="43"/>
                    <a:pt x="1470" y="42"/>
                  </a:cubicBezTo>
                  <a:close/>
                  <a:moveTo>
                    <a:pt x="733" y="94"/>
                  </a:moveTo>
                  <a:cubicBezTo>
                    <a:pt x="735" y="94"/>
                    <a:pt x="736" y="94"/>
                    <a:pt x="737" y="94"/>
                  </a:cubicBezTo>
                  <a:cubicBezTo>
                    <a:pt x="736" y="94"/>
                    <a:pt x="735" y="94"/>
                    <a:pt x="733" y="94"/>
                  </a:cubicBezTo>
                  <a:close/>
                  <a:moveTo>
                    <a:pt x="1444" y="103"/>
                  </a:moveTo>
                  <a:cubicBezTo>
                    <a:pt x="1443" y="103"/>
                    <a:pt x="1442" y="103"/>
                    <a:pt x="1441" y="103"/>
                  </a:cubicBezTo>
                  <a:cubicBezTo>
                    <a:pt x="1442" y="103"/>
                    <a:pt x="1443" y="104"/>
                    <a:pt x="1444" y="103"/>
                  </a:cubicBezTo>
                  <a:close/>
                  <a:moveTo>
                    <a:pt x="878" y="45"/>
                  </a:moveTo>
                  <a:cubicBezTo>
                    <a:pt x="877" y="46"/>
                    <a:pt x="876" y="46"/>
                    <a:pt x="876" y="47"/>
                  </a:cubicBezTo>
                  <a:cubicBezTo>
                    <a:pt x="877" y="47"/>
                    <a:pt x="877" y="46"/>
                    <a:pt x="878" y="45"/>
                  </a:cubicBezTo>
                  <a:close/>
                  <a:moveTo>
                    <a:pt x="1567" y="21"/>
                  </a:moveTo>
                  <a:cubicBezTo>
                    <a:pt x="1566" y="20"/>
                    <a:pt x="1566" y="19"/>
                    <a:pt x="1565" y="19"/>
                  </a:cubicBezTo>
                  <a:cubicBezTo>
                    <a:pt x="1565" y="20"/>
                    <a:pt x="1566" y="20"/>
                    <a:pt x="1567" y="21"/>
                  </a:cubicBezTo>
                  <a:close/>
                  <a:moveTo>
                    <a:pt x="1750" y="33"/>
                  </a:moveTo>
                  <a:cubicBezTo>
                    <a:pt x="1749" y="34"/>
                    <a:pt x="1749" y="35"/>
                    <a:pt x="1749" y="36"/>
                  </a:cubicBezTo>
                  <a:cubicBezTo>
                    <a:pt x="1750" y="35"/>
                    <a:pt x="1750" y="34"/>
                    <a:pt x="1750" y="33"/>
                  </a:cubicBezTo>
                  <a:close/>
                  <a:moveTo>
                    <a:pt x="673" y="44"/>
                  </a:moveTo>
                  <a:cubicBezTo>
                    <a:pt x="672" y="45"/>
                    <a:pt x="672" y="45"/>
                    <a:pt x="671" y="46"/>
                  </a:cubicBezTo>
                  <a:cubicBezTo>
                    <a:pt x="672" y="46"/>
                    <a:pt x="673" y="45"/>
                    <a:pt x="673" y="44"/>
                  </a:cubicBezTo>
                  <a:close/>
                  <a:moveTo>
                    <a:pt x="1193" y="94"/>
                  </a:moveTo>
                  <a:cubicBezTo>
                    <a:pt x="1195" y="94"/>
                    <a:pt x="1196" y="94"/>
                    <a:pt x="1197" y="94"/>
                  </a:cubicBezTo>
                  <a:cubicBezTo>
                    <a:pt x="1196" y="94"/>
                    <a:pt x="1195" y="94"/>
                    <a:pt x="1193" y="94"/>
                  </a:cubicBezTo>
                  <a:close/>
                  <a:moveTo>
                    <a:pt x="776" y="103"/>
                  </a:moveTo>
                  <a:cubicBezTo>
                    <a:pt x="775" y="103"/>
                    <a:pt x="774" y="103"/>
                    <a:pt x="773" y="103"/>
                  </a:cubicBezTo>
                  <a:cubicBezTo>
                    <a:pt x="774" y="104"/>
                    <a:pt x="775" y="103"/>
                    <a:pt x="776" y="103"/>
                  </a:cubicBezTo>
                  <a:close/>
                  <a:moveTo>
                    <a:pt x="1582" y="33"/>
                  </a:moveTo>
                  <a:cubicBezTo>
                    <a:pt x="1581" y="34"/>
                    <a:pt x="1581" y="35"/>
                    <a:pt x="1581" y="36"/>
                  </a:cubicBezTo>
                  <a:cubicBezTo>
                    <a:pt x="1582" y="35"/>
                    <a:pt x="1582" y="34"/>
                    <a:pt x="1582" y="33"/>
                  </a:cubicBezTo>
                  <a:close/>
                  <a:moveTo>
                    <a:pt x="1695" y="94"/>
                  </a:moveTo>
                  <a:cubicBezTo>
                    <a:pt x="1696" y="93"/>
                    <a:pt x="1696" y="92"/>
                    <a:pt x="1696" y="91"/>
                  </a:cubicBezTo>
                  <a:cubicBezTo>
                    <a:pt x="1695" y="92"/>
                    <a:pt x="1695" y="93"/>
                    <a:pt x="1695" y="94"/>
                  </a:cubicBezTo>
                  <a:close/>
                  <a:moveTo>
                    <a:pt x="1471" y="62"/>
                  </a:moveTo>
                  <a:cubicBezTo>
                    <a:pt x="1470" y="63"/>
                    <a:pt x="1470" y="64"/>
                    <a:pt x="1470" y="65"/>
                  </a:cubicBezTo>
                  <a:cubicBezTo>
                    <a:pt x="1471" y="64"/>
                    <a:pt x="1471" y="63"/>
                    <a:pt x="1471" y="62"/>
                  </a:cubicBezTo>
                  <a:close/>
                  <a:moveTo>
                    <a:pt x="764" y="87"/>
                  </a:moveTo>
                  <a:cubicBezTo>
                    <a:pt x="764" y="88"/>
                    <a:pt x="765" y="89"/>
                    <a:pt x="766" y="89"/>
                  </a:cubicBezTo>
                  <a:cubicBezTo>
                    <a:pt x="765" y="88"/>
                    <a:pt x="765" y="88"/>
                    <a:pt x="764" y="87"/>
                  </a:cubicBezTo>
                  <a:close/>
                  <a:moveTo>
                    <a:pt x="805" y="59"/>
                  </a:moveTo>
                  <a:cubicBezTo>
                    <a:pt x="805" y="60"/>
                    <a:pt x="805" y="61"/>
                    <a:pt x="806" y="62"/>
                  </a:cubicBezTo>
                  <a:cubicBezTo>
                    <a:pt x="806" y="61"/>
                    <a:pt x="806" y="60"/>
                    <a:pt x="805" y="59"/>
                  </a:cubicBezTo>
                  <a:close/>
                  <a:moveTo>
                    <a:pt x="673" y="103"/>
                  </a:moveTo>
                  <a:cubicBezTo>
                    <a:pt x="672" y="103"/>
                    <a:pt x="671" y="103"/>
                    <a:pt x="670" y="103"/>
                  </a:cubicBezTo>
                  <a:cubicBezTo>
                    <a:pt x="671" y="104"/>
                    <a:pt x="672" y="103"/>
                    <a:pt x="673" y="103"/>
                  </a:cubicBezTo>
                  <a:close/>
                  <a:moveTo>
                    <a:pt x="557" y="103"/>
                  </a:moveTo>
                  <a:cubicBezTo>
                    <a:pt x="556" y="103"/>
                    <a:pt x="555" y="103"/>
                    <a:pt x="553" y="103"/>
                  </a:cubicBezTo>
                  <a:cubicBezTo>
                    <a:pt x="554" y="104"/>
                    <a:pt x="556" y="103"/>
                    <a:pt x="557" y="103"/>
                  </a:cubicBezTo>
                  <a:close/>
                  <a:moveTo>
                    <a:pt x="1256" y="39"/>
                  </a:moveTo>
                  <a:cubicBezTo>
                    <a:pt x="1257" y="40"/>
                    <a:pt x="1257" y="40"/>
                    <a:pt x="1258" y="41"/>
                  </a:cubicBezTo>
                  <a:cubicBezTo>
                    <a:pt x="1258" y="40"/>
                    <a:pt x="1257" y="39"/>
                    <a:pt x="1256" y="39"/>
                  </a:cubicBezTo>
                  <a:close/>
                  <a:moveTo>
                    <a:pt x="1735" y="21"/>
                  </a:moveTo>
                  <a:cubicBezTo>
                    <a:pt x="1735" y="20"/>
                    <a:pt x="1734" y="19"/>
                    <a:pt x="1733" y="19"/>
                  </a:cubicBezTo>
                  <a:cubicBezTo>
                    <a:pt x="1734" y="20"/>
                    <a:pt x="1734" y="20"/>
                    <a:pt x="1735" y="21"/>
                  </a:cubicBezTo>
                  <a:close/>
                  <a:moveTo>
                    <a:pt x="835" y="45"/>
                  </a:moveTo>
                  <a:cubicBezTo>
                    <a:pt x="834" y="46"/>
                    <a:pt x="834" y="46"/>
                    <a:pt x="833" y="47"/>
                  </a:cubicBezTo>
                  <a:cubicBezTo>
                    <a:pt x="834" y="47"/>
                    <a:pt x="835" y="46"/>
                    <a:pt x="835" y="45"/>
                  </a:cubicBezTo>
                  <a:close/>
                  <a:moveTo>
                    <a:pt x="685" y="42"/>
                  </a:moveTo>
                  <a:cubicBezTo>
                    <a:pt x="685" y="42"/>
                    <a:pt x="684" y="42"/>
                    <a:pt x="683" y="42"/>
                  </a:cubicBezTo>
                  <a:cubicBezTo>
                    <a:pt x="683" y="43"/>
                    <a:pt x="685" y="42"/>
                    <a:pt x="685" y="42"/>
                  </a:cubicBezTo>
                  <a:close/>
                  <a:moveTo>
                    <a:pt x="1438" y="103"/>
                  </a:moveTo>
                  <a:cubicBezTo>
                    <a:pt x="1437" y="103"/>
                    <a:pt x="1436" y="103"/>
                    <a:pt x="1435" y="103"/>
                  </a:cubicBezTo>
                  <a:cubicBezTo>
                    <a:pt x="1436" y="104"/>
                    <a:pt x="1437" y="103"/>
                    <a:pt x="1438" y="103"/>
                  </a:cubicBezTo>
                  <a:close/>
                  <a:moveTo>
                    <a:pt x="902" y="59"/>
                  </a:moveTo>
                  <a:cubicBezTo>
                    <a:pt x="902" y="58"/>
                    <a:pt x="902" y="57"/>
                    <a:pt x="901" y="56"/>
                  </a:cubicBezTo>
                  <a:cubicBezTo>
                    <a:pt x="901" y="57"/>
                    <a:pt x="901" y="58"/>
                    <a:pt x="902" y="59"/>
                  </a:cubicBezTo>
                  <a:close/>
                  <a:moveTo>
                    <a:pt x="566" y="6"/>
                  </a:moveTo>
                  <a:cubicBezTo>
                    <a:pt x="567" y="6"/>
                    <a:pt x="567" y="6"/>
                    <a:pt x="568" y="6"/>
                  </a:cubicBezTo>
                  <a:cubicBezTo>
                    <a:pt x="567" y="5"/>
                    <a:pt x="567" y="5"/>
                    <a:pt x="566" y="6"/>
                  </a:cubicBezTo>
                  <a:close/>
                  <a:moveTo>
                    <a:pt x="700" y="82"/>
                  </a:moveTo>
                  <a:cubicBezTo>
                    <a:pt x="700" y="83"/>
                    <a:pt x="700" y="84"/>
                    <a:pt x="700" y="85"/>
                  </a:cubicBezTo>
                  <a:cubicBezTo>
                    <a:pt x="700" y="84"/>
                    <a:pt x="700" y="83"/>
                    <a:pt x="700" y="82"/>
                  </a:cubicBezTo>
                  <a:close/>
                  <a:moveTo>
                    <a:pt x="758" y="72"/>
                  </a:moveTo>
                  <a:cubicBezTo>
                    <a:pt x="758" y="73"/>
                    <a:pt x="758" y="74"/>
                    <a:pt x="759" y="75"/>
                  </a:cubicBezTo>
                  <a:cubicBezTo>
                    <a:pt x="759" y="74"/>
                    <a:pt x="759" y="73"/>
                    <a:pt x="758" y="72"/>
                  </a:cubicBezTo>
                  <a:close/>
                  <a:moveTo>
                    <a:pt x="1527" y="94"/>
                  </a:moveTo>
                  <a:cubicBezTo>
                    <a:pt x="1527" y="93"/>
                    <a:pt x="1527" y="92"/>
                    <a:pt x="1527" y="91"/>
                  </a:cubicBezTo>
                  <a:cubicBezTo>
                    <a:pt x="1527" y="92"/>
                    <a:pt x="1527" y="93"/>
                    <a:pt x="1527" y="94"/>
                  </a:cubicBezTo>
                  <a:close/>
                  <a:moveTo>
                    <a:pt x="1364" y="6"/>
                  </a:moveTo>
                  <a:cubicBezTo>
                    <a:pt x="1365" y="6"/>
                    <a:pt x="1366" y="6"/>
                    <a:pt x="1367" y="6"/>
                  </a:cubicBezTo>
                  <a:cubicBezTo>
                    <a:pt x="1366" y="6"/>
                    <a:pt x="1365" y="5"/>
                    <a:pt x="1364" y="6"/>
                  </a:cubicBezTo>
                  <a:close/>
                  <a:moveTo>
                    <a:pt x="992" y="6"/>
                  </a:moveTo>
                  <a:cubicBezTo>
                    <a:pt x="993" y="6"/>
                    <a:pt x="994" y="6"/>
                    <a:pt x="995" y="6"/>
                  </a:cubicBezTo>
                  <a:cubicBezTo>
                    <a:pt x="994" y="6"/>
                    <a:pt x="993" y="5"/>
                    <a:pt x="992" y="6"/>
                  </a:cubicBezTo>
                  <a:close/>
                  <a:moveTo>
                    <a:pt x="561" y="6"/>
                  </a:moveTo>
                  <a:cubicBezTo>
                    <a:pt x="562" y="6"/>
                    <a:pt x="563" y="6"/>
                    <a:pt x="564" y="6"/>
                  </a:cubicBezTo>
                  <a:cubicBezTo>
                    <a:pt x="563" y="6"/>
                    <a:pt x="562" y="5"/>
                    <a:pt x="561" y="6"/>
                  </a:cubicBezTo>
                  <a:close/>
                  <a:moveTo>
                    <a:pt x="565" y="16"/>
                  </a:moveTo>
                  <a:cubicBezTo>
                    <a:pt x="564" y="16"/>
                    <a:pt x="563" y="16"/>
                    <a:pt x="562" y="16"/>
                  </a:cubicBezTo>
                  <a:cubicBezTo>
                    <a:pt x="563" y="16"/>
                    <a:pt x="564" y="17"/>
                    <a:pt x="565" y="16"/>
                  </a:cubicBezTo>
                  <a:close/>
                  <a:moveTo>
                    <a:pt x="1581" y="26"/>
                  </a:moveTo>
                  <a:cubicBezTo>
                    <a:pt x="1581" y="27"/>
                    <a:pt x="1581" y="28"/>
                    <a:pt x="1582" y="29"/>
                  </a:cubicBezTo>
                  <a:cubicBezTo>
                    <a:pt x="1582" y="28"/>
                    <a:pt x="1582" y="27"/>
                    <a:pt x="1581" y="26"/>
                  </a:cubicBezTo>
                  <a:close/>
                  <a:moveTo>
                    <a:pt x="998" y="6"/>
                  </a:moveTo>
                  <a:cubicBezTo>
                    <a:pt x="999" y="6"/>
                    <a:pt x="999" y="6"/>
                    <a:pt x="1000" y="6"/>
                  </a:cubicBezTo>
                  <a:cubicBezTo>
                    <a:pt x="999" y="5"/>
                    <a:pt x="999" y="5"/>
                    <a:pt x="998" y="6"/>
                  </a:cubicBezTo>
                  <a:close/>
                  <a:moveTo>
                    <a:pt x="1410" y="69"/>
                  </a:moveTo>
                  <a:cubicBezTo>
                    <a:pt x="1410" y="68"/>
                    <a:pt x="1410" y="67"/>
                    <a:pt x="1410" y="66"/>
                  </a:cubicBezTo>
                  <a:cubicBezTo>
                    <a:pt x="1410" y="67"/>
                    <a:pt x="1409" y="68"/>
                    <a:pt x="1410" y="69"/>
                  </a:cubicBezTo>
                  <a:close/>
                  <a:moveTo>
                    <a:pt x="886" y="33"/>
                  </a:moveTo>
                  <a:cubicBezTo>
                    <a:pt x="886" y="33"/>
                    <a:pt x="887" y="33"/>
                    <a:pt x="888" y="33"/>
                  </a:cubicBezTo>
                  <a:cubicBezTo>
                    <a:pt x="887" y="33"/>
                    <a:pt x="886" y="32"/>
                    <a:pt x="886" y="33"/>
                  </a:cubicBezTo>
                  <a:close/>
                  <a:moveTo>
                    <a:pt x="1726" y="6"/>
                  </a:moveTo>
                  <a:cubicBezTo>
                    <a:pt x="1726" y="6"/>
                    <a:pt x="1727" y="6"/>
                    <a:pt x="1728" y="6"/>
                  </a:cubicBezTo>
                  <a:cubicBezTo>
                    <a:pt x="1727" y="5"/>
                    <a:pt x="1727" y="6"/>
                    <a:pt x="1726" y="6"/>
                  </a:cubicBezTo>
                  <a:close/>
                  <a:moveTo>
                    <a:pt x="725" y="83"/>
                  </a:moveTo>
                  <a:cubicBezTo>
                    <a:pt x="725" y="84"/>
                    <a:pt x="725" y="85"/>
                    <a:pt x="726" y="86"/>
                  </a:cubicBezTo>
                  <a:cubicBezTo>
                    <a:pt x="726" y="85"/>
                    <a:pt x="726" y="84"/>
                    <a:pt x="725" y="83"/>
                  </a:cubicBezTo>
                  <a:close/>
                  <a:moveTo>
                    <a:pt x="1717" y="6"/>
                  </a:moveTo>
                  <a:cubicBezTo>
                    <a:pt x="1718" y="6"/>
                    <a:pt x="1719" y="6"/>
                    <a:pt x="1719" y="6"/>
                  </a:cubicBezTo>
                  <a:cubicBezTo>
                    <a:pt x="1719" y="6"/>
                    <a:pt x="1718" y="5"/>
                    <a:pt x="1717" y="6"/>
                  </a:cubicBezTo>
                  <a:close/>
                  <a:moveTo>
                    <a:pt x="1410" y="46"/>
                  </a:moveTo>
                  <a:cubicBezTo>
                    <a:pt x="1410" y="45"/>
                    <a:pt x="1410" y="44"/>
                    <a:pt x="1410" y="43"/>
                  </a:cubicBezTo>
                  <a:cubicBezTo>
                    <a:pt x="1409" y="44"/>
                    <a:pt x="1410" y="45"/>
                    <a:pt x="1410" y="46"/>
                  </a:cubicBezTo>
                  <a:close/>
                  <a:moveTo>
                    <a:pt x="1063" y="33"/>
                  </a:moveTo>
                  <a:cubicBezTo>
                    <a:pt x="1064" y="33"/>
                    <a:pt x="1065" y="33"/>
                    <a:pt x="1065" y="33"/>
                  </a:cubicBezTo>
                  <a:cubicBezTo>
                    <a:pt x="1065" y="32"/>
                    <a:pt x="1064" y="33"/>
                    <a:pt x="1063" y="33"/>
                  </a:cubicBezTo>
                  <a:close/>
                  <a:moveTo>
                    <a:pt x="1029" y="64"/>
                  </a:moveTo>
                  <a:cubicBezTo>
                    <a:pt x="1030" y="63"/>
                    <a:pt x="1030" y="62"/>
                    <a:pt x="1030" y="61"/>
                  </a:cubicBezTo>
                  <a:cubicBezTo>
                    <a:pt x="1029" y="62"/>
                    <a:pt x="1029" y="63"/>
                    <a:pt x="1029" y="64"/>
                  </a:cubicBezTo>
                  <a:close/>
                  <a:moveTo>
                    <a:pt x="1558" y="6"/>
                  </a:moveTo>
                  <a:cubicBezTo>
                    <a:pt x="1558" y="6"/>
                    <a:pt x="1559" y="6"/>
                    <a:pt x="1560" y="6"/>
                  </a:cubicBezTo>
                  <a:cubicBezTo>
                    <a:pt x="1559" y="5"/>
                    <a:pt x="1558" y="6"/>
                    <a:pt x="1558" y="6"/>
                  </a:cubicBezTo>
                  <a:close/>
                  <a:moveTo>
                    <a:pt x="1549" y="6"/>
                  </a:moveTo>
                  <a:cubicBezTo>
                    <a:pt x="1550" y="6"/>
                    <a:pt x="1550" y="6"/>
                    <a:pt x="1551" y="6"/>
                  </a:cubicBezTo>
                  <a:cubicBezTo>
                    <a:pt x="1550" y="6"/>
                    <a:pt x="1549" y="5"/>
                    <a:pt x="1549" y="6"/>
                  </a:cubicBezTo>
                  <a:close/>
                  <a:moveTo>
                    <a:pt x="1444" y="6"/>
                  </a:moveTo>
                  <a:cubicBezTo>
                    <a:pt x="1445" y="6"/>
                    <a:pt x="1445" y="6"/>
                    <a:pt x="1446" y="6"/>
                  </a:cubicBezTo>
                  <a:cubicBezTo>
                    <a:pt x="1446" y="5"/>
                    <a:pt x="1445" y="6"/>
                    <a:pt x="1444" y="6"/>
                  </a:cubicBezTo>
                  <a:close/>
                  <a:moveTo>
                    <a:pt x="1750" y="27"/>
                  </a:moveTo>
                  <a:cubicBezTo>
                    <a:pt x="1749" y="28"/>
                    <a:pt x="1749" y="28"/>
                    <a:pt x="1750" y="29"/>
                  </a:cubicBezTo>
                  <a:cubicBezTo>
                    <a:pt x="1750" y="28"/>
                    <a:pt x="1750" y="27"/>
                    <a:pt x="1750" y="27"/>
                  </a:cubicBezTo>
                  <a:close/>
                  <a:moveTo>
                    <a:pt x="1373" y="6"/>
                  </a:moveTo>
                  <a:cubicBezTo>
                    <a:pt x="1374" y="6"/>
                    <a:pt x="1375" y="6"/>
                    <a:pt x="1376" y="6"/>
                  </a:cubicBezTo>
                  <a:cubicBezTo>
                    <a:pt x="1375" y="5"/>
                    <a:pt x="1374" y="6"/>
                    <a:pt x="1373" y="6"/>
                  </a:cubicBezTo>
                  <a:close/>
                  <a:moveTo>
                    <a:pt x="1135" y="33"/>
                  </a:moveTo>
                  <a:cubicBezTo>
                    <a:pt x="1135" y="33"/>
                    <a:pt x="1136" y="33"/>
                    <a:pt x="1137" y="33"/>
                  </a:cubicBezTo>
                  <a:cubicBezTo>
                    <a:pt x="1136" y="32"/>
                    <a:pt x="1136" y="33"/>
                    <a:pt x="1135" y="33"/>
                  </a:cubicBezTo>
                  <a:close/>
                  <a:moveTo>
                    <a:pt x="720" y="99"/>
                  </a:moveTo>
                  <a:cubicBezTo>
                    <a:pt x="720" y="99"/>
                    <a:pt x="719" y="98"/>
                    <a:pt x="719" y="98"/>
                  </a:cubicBezTo>
                  <a:cubicBezTo>
                    <a:pt x="719" y="99"/>
                    <a:pt x="719" y="99"/>
                    <a:pt x="720" y="99"/>
                  </a:cubicBezTo>
                  <a:close/>
                  <a:moveTo>
                    <a:pt x="1030" y="76"/>
                  </a:moveTo>
                  <a:cubicBezTo>
                    <a:pt x="1030" y="75"/>
                    <a:pt x="1030" y="74"/>
                    <a:pt x="1029" y="73"/>
                  </a:cubicBezTo>
                  <a:cubicBezTo>
                    <a:pt x="1029" y="74"/>
                    <a:pt x="1029" y="75"/>
                    <a:pt x="1030" y="76"/>
                  </a:cubicBezTo>
                  <a:close/>
                  <a:moveTo>
                    <a:pt x="685" y="33"/>
                  </a:moveTo>
                  <a:cubicBezTo>
                    <a:pt x="686" y="33"/>
                    <a:pt x="687" y="33"/>
                    <a:pt x="687" y="33"/>
                  </a:cubicBezTo>
                  <a:cubicBezTo>
                    <a:pt x="687" y="32"/>
                    <a:pt x="686" y="33"/>
                    <a:pt x="685" y="33"/>
                  </a:cubicBezTo>
                  <a:close/>
                  <a:moveTo>
                    <a:pt x="890" y="42"/>
                  </a:moveTo>
                  <a:cubicBezTo>
                    <a:pt x="890" y="42"/>
                    <a:pt x="889" y="42"/>
                    <a:pt x="888" y="42"/>
                  </a:cubicBezTo>
                  <a:cubicBezTo>
                    <a:pt x="889" y="43"/>
                    <a:pt x="890" y="42"/>
                    <a:pt x="890" y="42"/>
                  </a:cubicBezTo>
                  <a:close/>
                  <a:moveTo>
                    <a:pt x="893" y="33"/>
                  </a:moveTo>
                  <a:cubicBezTo>
                    <a:pt x="894" y="33"/>
                    <a:pt x="894" y="33"/>
                    <a:pt x="895" y="33"/>
                  </a:cubicBezTo>
                  <a:cubicBezTo>
                    <a:pt x="894" y="32"/>
                    <a:pt x="894" y="33"/>
                    <a:pt x="893" y="33"/>
                  </a:cubicBezTo>
                  <a:close/>
                  <a:moveTo>
                    <a:pt x="1293" y="39"/>
                  </a:moveTo>
                  <a:cubicBezTo>
                    <a:pt x="1294" y="38"/>
                    <a:pt x="1294" y="38"/>
                    <a:pt x="1295" y="37"/>
                  </a:cubicBezTo>
                  <a:cubicBezTo>
                    <a:pt x="1294" y="38"/>
                    <a:pt x="1293" y="38"/>
                    <a:pt x="1293" y="39"/>
                  </a:cubicBezTo>
                  <a:close/>
                  <a:moveTo>
                    <a:pt x="773" y="33"/>
                  </a:moveTo>
                  <a:cubicBezTo>
                    <a:pt x="774" y="33"/>
                    <a:pt x="775" y="33"/>
                    <a:pt x="776" y="33"/>
                  </a:cubicBezTo>
                  <a:cubicBezTo>
                    <a:pt x="775" y="33"/>
                    <a:pt x="774" y="32"/>
                    <a:pt x="773" y="33"/>
                  </a:cubicBezTo>
                  <a:close/>
                  <a:moveTo>
                    <a:pt x="828" y="58"/>
                  </a:moveTo>
                  <a:cubicBezTo>
                    <a:pt x="828" y="59"/>
                    <a:pt x="828" y="60"/>
                    <a:pt x="828" y="61"/>
                  </a:cubicBezTo>
                  <a:cubicBezTo>
                    <a:pt x="829" y="60"/>
                    <a:pt x="828" y="59"/>
                    <a:pt x="828" y="58"/>
                  </a:cubicBezTo>
                  <a:close/>
                  <a:moveTo>
                    <a:pt x="677" y="33"/>
                  </a:moveTo>
                  <a:cubicBezTo>
                    <a:pt x="678" y="33"/>
                    <a:pt x="679" y="33"/>
                    <a:pt x="680" y="33"/>
                  </a:cubicBezTo>
                  <a:cubicBezTo>
                    <a:pt x="679" y="33"/>
                    <a:pt x="678" y="32"/>
                    <a:pt x="677" y="33"/>
                  </a:cubicBezTo>
                  <a:close/>
                  <a:moveTo>
                    <a:pt x="1369" y="6"/>
                  </a:moveTo>
                  <a:cubicBezTo>
                    <a:pt x="1370" y="6"/>
                    <a:pt x="1371" y="6"/>
                    <a:pt x="1371" y="6"/>
                  </a:cubicBezTo>
                  <a:cubicBezTo>
                    <a:pt x="1371" y="5"/>
                    <a:pt x="1370" y="5"/>
                    <a:pt x="1369" y="6"/>
                  </a:cubicBezTo>
                  <a:close/>
                  <a:moveTo>
                    <a:pt x="781" y="33"/>
                  </a:moveTo>
                  <a:cubicBezTo>
                    <a:pt x="781" y="33"/>
                    <a:pt x="782" y="33"/>
                    <a:pt x="783" y="33"/>
                  </a:cubicBezTo>
                  <a:cubicBezTo>
                    <a:pt x="782" y="32"/>
                    <a:pt x="781" y="33"/>
                    <a:pt x="781" y="33"/>
                  </a:cubicBezTo>
                  <a:close/>
                  <a:moveTo>
                    <a:pt x="1005" y="103"/>
                  </a:moveTo>
                  <a:cubicBezTo>
                    <a:pt x="1004" y="103"/>
                    <a:pt x="1004" y="103"/>
                    <a:pt x="1003" y="103"/>
                  </a:cubicBezTo>
                  <a:cubicBezTo>
                    <a:pt x="1004" y="103"/>
                    <a:pt x="1004" y="103"/>
                    <a:pt x="1005" y="103"/>
                  </a:cubicBezTo>
                  <a:close/>
                  <a:moveTo>
                    <a:pt x="1207" y="76"/>
                  </a:moveTo>
                  <a:cubicBezTo>
                    <a:pt x="1208" y="75"/>
                    <a:pt x="1208" y="74"/>
                    <a:pt x="1207" y="74"/>
                  </a:cubicBezTo>
                  <a:cubicBezTo>
                    <a:pt x="1207" y="74"/>
                    <a:pt x="1207" y="75"/>
                    <a:pt x="1207" y="76"/>
                  </a:cubicBezTo>
                  <a:close/>
                  <a:moveTo>
                    <a:pt x="1127" y="33"/>
                  </a:moveTo>
                  <a:cubicBezTo>
                    <a:pt x="1128" y="33"/>
                    <a:pt x="1129" y="33"/>
                    <a:pt x="1130" y="33"/>
                  </a:cubicBezTo>
                  <a:cubicBezTo>
                    <a:pt x="1129" y="33"/>
                    <a:pt x="1128" y="32"/>
                    <a:pt x="1127" y="33"/>
                  </a:cubicBezTo>
                  <a:close/>
                  <a:moveTo>
                    <a:pt x="1531" y="15"/>
                  </a:moveTo>
                  <a:cubicBezTo>
                    <a:pt x="1531" y="14"/>
                    <a:pt x="1532" y="14"/>
                    <a:pt x="1532" y="13"/>
                  </a:cubicBezTo>
                  <a:cubicBezTo>
                    <a:pt x="1532" y="14"/>
                    <a:pt x="1531" y="14"/>
                    <a:pt x="1531" y="15"/>
                  </a:cubicBezTo>
                  <a:close/>
                  <a:moveTo>
                    <a:pt x="1548" y="75"/>
                  </a:moveTo>
                  <a:cubicBezTo>
                    <a:pt x="1547" y="75"/>
                    <a:pt x="1547" y="76"/>
                    <a:pt x="1546" y="76"/>
                  </a:cubicBezTo>
                  <a:cubicBezTo>
                    <a:pt x="1547" y="76"/>
                    <a:pt x="1547" y="76"/>
                    <a:pt x="1548" y="75"/>
                  </a:cubicBezTo>
                  <a:close/>
                  <a:moveTo>
                    <a:pt x="1699" y="15"/>
                  </a:moveTo>
                  <a:cubicBezTo>
                    <a:pt x="1700" y="14"/>
                    <a:pt x="1700" y="14"/>
                    <a:pt x="1700" y="13"/>
                  </a:cubicBezTo>
                  <a:cubicBezTo>
                    <a:pt x="1700" y="14"/>
                    <a:pt x="1699" y="14"/>
                    <a:pt x="1699" y="15"/>
                  </a:cubicBezTo>
                  <a:close/>
                  <a:moveTo>
                    <a:pt x="844" y="33"/>
                  </a:moveTo>
                  <a:cubicBezTo>
                    <a:pt x="845" y="33"/>
                    <a:pt x="846" y="33"/>
                    <a:pt x="847" y="33"/>
                  </a:cubicBezTo>
                  <a:cubicBezTo>
                    <a:pt x="846" y="33"/>
                    <a:pt x="845" y="32"/>
                    <a:pt x="844" y="33"/>
                  </a:cubicBezTo>
                  <a:close/>
                  <a:moveTo>
                    <a:pt x="851" y="33"/>
                  </a:moveTo>
                  <a:cubicBezTo>
                    <a:pt x="852" y="33"/>
                    <a:pt x="852" y="33"/>
                    <a:pt x="853" y="33"/>
                  </a:cubicBezTo>
                  <a:cubicBezTo>
                    <a:pt x="852" y="32"/>
                    <a:pt x="852" y="33"/>
                    <a:pt x="851" y="33"/>
                  </a:cubicBezTo>
                  <a:close/>
                  <a:moveTo>
                    <a:pt x="1055" y="33"/>
                  </a:moveTo>
                  <a:cubicBezTo>
                    <a:pt x="1056" y="33"/>
                    <a:pt x="1057" y="33"/>
                    <a:pt x="1058" y="33"/>
                  </a:cubicBezTo>
                  <a:cubicBezTo>
                    <a:pt x="1057" y="33"/>
                    <a:pt x="1056" y="32"/>
                    <a:pt x="1055" y="33"/>
                  </a:cubicBezTo>
                  <a:close/>
                  <a:moveTo>
                    <a:pt x="1661" y="8"/>
                  </a:moveTo>
                  <a:cubicBezTo>
                    <a:pt x="1661" y="8"/>
                    <a:pt x="1662" y="8"/>
                    <a:pt x="1663" y="8"/>
                  </a:cubicBezTo>
                  <a:cubicBezTo>
                    <a:pt x="1662" y="7"/>
                    <a:pt x="1661" y="8"/>
                    <a:pt x="1661" y="8"/>
                  </a:cubicBezTo>
                  <a:close/>
                  <a:moveTo>
                    <a:pt x="1233" y="33"/>
                  </a:moveTo>
                  <a:cubicBezTo>
                    <a:pt x="1234" y="33"/>
                    <a:pt x="1235" y="33"/>
                    <a:pt x="1236" y="33"/>
                  </a:cubicBezTo>
                  <a:cubicBezTo>
                    <a:pt x="1235" y="33"/>
                    <a:pt x="1234" y="32"/>
                    <a:pt x="1233" y="33"/>
                  </a:cubicBezTo>
                  <a:close/>
                  <a:moveTo>
                    <a:pt x="1241" y="33"/>
                  </a:moveTo>
                  <a:cubicBezTo>
                    <a:pt x="1241" y="33"/>
                    <a:pt x="1242" y="33"/>
                    <a:pt x="1243" y="33"/>
                  </a:cubicBezTo>
                  <a:cubicBezTo>
                    <a:pt x="1242" y="32"/>
                    <a:pt x="1241" y="33"/>
                    <a:pt x="1241" y="33"/>
                  </a:cubicBezTo>
                  <a:close/>
                  <a:moveTo>
                    <a:pt x="589" y="73"/>
                  </a:moveTo>
                  <a:cubicBezTo>
                    <a:pt x="589" y="74"/>
                    <a:pt x="589" y="75"/>
                    <a:pt x="589" y="76"/>
                  </a:cubicBezTo>
                  <a:cubicBezTo>
                    <a:pt x="589" y="75"/>
                    <a:pt x="590" y="74"/>
                    <a:pt x="589" y="73"/>
                  </a:cubicBezTo>
                  <a:close/>
                  <a:moveTo>
                    <a:pt x="1410" y="72"/>
                  </a:moveTo>
                  <a:cubicBezTo>
                    <a:pt x="1410" y="71"/>
                    <a:pt x="1410" y="70"/>
                    <a:pt x="1410" y="69"/>
                  </a:cubicBezTo>
                  <a:cubicBezTo>
                    <a:pt x="1410" y="70"/>
                    <a:pt x="1410" y="71"/>
                    <a:pt x="1410" y="72"/>
                  </a:cubicBezTo>
                  <a:close/>
                  <a:moveTo>
                    <a:pt x="1370" y="15"/>
                  </a:moveTo>
                  <a:cubicBezTo>
                    <a:pt x="1369" y="15"/>
                    <a:pt x="1369" y="15"/>
                    <a:pt x="1368" y="15"/>
                  </a:cubicBezTo>
                  <a:cubicBezTo>
                    <a:pt x="1369" y="15"/>
                    <a:pt x="1369" y="15"/>
                    <a:pt x="1370" y="15"/>
                  </a:cubicBezTo>
                  <a:close/>
                  <a:moveTo>
                    <a:pt x="1555" y="15"/>
                  </a:moveTo>
                  <a:cubicBezTo>
                    <a:pt x="1554" y="15"/>
                    <a:pt x="1553" y="15"/>
                    <a:pt x="1552" y="15"/>
                  </a:cubicBezTo>
                  <a:cubicBezTo>
                    <a:pt x="1553" y="15"/>
                    <a:pt x="1554" y="15"/>
                    <a:pt x="1555" y="15"/>
                  </a:cubicBezTo>
                  <a:close/>
                  <a:moveTo>
                    <a:pt x="1470" y="66"/>
                  </a:moveTo>
                  <a:cubicBezTo>
                    <a:pt x="1470" y="67"/>
                    <a:pt x="1470" y="67"/>
                    <a:pt x="1470" y="68"/>
                  </a:cubicBezTo>
                  <a:cubicBezTo>
                    <a:pt x="1471" y="67"/>
                    <a:pt x="1470" y="67"/>
                    <a:pt x="1470" y="66"/>
                  </a:cubicBezTo>
                  <a:close/>
                  <a:moveTo>
                    <a:pt x="1723" y="15"/>
                  </a:moveTo>
                  <a:cubicBezTo>
                    <a:pt x="1722" y="15"/>
                    <a:pt x="1721" y="15"/>
                    <a:pt x="1720" y="15"/>
                  </a:cubicBezTo>
                  <a:cubicBezTo>
                    <a:pt x="1721" y="15"/>
                    <a:pt x="1722" y="15"/>
                    <a:pt x="1723" y="15"/>
                  </a:cubicBezTo>
                  <a:close/>
                  <a:moveTo>
                    <a:pt x="951" y="65"/>
                  </a:moveTo>
                  <a:cubicBezTo>
                    <a:pt x="951" y="64"/>
                    <a:pt x="951" y="63"/>
                    <a:pt x="951" y="63"/>
                  </a:cubicBezTo>
                  <a:cubicBezTo>
                    <a:pt x="951" y="64"/>
                    <a:pt x="951" y="64"/>
                    <a:pt x="951" y="65"/>
                  </a:cubicBezTo>
                  <a:close/>
                  <a:moveTo>
                    <a:pt x="1558" y="16"/>
                  </a:moveTo>
                  <a:cubicBezTo>
                    <a:pt x="1557" y="15"/>
                    <a:pt x="1556" y="15"/>
                    <a:pt x="1556" y="15"/>
                  </a:cubicBezTo>
                  <a:cubicBezTo>
                    <a:pt x="1556" y="16"/>
                    <a:pt x="1557" y="15"/>
                    <a:pt x="1558" y="16"/>
                  </a:cubicBezTo>
                  <a:close/>
                  <a:moveTo>
                    <a:pt x="1726" y="16"/>
                  </a:moveTo>
                  <a:cubicBezTo>
                    <a:pt x="1725" y="15"/>
                    <a:pt x="1724" y="15"/>
                    <a:pt x="1724" y="15"/>
                  </a:cubicBezTo>
                  <a:cubicBezTo>
                    <a:pt x="1724" y="16"/>
                    <a:pt x="1725" y="15"/>
                    <a:pt x="1726" y="16"/>
                  </a:cubicBezTo>
                  <a:close/>
                  <a:moveTo>
                    <a:pt x="1207" y="63"/>
                  </a:moveTo>
                  <a:cubicBezTo>
                    <a:pt x="1208" y="63"/>
                    <a:pt x="1208" y="62"/>
                    <a:pt x="1207" y="61"/>
                  </a:cubicBezTo>
                  <a:cubicBezTo>
                    <a:pt x="1207" y="62"/>
                    <a:pt x="1207" y="63"/>
                    <a:pt x="1207" y="63"/>
                  </a:cubicBezTo>
                  <a:close/>
                  <a:moveTo>
                    <a:pt x="1155" y="53"/>
                  </a:moveTo>
                  <a:cubicBezTo>
                    <a:pt x="1155" y="54"/>
                    <a:pt x="1155" y="54"/>
                    <a:pt x="1155" y="55"/>
                  </a:cubicBezTo>
                  <a:cubicBezTo>
                    <a:pt x="1155" y="54"/>
                    <a:pt x="1155" y="53"/>
                    <a:pt x="1155" y="53"/>
                  </a:cubicBezTo>
                  <a:close/>
                  <a:moveTo>
                    <a:pt x="680" y="42"/>
                  </a:moveTo>
                  <a:cubicBezTo>
                    <a:pt x="679" y="42"/>
                    <a:pt x="679" y="42"/>
                    <a:pt x="678" y="42"/>
                  </a:cubicBezTo>
                  <a:cubicBezTo>
                    <a:pt x="679" y="42"/>
                    <a:pt x="679" y="43"/>
                    <a:pt x="680" y="42"/>
                  </a:cubicBezTo>
                  <a:close/>
                  <a:moveTo>
                    <a:pt x="1568" y="59"/>
                  </a:moveTo>
                  <a:cubicBezTo>
                    <a:pt x="1568" y="59"/>
                    <a:pt x="1567" y="60"/>
                    <a:pt x="1567" y="60"/>
                  </a:cubicBezTo>
                  <a:cubicBezTo>
                    <a:pt x="1568" y="60"/>
                    <a:pt x="1568" y="60"/>
                    <a:pt x="1568" y="59"/>
                  </a:cubicBezTo>
                  <a:close/>
                  <a:moveTo>
                    <a:pt x="848" y="42"/>
                  </a:moveTo>
                  <a:cubicBezTo>
                    <a:pt x="847" y="42"/>
                    <a:pt x="846" y="42"/>
                    <a:pt x="845" y="42"/>
                  </a:cubicBezTo>
                  <a:cubicBezTo>
                    <a:pt x="846" y="43"/>
                    <a:pt x="847" y="42"/>
                    <a:pt x="848" y="42"/>
                  </a:cubicBezTo>
                  <a:close/>
                  <a:moveTo>
                    <a:pt x="1440" y="6"/>
                  </a:moveTo>
                  <a:cubicBezTo>
                    <a:pt x="1441" y="6"/>
                    <a:pt x="1441" y="6"/>
                    <a:pt x="1442" y="6"/>
                  </a:cubicBezTo>
                  <a:cubicBezTo>
                    <a:pt x="1441" y="5"/>
                    <a:pt x="1441" y="5"/>
                    <a:pt x="1440" y="6"/>
                  </a:cubicBezTo>
                  <a:close/>
                  <a:moveTo>
                    <a:pt x="1554" y="6"/>
                  </a:moveTo>
                  <a:cubicBezTo>
                    <a:pt x="1554" y="6"/>
                    <a:pt x="1555" y="6"/>
                    <a:pt x="1556" y="6"/>
                  </a:cubicBezTo>
                  <a:cubicBezTo>
                    <a:pt x="1555" y="5"/>
                    <a:pt x="1554" y="5"/>
                    <a:pt x="1554" y="6"/>
                  </a:cubicBezTo>
                  <a:close/>
                  <a:moveTo>
                    <a:pt x="1722" y="6"/>
                  </a:moveTo>
                  <a:cubicBezTo>
                    <a:pt x="1722" y="6"/>
                    <a:pt x="1723" y="6"/>
                    <a:pt x="1724" y="6"/>
                  </a:cubicBezTo>
                  <a:cubicBezTo>
                    <a:pt x="1723" y="5"/>
                    <a:pt x="1722" y="5"/>
                    <a:pt x="1722" y="6"/>
                  </a:cubicBezTo>
                  <a:close/>
                  <a:moveTo>
                    <a:pt x="1436" y="6"/>
                  </a:moveTo>
                  <a:cubicBezTo>
                    <a:pt x="1437" y="6"/>
                    <a:pt x="1438" y="6"/>
                    <a:pt x="1438" y="6"/>
                  </a:cubicBezTo>
                  <a:cubicBezTo>
                    <a:pt x="1438" y="6"/>
                    <a:pt x="1437" y="6"/>
                    <a:pt x="1436" y="6"/>
                  </a:cubicBezTo>
                  <a:close/>
                  <a:moveTo>
                    <a:pt x="990" y="6"/>
                  </a:moveTo>
                  <a:cubicBezTo>
                    <a:pt x="990" y="7"/>
                    <a:pt x="991" y="7"/>
                    <a:pt x="992" y="6"/>
                  </a:cubicBezTo>
                  <a:cubicBezTo>
                    <a:pt x="991" y="6"/>
                    <a:pt x="990" y="6"/>
                    <a:pt x="990" y="6"/>
                  </a:cubicBezTo>
                  <a:close/>
                  <a:moveTo>
                    <a:pt x="1007" y="6"/>
                  </a:moveTo>
                  <a:cubicBezTo>
                    <a:pt x="1008" y="7"/>
                    <a:pt x="1009" y="6"/>
                    <a:pt x="1009" y="6"/>
                  </a:cubicBezTo>
                  <a:cubicBezTo>
                    <a:pt x="1009" y="6"/>
                    <a:pt x="1008" y="6"/>
                    <a:pt x="1007" y="6"/>
                  </a:cubicBezTo>
                  <a:close/>
                  <a:moveTo>
                    <a:pt x="886" y="42"/>
                  </a:moveTo>
                  <a:cubicBezTo>
                    <a:pt x="885" y="42"/>
                    <a:pt x="884" y="42"/>
                    <a:pt x="884" y="42"/>
                  </a:cubicBezTo>
                  <a:cubicBezTo>
                    <a:pt x="884" y="42"/>
                    <a:pt x="885" y="43"/>
                    <a:pt x="886" y="42"/>
                  </a:cubicBezTo>
                  <a:close/>
                  <a:moveTo>
                    <a:pt x="990" y="92"/>
                  </a:moveTo>
                  <a:cubicBezTo>
                    <a:pt x="991" y="93"/>
                    <a:pt x="992" y="93"/>
                    <a:pt x="992" y="93"/>
                  </a:cubicBezTo>
                  <a:cubicBezTo>
                    <a:pt x="992" y="92"/>
                    <a:pt x="991" y="93"/>
                    <a:pt x="990" y="92"/>
                  </a:cubicBezTo>
                  <a:close/>
                  <a:moveTo>
                    <a:pt x="1040" y="40"/>
                  </a:moveTo>
                  <a:cubicBezTo>
                    <a:pt x="1041" y="40"/>
                    <a:pt x="1041" y="40"/>
                    <a:pt x="1041" y="39"/>
                  </a:cubicBezTo>
                  <a:cubicBezTo>
                    <a:pt x="1041" y="39"/>
                    <a:pt x="1040" y="40"/>
                    <a:pt x="1040" y="40"/>
                  </a:cubicBezTo>
                  <a:close/>
                  <a:moveTo>
                    <a:pt x="951" y="50"/>
                  </a:moveTo>
                  <a:cubicBezTo>
                    <a:pt x="951" y="49"/>
                    <a:pt x="951" y="48"/>
                    <a:pt x="951" y="48"/>
                  </a:cubicBezTo>
                  <a:cubicBezTo>
                    <a:pt x="951" y="48"/>
                    <a:pt x="951" y="49"/>
                    <a:pt x="951" y="50"/>
                  </a:cubicBezTo>
                  <a:close/>
                  <a:moveTo>
                    <a:pt x="1265" y="58"/>
                  </a:moveTo>
                  <a:cubicBezTo>
                    <a:pt x="1265" y="58"/>
                    <a:pt x="1265" y="59"/>
                    <a:pt x="1266" y="60"/>
                  </a:cubicBezTo>
                  <a:cubicBezTo>
                    <a:pt x="1266" y="59"/>
                    <a:pt x="1266" y="58"/>
                    <a:pt x="1265" y="58"/>
                  </a:cubicBezTo>
                  <a:close/>
                  <a:moveTo>
                    <a:pt x="694" y="97"/>
                  </a:moveTo>
                  <a:cubicBezTo>
                    <a:pt x="694" y="97"/>
                    <a:pt x="693" y="97"/>
                    <a:pt x="693" y="98"/>
                  </a:cubicBezTo>
                  <a:cubicBezTo>
                    <a:pt x="694" y="98"/>
                    <a:pt x="694" y="97"/>
                    <a:pt x="694" y="97"/>
                  </a:cubicBezTo>
                  <a:close/>
                  <a:moveTo>
                    <a:pt x="1002" y="93"/>
                  </a:moveTo>
                  <a:cubicBezTo>
                    <a:pt x="1003" y="93"/>
                    <a:pt x="1003" y="93"/>
                    <a:pt x="1004" y="92"/>
                  </a:cubicBezTo>
                  <a:cubicBezTo>
                    <a:pt x="1003" y="93"/>
                    <a:pt x="1002" y="92"/>
                    <a:pt x="1002" y="93"/>
                  </a:cubicBezTo>
                  <a:close/>
                  <a:moveTo>
                    <a:pt x="1373" y="56"/>
                  </a:moveTo>
                  <a:cubicBezTo>
                    <a:pt x="1374" y="56"/>
                    <a:pt x="1374" y="55"/>
                    <a:pt x="1375" y="55"/>
                  </a:cubicBezTo>
                  <a:cubicBezTo>
                    <a:pt x="1374" y="55"/>
                    <a:pt x="1373" y="55"/>
                    <a:pt x="1373" y="56"/>
                  </a:cubicBezTo>
                  <a:close/>
                  <a:moveTo>
                    <a:pt x="1127" y="42"/>
                  </a:moveTo>
                  <a:cubicBezTo>
                    <a:pt x="1127" y="42"/>
                    <a:pt x="1126" y="42"/>
                    <a:pt x="1125" y="42"/>
                  </a:cubicBezTo>
                  <a:cubicBezTo>
                    <a:pt x="1126" y="42"/>
                    <a:pt x="1127" y="43"/>
                    <a:pt x="1127" y="42"/>
                  </a:cubicBezTo>
                  <a:close/>
                  <a:moveTo>
                    <a:pt x="1132" y="42"/>
                  </a:moveTo>
                  <a:cubicBezTo>
                    <a:pt x="1131" y="42"/>
                    <a:pt x="1131" y="42"/>
                    <a:pt x="1130" y="42"/>
                  </a:cubicBezTo>
                  <a:cubicBezTo>
                    <a:pt x="1131" y="43"/>
                    <a:pt x="1131" y="42"/>
                    <a:pt x="1132" y="42"/>
                  </a:cubicBezTo>
                  <a:close/>
                  <a:moveTo>
                    <a:pt x="1343" y="92"/>
                  </a:moveTo>
                  <a:cubicBezTo>
                    <a:pt x="1343" y="92"/>
                    <a:pt x="1343" y="91"/>
                    <a:pt x="1343" y="90"/>
                  </a:cubicBezTo>
                  <a:cubicBezTo>
                    <a:pt x="1343" y="91"/>
                    <a:pt x="1343" y="92"/>
                    <a:pt x="1343" y="92"/>
                  </a:cubicBezTo>
                  <a:close/>
                  <a:moveTo>
                    <a:pt x="1707" y="88"/>
                  </a:moveTo>
                  <a:cubicBezTo>
                    <a:pt x="1707" y="88"/>
                    <a:pt x="1707" y="89"/>
                    <a:pt x="1707" y="90"/>
                  </a:cubicBezTo>
                  <a:cubicBezTo>
                    <a:pt x="1707" y="89"/>
                    <a:pt x="1707" y="88"/>
                    <a:pt x="1707" y="88"/>
                  </a:cubicBezTo>
                  <a:close/>
                  <a:moveTo>
                    <a:pt x="1069" y="103"/>
                  </a:moveTo>
                  <a:cubicBezTo>
                    <a:pt x="1068" y="103"/>
                    <a:pt x="1067" y="103"/>
                    <a:pt x="1066" y="103"/>
                  </a:cubicBezTo>
                  <a:cubicBezTo>
                    <a:pt x="1067" y="103"/>
                    <a:pt x="1068" y="103"/>
                    <a:pt x="1069" y="103"/>
                  </a:cubicBezTo>
                  <a:close/>
                  <a:moveTo>
                    <a:pt x="1470" y="39"/>
                  </a:moveTo>
                  <a:cubicBezTo>
                    <a:pt x="1470" y="40"/>
                    <a:pt x="1470" y="40"/>
                    <a:pt x="1470" y="41"/>
                  </a:cubicBezTo>
                  <a:cubicBezTo>
                    <a:pt x="1470" y="40"/>
                    <a:pt x="1471" y="40"/>
                    <a:pt x="1470" y="39"/>
                  </a:cubicBezTo>
                  <a:close/>
                  <a:moveTo>
                    <a:pt x="1385" y="58"/>
                  </a:moveTo>
                  <a:cubicBezTo>
                    <a:pt x="1385" y="58"/>
                    <a:pt x="1384" y="59"/>
                    <a:pt x="1384" y="59"/>
                  </a:cubicBezTo>
                  <a:cubicBezTo>
                    <a:pt x="1385" y="59"/>
                    <a:pt x="1385" y="59"/>
                    <a:pt x="1385" y="58"/>
                  </a:cubicBezTo>
                  <a:close/>
                  <a:moveTo>
                    <a:pt x="1175" y="89"/>
                  </a:moveTo>
                  <a:cubicBezTo>
                    <a:pt x="1175" y="88"/>
                    <a:pt x="1175" y="87"/>
                    <a:pt x="1174" y="87"/>
                  </a:cubicBezTo>
                  <a:cubicBezTo>
                    <a:pt x="1175" y="87"/>
                    <a:pt x="1174" y="88"/>
                    <a:pt x="1175" y="89"/>
                  </a:cubicBezTo>
                  <a:close/>
                  <a:moveTo>
                    <a:pt x="551" y="39"/>
                  </a:moveTo>
                  <a:cubicBezTo>
                    <a:pt x="552" y="40"/>
                    <a:pt x="552" y="40"/>
                    <a:pt x="552" y="41"/>
                  </a:cubicBezTo>
                  <a:cubicBezTo>
                    <a:pt x="552" y="40"/>
                    <a:pt x="552" y="39"/>
                    <a:pt x="551" y="39"/>
                  </a:cubicBezTo>
                  <a:close/>
                  <a:moveTo>
                    <a:pt x="1389" y="54"/>
                  </a:moveTo>
                  <a:cubicBezTo>
                    <a:pt x="1389" y="54"/>
                    <a:pt x="1388" y="55"/>
                    <a:pt x="1388" y="55"/>
                  </a:cubicBezTo>
                  <a:cubicBezTo>
                    <a:pt x="1389" y="55"/>
                    <a:pt x="1389" y="55"/>
                    <a:pt x="1389" y="54"/>
                  </a:cubicBezTo>
                  <a:close/>
                  <a:moveTo>
                    <a:pt x="1087" y="57"/>
                  </a:moveTo>
                  <a:cubicBezTo>
                    <a:pt x="1087" y="58"/>
                    <a:pt x="1087" y="59"/>
                    <a:pt x="1088" y="60"/>
                  </a:cubicBezTo>
                  <a:cubicBezTo>
                    <a:pt x="1088" y="59"/>
                    <a:pt x="1088" y="58"/>
                    <a:pt x="1087" y="57"/>
                  </a:cubicBezTo>
                  <a:close/>
                  <a:moveTo>
                    <a:pt x="989" y="103"/>
                  </a:moveTo>
                  <a:cubicBezTo>
                    <a:pt x="988" y="103"/>
                    <a:pt x="987" y="103"/>
                    <a:pt x="986" y="103"/>
                  </a:cubicBezTo>
                  <a:cubicBezTo>
                    <a:pt x="987" y="103"/>
                    <a:pt x="988" y="103"/>
                    <a:pt x="989" y="103"/>
                  </a:cubicBezTo>
                  <a:close/>
                  <a:moveTo>
                    <a:pt x="589" y="80"/>
                  </a:moveTo>
                  <a:cubicBezTo>
                    <a:pt x="589" y="81"/>
                    <a:pt x="589" y="82"/>
                    <a:pt x="589" y="82"/>
                  </a:cubicBezTo>
                  <a:cubicBezTo>
                    <a:pt x="590" y="82"/>
                    <a:pt x="589" y="81"/>
                    <a:pt x="589" y="80"/>
                  </a:cubicBezTo>
                  <a:close/>
                  <a:moveTo>
                    <a:pt x="1716" y="75"/>
                  </a:moveTo>
                  <a:cubicBezTo>
                    <a:pt x="1715" y="75"/>
                    <a:pt x="1715" y="76"/>
                    <a:pt x="1714" y="76"/>
                  </a:cubicBezTo>
                  <a:cubicBezTo>
                    <a:pt x="1715" y="76"/>
                    <a:pt x="1715" y="76"/>
                    <a:pt x="1716" y="75"/>
                  </a:cubicBezTo>
                  <a:close/>
                  <a:moveTo>
                    <a:pt x="1005" y="92"/>
                  </a:moveTo>
                  <a:cubicBezTo>
                    <a:pt x="1005" y="92"/>
                    <a:pt x="1006" y="93"/>
                    <a:pt x="1006" y="92"/>
                  </a:cubicBezTo>
                  <a:cubicBezTo>
                    <a:pt x="1006" y="92"/>
                    <a:pt x="1005" y="92"/>
                    <a:pt x="1005" y="92"/>
                  </a:cubicBezTo>
                  <a:close/>
                  <a:moveTo>
                    <a:pt x="1289" y="60"/>
                  </a:moveTo>
                  <a:cubicBezTo>
                    <a:pt x="1288" y="61"/>
                    <a:pt x="1288" y="61"/>
                    <a:pt x="1288" y="62"/>
                  </a:cubicBezTo>
                  <a:cubicBezTo>
                    <a:pt x="1289" y="61"/>
                    <a:pt x="1289" y="61"/>
                    <a:pt x="1289" y="60"/>
                  </a:cubicBezTo>
                  <a:close/>
                  <a:moveTo>
                    <a:pt x="1030" y="61"/>
                  </a:moveTo>
                  <a:cubicBezTo>
                    <a:pt x="1030" y="61"/>
                    <a:pt x="1030" y="60"/>
                    <a:pt x="1030" y="59"/>
                  </a:cubicBezTo>
                  <a:cubicBezTo>
                    <a:pt x="1029" y="60"/>
                    <a:pt x="1030" y="61"/>
                    <a:pt x="1030" y="61"/>
                  </a:cubicBezTo>
                  <a:close/>
                  <a:moveTo>
                    <a:pt x="1219" y="75"/>
                  </a:moveTo>
                  <a:cubicBezTo>
                    <a:pt x="1219" y="75"/>
                    <a:pt x="1219" y="76"/>
                    <a:pt x="1219" y="77"/>
                  </a:cubicBezTo>
                  <a:cubicBezTo>
                    <a:pt x="1219" y="76"/>
                    <a:pt x="1219" y="75"/>
                    <a:pt x="1219" y="75"/>
                  </a:cubicBezTo>
                  <a:close/>
                  <a:moveTo>
                    <a:pt x="1386" y="29"/>
                  </a:moveTo>
                  <a:cubicBezTo>
                    <a:pt x="1386" y="28"/>
                    <a:pt x="1386" y="28"/>
                    <a:pt x="1386" y="27"/>
                  </a:cubicBezTo>
                  <a:cubicBezTo>
                    <a:pt x="1386" y="28"/>
                    <a:pt x="1385" y="29"/>
                    <a:pt x="1386" y="29"/>
                  </a:cubicBezTo>
                  <a:close/>
                  <a:moveTo>
                    <a:pt x="669" y="103"/>
                  </a:moveTo>
                  <a:cubicBezTo>
                    <a:pt x="669" y="103"/>
                    <a:pt x="668" y="103"/>
                    <a:pt x="668" y="103"/>
                  </a:cubicBezTo>
                  <a:cubicBezTo>
                    <a:pt x="668" y="103"/>
                    <a:pt x="669" y="103"/>
                    <a:pt x="669" y="103"/>
                  </a:cubicBezTo>
                  <a:close/>
                  <a:moveTo>
                    <a:pt x="1208" y="78"/>
                  </a:moveTo>
                  <a:cubicBezTo>
                    <a:pt x="1208" y="78"/>
                    <a:pt x="1208" y="77"/>
                    <a:pt x="1208" y="76"/>
                  </a:cubicBezTo>
                  <a:cubicBezTo>
                    <a:pt x="1208" y="77"/>
                    <a:pt x="1207" y="78"/>
                    <a:pt x="1208" y="78"/>
                  </a:cubicBezTo>
                  <a:close/>
                  <a:moveTo>
                    <a:pt x="1067" y="93"/>
                  </a:moveTo>
                  <a:cubicBezTo>
                    <a:pt x="1068" y="94"/>
                    <a:pt x="1068" y="94"/>
                    <a:pt x="1069" y="93"/>
                  </a:cubicBezTo>
                  <a:cubicBezTo>
                    <a:pt x="1068" y="93"/>
                    <a:pt x="1067" y="93"/>
                    <a:pt x="1067" y="93"/>
                  </a:cubicBezTo>
                  <a:close/>
                  <a:moveTo>
                    <a:pt x="912" y="52"/>
                  </a:moveTo>
                  <a:cubicBezTo>
                    <a:pt x="912" y="52"/>
                    <a:pt x="912" y="53"/>
                    <a:pt x="912" y="54"/>
                  </a:cubicBezTo>
                  <a:cubicBezTo>
                    <a:pt x="912" y="53"/>
                    <a:pt x="913" y="52"/>
                    <a:pt x="912" y="52"/>
                  </a:cubicBezTo>
                  <a:close/>
                  <a:moveTo>
                    <a:pt x="788" y="102"/>
                  </a:moveTo>
                  <a:cubicBezTo>
                    <a:pt x="788" y="102"/>
                    <a:pt x="787" y="102"/>
                    <a:pt x="787" y="103"/>
                  </a:cubicBezTo>
                  <a:cubicBezTo>
                    <a:pt x="787" y="102"/>
                    <a:pt x="788" y="103"/>
                    <a:pt x="788" y="102"/>
                  </a:cubicBezTo>
                  <a:close/>
                  <a:moveTo>
                    <a:pt x="1684" y="26"/>
                  </a:moveTo>
                  <a:cubicBezTo>
                    <a:pt x="1684" y="27"/>
                    <a:pt x="1684" y="27"/>
                    <a:pt x="1684" y="28"/>
                  </a:cubicBezTo>
                  <a:cubicBezTo>
                    <a:pt x="1684" y="27"/>
                    <a:pt x="1684" y="26"/>
                    <a:pt x="1684" y="26"/>
                  </a:cubicBezTo>
                  <a:close/>
                  <a:moveTo>
                    <a:pt x="1007" y="102"/>
                  </a:moveTo>
                  <a:cubicBezTo>
                    <a:pt x="1007" y="102"/>
                    <a:pt x="1006" y="102"/>
                    <a:pt x="1006" y="103"/>
                  </a:cubicBezTo>
                  <a:cubicBezTo>
                    <a:pt x="1006" y="102"/>
                    <a:pt x="1007" y="103"/>
                    <a:pt x="1007" y="102"/>
                  </a:cubicBezTo>
                  <a:close/>
                  <a:moveTo>
                    <a:pt x="1729" y="6"/>
                  </a:moveTo>
                  <a:cubicBezTo>
                    <a:pt x="1729" y="6"/>
                    <a:pt x="1730" y="7"/>
                    <a:pt x="1730" y="6"/>
                  </a:cubicBezTo>
                  <a:cubicBezTo>
                    <a:pt x="1730" y="6"/>
                    <a:pt x="1729" y="6"/>
                    <a:pt x="1729" y="6"/>
                  </a:cubicBezTo>
                  <a:close/>
                  <a:moveTo>
                    <a:pt x="1714" y="6"/>
                  </a:moveTo>
                  <a:cubicBezTo>
                    <a:pt x="1715" y="7"/>
                    <a:pt x="1716" y="7"/>
                    <a:pt x="1716" y="6"/>
                  </a:cubicBezTo>
                  <a:cubicBezTo>
                    <a:pt x="1716" y="6"/>
                    <a:pt x="1715" y="6"/>
                    <a:pt x="1714" y="6"/>
                  </a:cubicBezTo>
                  <a:close/>
                  <a:moveTo>
                    <a:pt x="1560" y="6"/>
                  </a:moveTo>
                  <a:cubicBezTo>
                    <a:pt x="1561" y="6"/>
                    <a:pt x="1562" y="7"/>
                    <a:pt x="1562" y="6"/>
                  </a:cubicBezTo>
                  <a:cubicBezTo>
                    <a:pt x="1562" y="6"/>
                    <a:pt x="1561" y="6"/>
                    <a:pt x="1560" y="6"/>
                  </a:cubicBezTo>
                  <a:close/>
                  <a:moveTo>
                    <a:pt x="1546" y="6"/>
                  </a:moveTo>
                  <a:cubicBezTo>
                    <a:pt x="1547" y="7"/>
                    <a:pt x="1547" y="7"/>
                    <a:pt x="1548" y="6"/>
                  </a:cubicBezTo>
                  <a:cubicBezTo>
                    <a:pt x="1547" y="6"/>
                    <a:pt x="1547" y="6"/>
                    <a:pt x="1546" y="6"/>
                  </a:cubicBezTo>
                  <a:close/>
                  <a:moveTo>
                    <a:pt x="566" y="103"/>
                  </a:moveTo>
                  <a:cubicBezTo>
                    <a:pt x="566" y="103"/>
                    <a:pt x="565" y="103"/>
                    <a:pt x="564" y="103"/>
                  </a:cubicBezTo>
                  <a:cubicBezTo>
                    <a:pt x="565" y="103"/>
                    <a:pt x="566" y="103"/>
                    <a:pt x="566" y="103"/>
                  </a:cubicBezTo>
                  <a:close/>
                  <a:moveTo>
                    <a:pt x="772" y="103"/>
                  </a:moveTo>
                  <a:cubicBezTo>
                    <a:pt x="772" y="103"/>
                    <a:pt x="771" y="103"/>
                    <a:pt x="770" y="103"/>
                  </a:cubicBezTo>
                  <a:cubicBezTo>
                    <a:pt x="771" y="103"/>
                    <a:pt x="772" y="103"/>
                    <a:pt x="772" y="103"/>
                  </a:cubicBezTo>
                  <a:close/>
                  <a:moveTo>
                    <a:pt x="699" y="79"/>
                  </a:moveTo>
                  <a:cubicBezTo>
                    <a:pt x="699" y="80"/>
                    <a:pt x="699" y="81"/>
                    <a:pt x="700" y="81"/>
                  </a:cubicBezTo>
                  <a:cubicBezTo>
                    <a:pt x="700" y="80"/>
                    <a:pt x="700" y="80"/>
                    <a:pt x="699" y="79"/>
                  </a:cubicBezTo>
                  <a:close/>
                  <a:moveTo>
                    <a:pt x="1362" y="6"/>
                  </a:moveTo>
                  <a:cubicBezTo>
                    <a:pt x="1363" y="7"/>
                    <a:pt x="1363" y="6"/>
                    <a:pt x="1364" y="6"/>
                  </a:cubicBezTo>
                  <a:cubicBezTo>
                    <a:pt x="1363" y="6"/>
                    <a:pt x="1363" y="6"/>
                    <a:pt x="1362" y="6"/>
                  </a:cubicBezTo>
                  <a:close/>
                  <a:moveTo>
                    <a:pt x="575" y="6"/>
                  </a:moveTo>
                  <a:cubicBezTo>
                    <a:pt x="576" y="7"/>
                    <a:pt x="576" y="6"/>
                    <a:pt x="577" y="6"/>
                  </a:cubicBezTo>
                  <a:cubicBezTo>
                    <a:pt x="577" y="6"/>
                    <a:pt x="576" y="6"/>
                    <a:pt x="575" y="6"/>
                  </a:cubicBezTo>
                  <a:close/>
                  <a:moveTo>
                    <a:pt x="843" y="42"/>
                  </a:moveTo>
                  <a:cubicBezTo>
                    <a:pt x="842" y="42"/>
                    <a:pt x="842" y="42"/>
                    <a:pt x="841" y="42"/>
                  </a:cubicBezTo>
                  <a:cubicBezTo>
                    <a:pt x="842" y="42"/>
                    <a:pt x="842" y="43"/>
                    <a:pt x="843" y="42"/>
                  </a:cubicBezTo>
                  <a:close/>
                  <a:moveTo>
                    <a:pt x="951" y="47"/>
                  </a:moveTo>
                  <a:cubicBezTo>
                    <a:pt x="952" y="46"/>
                    <a:pt x="952" y="46"/>
                    <a:pt x="952" y="45"/>
                  </a:cubicBezTo>
                  <a:cubicBezTo>
                    <a:pt x="951" y="46"/>
                    <a:pt x="951" y="46"/>
                    <a:pt x="951" y="47"/>
                  </a:cubicBezTo>
                  <a:close/>
                  <a:moveTo>
                    <a:pt x="559" y="6"/>
                  </a:moveTo>
                  <a:cubicBezTo>
                    <a:pt x="559" y="7"/>
                    <a:pt x="560" y="6"/>
                    <a:pt x="560" y="6"/>
                  </a:cubicBezTo>
                  <a:cubicBezTo>
                    <a:pt x="560" y="6"/>
                    <a:pt x="559" y="6"/>
                    <a:pt x="559" y="6"/>
                  </a:cubicBezTo>
                  <a:close/>
                  <a:moveTo>
                    <a:pt x="805" y="56"/>
                  </a:moveTo>
                  <a:cubicBezTo>
                    <a:pt x="805" y="57"/>
                    <a:pt x="805" y="58"/>
                    <a:pt x="805" y="58"/>
                  </a:cubicBezTo>
                  <a:cubicBezTo>
                    <a:pt x="805" y="57"/>
                    <a:pt x="806" y="57"/>
                    <a:pt x="805" y="56"/>
                  </a:cubicBezTo>
                  <a:close/>
                  <a:moveTo>
                    <a:pt x="963" y="47"/>
                  </a:moveTo>
                  <a:cubicBezTo>
                    <a:pt x="963" y="48"/>
                    <a:pt x="963" y="49"/>
                    <a:pt x="963" y="49"/>
                  </a:cubicBezTo>
                  <a:cubicBezTo>
                    <a:pt x="963" y="49"/>
                    <a:pt x="963" y="48"/>
                    <a:pt x="963" y="47"/>
                  </a:cubicBezTo>
                  <a:close/>
                  <a:moveTo>
                    <a:pt x="1410" y="40"/>
                  </a:moveTo>
                  <a:cubicBezTo>
                    <a:pt x="1411" y="39"/>
                    <a:pt x="1411" y="38"/>
                    <a:pt x="1411" y="38"/>
                  </a:cubicBezTo>
                  <a:cubicBezTo>
                    <a:pt x="1410" y="38"/>
                    <a:pt x="1411" y="39"/>
                    <a:pt x="1410" y="40"/>
                  </a:cubicBezTo>
                  <a:close/>
                  <a:moveTo>
                    <a:pt x="859" y="57"/>
                  </a:moveTo>
                  <a:cubicBezTo>
                    <a:pt x="859" y="56"/>
                    <a:pt x="859" y="55"/>
                    <a:pt x="859" y="55"/>
                  </a:cubicBezTo>
                  <a:cubicBezTo>
                    <a:pt x="859" y="55"/>
                    <a:pt x="858" y="56"/>
                    <a:pt x="859" y="57"/>
                  </a:cubicBezTo>
                  <a:close/>
                  <a:moveTo>
                    <a:pt x="1410" y="42"/>
                  </a:moveTo>
                  <a:cubicBezTo>
                    <a:pt x="1410" y="42"/>
                    <a:pt x="1410" y="41"/>
                    <a:pt x="1410" y="40"/>
                  </a:cubicBezTo>
                  <a:cubicBezTo>
                    <a:pt x="1410" y="41"/>
                    <a:pt x="1410" y="42"/>
                    <a:pt x="1410" y="42"/>
                  </a:cubicBezTo>
                  <a:close/>
                  <a:moveTo>
                    <a:pt x="1470" y="69"/>
                  </a:moveTo>
                  <a:cubicBezTo>
                    <a:pt x="1470" y="69"/>
                    <a:pt x="1470" y="70"/>
                    <a:pt x="1470" y="71"/>
                  </a:cubicBezTo>
                  <a:cubicBezTo>
                    <a:pt x="1470" y="70"/>
                    <a:pt x="1470" y="69"/>
                    <a:pt x="1470" y="69"/>
                  </a:cubicBezTo>
                  <a:close/>
                  <a:moveTo>
                    <a:pt x="1186" y="85"/>
                  </a:moveTo>
                  <a:cubicBezTo>
                    <a:pt x="1186" y="86"/>
                    <a:pt x="1186" y="86"/>
                    <a:pt x="1186" y="87"/>
                  </a:cubicBezTo>
                  <a:cubicBezTo>
                    <a:pt x="1186" y="86"/>
                    <a:pt x="1186" y="86"/>
                    <a:pt x="1186" y="85"/>
                  </a:cubicBezTo>
                  <a:close/>
                  <a:moveTo>
                    <a:pt x="1041" y="74"/>
                  </a:moveTo>
                  <a:cubicBezTo>
                    <a:pt x="1041" y="75"/>
                    <a:pt x="1041" y="76"/>
                    <a:pt x="1041" y="76"/>
                  </a:cubicBezTo>
                  <a:cubicBezTo>
                    <a:pt x="1041" y="76"/>
                    <a:pt x="1041" y="75"/>
                    <a:pt x="1041" y="74"/>
                  </a:cubicBezTo>
                  <a:close/>
                  <a:moveTo>
                    <a:pt x="688" y="33"/>
                  </a:moveTo>
                  <a:cubicBezTo>
                    <a:pt x="688" y="33"/>
                    <a:pt x="689" y="33"/>
                    <a:pt x="690" y="33"/>
                  </a:cubicBezTo>
                  <a:cubicBezTo>
                    <a:pt x="689" y="33"/>
                    <a:pt x="688" y="33"/>
                    <a:pt x="688" y="33"/>
                  </a:cubicBezTo>
                  <a:close/>
                  <a:moveTo>
                    <a:pt x="748" y="77"/>
                  </a:moveTo>
                  <a:cubicBezTo>
                    <a:pt x="748" y="76"/>
                    <a:pt x="748" y="75"/>
                    <a:pt x="747" y="75"/>
                  </a:cubicBezTo>
                  <a:cubicBezTo>
                    <a:pt x="747" y="76"/>
                    <a:pt x="747" y="76"/>
                    <a:pt x="748" y="77"/>
                  </a:cubicBezTo>
                  <a:close/>
                  <a:moveTo>
                    <a:pt x="952" y="67"/>
                  </a:moveTo>
                  <a:cubicBezTo>
                    <a:pt x="952" y="67"/>
                    <a:pt x="952" y="66"/>
                    <a:pt x="951" y="66"/>
                  </a:cubicBezTo>
                  <a:cubicBezTo>
                    <a:pt x="951" y="66"/>
                    <a:pt x="951" y="67"/>
                    <a:pt x="952" y="67"/>
                  </a:cubicBezTo>
                  <a:close/>
                  <a:moveTo>
                    <a:pt x="993" y="16"/>
                  </a:moveTo>
                  <a:cubicBezTo>
                    <a:pt x="992" y="16"/>
                    <a:pt x="992" y="16"/>
                    <a:pt x="991" y="17"/>
                  </a:cubicBezTo>
                  <a:cubicBezTo>
                    <a:pt x="992" y="17"/>
                    <a:pt x="993" y="17"/>
                    <a:pt x="993" y="16"/>
                  </a:cubicBezTo>
                  <a:close/>
                  <a:moveTo>
                    <a:pt x="700" y="86"/>
                  </a:moveTo>
                  <a:cubicBezTo>
                    <a:pt x="699" y="86"/>
                    <a:pt x="699" y="87"/>
                    <a:pt x="699" y="88"/>
                  </a:cubicBezTo>
                  <a:cubicBezTo>
                    <a:pt x="700" y="87"/>
                    <a:pt x="700" y="86"/>
                    <a:pt x="700" y="86"/>
                  </a:cubicBezTo>
                  <a:close/>
                  <a:moveTo>
                    <a:pt x="1006" y="17"/>
                  </a:moveTo>
                  <a:cubicBezTo>
                    <a:pt x="1006" y="16"/>
                    <a:pt x="1005" y="16"/>
                    <a:pt x="1005" y="16"/>
                  </a:cubicBezTo>
                  <a:cubicBezTo>
                    <a:pt x="1005" y="17"/>
                    <a:pt x="1006" y="16"/>
                    <a:pt x="1006" y="17"/>
                  </a:cubicBezTo>
                  <a:close/>
                  <a:moveTo>
                    <a:pt x="871" y="58"/>
                  </a:moveTo>
                  <a:cubicBezTo>
                    <a:pt x="871" y="58"/>
                    <a:pt x="871" y="59"/>
                    <a:pt x="871" y="59"/>
                  </a:cubicBezTo>
                  <a:cubicBezTo>
                    <a:pt x="871" y="59"/>
                    <a:pt x="871" y="58"/>
                    <a:pt x="871" y="58"/>
                  </a:cubicBezTo>
                  <a:close/>
                  <a:moveTo>
                    <a:pt x="1386" y="37"/>
                  </a:moveTo>
                  <a:cubicBezTo>
                    <a:pt x="1386" y="37"/>
                    <a:pt x="1386" y="36"/>
                    <a:pt x="1386" y="35"/>
                  </a:cubicBezTo>
                  <a:cubicBezTo>
                    <a:pt x="1385" y="36"/>
                    <a:pt x="1386" y="37"/>
                    <a:pt x="1386" y="37"/>
                  </a:cubicBezTo>
                  <a:close/>
                  <a:moveTo>
                    <a:pt x="715" y="90"/>
                  </a:moveTo>
                  <a:cubicBezTo>
                    <a:pt x="715" y="89"/>
                    <a:pt x="715" y="88"/>
                    <a:pt x="715" y="88"/>
                  </a:cubicBezTo>
                  <a:cubicBezTo>
                    <a:pt x="715" y="88"/>
                    <a:pt x="714" y="89"/>
                    <a:pt x="715" y="90"/>
                  </a:cubicBezTo>
                  <a:close/>
                  <a:moveTo>
                    <a:pt x="1397" y="25"/>
                  </a:moveTo>
                  <a:cubicBezTo>
                    <a:pt x="1397" y="26"/>
                    <a:pt x="1397" y="26"/>
                    <a:pt x="1397" y="27"/>
                  </a:cubicBezTo>
                  <a:cubicBezTo>
                    <a:pt x="1397" y="26"/>
                    <a:pt x="1397" y="25"/>
                    <a:pt x="1397" y="25"/>
                  </a:cubicBezTo>
                  <a:close/>
                  <a:moveTo>
                    <a:pt x="1367" y="15"/>
                  </a:moveTo>
                  <a:cubicBezTo>
                    <a:pt x="1366" y="15"/>
                    <a:pt x="1366" y="15"/>
                    <a:pt x="1365" y="15"/>
                  </a:cubicBezTo>
                  <a:cubicBezTo>
                    <a:pt x="1366" y="15"/>
                    <a:pt x="1366" y="16"/>
                    <a:pt x="1367" y="15"/>
                  </a:cubicBezTo>
                  <a:close/>
                  <a:moveTo>
                    <a:pt x="1373" y="15"/>
                  </a:moveTo>
                  <a:cubicBezTo>
                    <a:pt x="1373" y="15"/>
                    <a:pt x="1372" y="15"/>
                    <a:pt x="1371" y="15"/>
                  </a:cubicBezTo>
                  <a:cubicBezTo>
                    <a:pt x="1372" y="16"/>
                    <a:pt x="1373" y="15"/>
                    <a:pt x="1373" y="15"/>
                  </a:cubicBezTo>
                  <a:close/>
                  <a:moveTo>
                    <a:pt x="963" y="64"/>
                  </a:moveTo>
                  <a:cubicBezTo>
                    <a:pt x="963" y="65"/>
                    <a:pt x="963" y="65"/>
                    <a:pt x="963" y="66"/>
                  </a:cubicBezTo>
                  <a:cubicBezTo>
                    <a:pt x="963" y="65"/>
                    <a:pt x="964" y="64"/>
                    <a:pt x="963" y="64"/>
                  </a:cubicBezTo>
                  <a:close/>
                  <a:moveTo>
                    <a:pt x="1665" y="58"/>
                  </a:moveTo>
                  <a:cubicBezTo>
                    <a:pt x="1664" y="58"/>
                    <a:pt x="1664" y="58"/>
                    <a:pt x="1664" y="59"/>
                  </a:cubicBezTo>
                  <a:cubicBezTo>
                    <a:pt x="1664" y="59"/>
                    <a:pt x="1664" y="59"/>
                    <a:pt x="1664" y="59"/>
                  </a:cubicBezTo>
                  <a:cubicBezTo>
                    <a:pt x="1664" y="59"/>
                    <a:pt x="1664" y="59"/>
                    <a:pt x="1665" y="58"/>
                  </a:cubicBezTo>
                  <a:close/>
                  <a:moveTo>
                    <a:pt x="1246" y="103"/>
                  </a:moveTo>
                  <a:cubicBezTo>
                    <a:pt x="1245" y="103"/>
                    <a:pt x="1245" y="103"/>
                    <a:pt x="1244" y="103"/>
                  </a:cubicBezTo>
                  <a:cubicBezTo>
                    <a:pt x="1245" y="103"/>
                    <a:pt x="1246" y="103"/>
                    <a:pt x="1246" y="103"/>
                  </a:cubicBezTo>
                  <a:close/>
                  <a:moveTo>
                    <a:pt x="1411" y="74"/>
                  </a:moveTo>
                  <a:cubicBezTo>
                    <a:pt x="1411" y="73"/>
                    <a:pt x="1411" y="72"/>
                    <a:pt x="1410" y="72"/>
                  </a:cubicBezTo>
                  <a:cubicBezTo>
                    <a:pt x="1411" y="72"/>
                    <a:pt x="1410" y="73"/>
                    <a:pt x="1411" y="74"/>
                  </a:cubicBezTo>
                  <a:close/>
                  <a:moveTo>
                    <a:pt x="1198" y="103"/>
                  </a:moveTo>
                  <a:cubicBezTo>
                    <a:pt x="1197" y="103"/>
                    <a:pt x="1196" y="103"/>
                    <a:pt x="1196" y="103"/>
                  </a:cubicBezTo>
                  <a:cubicBezTo>
                    <a:pt x="1197" y="103"/>
                    <a:pt x="1197" y="103"/>
                    <a:pt x="1198" y="103"/>
                  </a:cubicBezTo>
                  <a:close/>
                  <a:moveTo>
                    <a:pt x="1539" y="88"/>
                  </a:moveTo>
                  <a:cubicBezTo>
                    <a:pt x="1538" y="88"/>
                    <a:pt x="1539" y="89"/>
                    <a:pt x="1539" y="90"/>
                  </a:cubicBezTo>
                  <a:cubicBezTo>
                    <a:pt x="1539" y="89"/>
                    <a:pt x="1539" y="88"/>
                    <a:pt x="1539" y="88"/>
                  </a:cubicBezTo>
                  <a:close/>
                  <a:moveTo>
                    <a:pt x="1188" y="103"/>
                  </a:moveTo>
                  <a:cubicBezTo>
                    <a:pt x="1188" y="103"/>
                    <a:pt x="1187" y="103"/>
                    <a:pt x="1187" y="103"/>
                  </a:cubicBezTo>
                  <a:cubicBezTo>
                    <a:pt x="1187" y="103"/>
                    <a:pt x="1188" y="103"/>
                    <a:pt x="1188" y="103"/>
                  </a:cubicBezTo>
                  <a:close/>
                  <a:moveTo>
                    <a:pt x="1551" y="15"/>
                  </a:moveTo>
                  <a:cubicBezTo>
                    <a:pt x="1550" y="15"/>
                    <a:pt x="1550" y="15"/>
                    <a:pt x="1549" y="15"/>
                  </a:cubicBezTo>
                  <a:cubicBezTo>
                    <a:pt x="1550" y="15"/>
                    <a:pt x="1551" y="16"/>
                    <a:pt x="1551" y="15"/>
                  </a:cubicBezTo>
                  <a:close/>
                  <a:moveTo>
                    <a:pt x="1470" y="71"/>
                  </a:moveTo>
                  <a:cubicBezTo>
                    <a:pt x="1469" y="71"/>
                    <a:pt x="1469" y="72"/>
                    <a:pt x="1469" y="73"/>
                  </a:cubicBezTo>
                  <a:cubicBezTo>
                    <a:pt x="1470" y="72"/>
                    <a:pt x="1470" y="71"/>
                    <a:pt x="1470" y="71"/>
                  </a:cubicBezTo>
                  <a:close/>
                  <a:moveTo>
                    <a:pt x="1719" y="15"/>
                  </a:moveTo>
                  <a:cubicBezTo>
                    <a:pt x="1719" y="15"/>
                    <a:pt x="1718" y="15"/>
                    <a:pt x="1717" y="15"/>
                  </a:cubicBezTo>
                  <a:cubicBezTo>
                    <a:pt x="1718" y="15"/>
                    <a:pt x="1719" y="16"/>
                    <a:pt x="1719" y="15"/>
                  </a:cubicBezTo>
                  <a:close/>
                  <a:moveTo>
                    <a:pt x="759" y="75"/>
                  </a:moveTo>
                  <a:cubicBezTo>
                    <a:pt x="759" y="76"/>
                    <a:pt x="759" y="77"/>
                    <a:pt x="759" y="77"/>
                  </a:cubicBezTo>
                  <a:cubicBezTo>
                    <a:pt x="759" y="77"/>
                    <a:pt x="759" y="76"/>
                    <a:pt x="759" y="75"/>
                  </a:cubicBezTo>
                  <a:close/>
                  <a:moveTo>
                    <a:pt x="1527" y="90"/>
                  </a:moveTo>
                  <a:cubicBezTo>
                    <a:pt x="1528" y="90"/>
                    <a:pt x="1528" y="89"/>
                    <a:pt x="1528" y="89"/>
                  </a:cubicBezTo>
                  <a:cubicBezTo>
                    <a:pt x="1527" y="89"/>
                    <a:pt x="1527" y="90"/>
                    <a:pt x="1527" y="90"/>
                  </a:cubicBezTo>
                  <a:close/>
                  <a:moveTo>
                    <a:pt x="963" y="62"/>
                  </a:moveTo>
                  <a:cubicBezTo>
                    <a:pt x="963" y="62"/>
                    <a:pt x="963" y="63"/>
                    <a:pt x="963" y="64"/>
                  </a:cubicBezTo>
                  <a:cubicBezTo>
                    <a:pt x="963" y="63"/>
                    <a:pt x="963" y="62"/>
                    <a:pt x="963" y="62"/>
                  </a:cubicBezTo>
                  <a:close/>
                  <a:moveTo>
                    <a:pt x="1696" y="90"/>
                  </a:moveTo>
                  <a:cubicBezTo>
                    <a:pt x="1696" y="90"/>
                    <a:pt x="1696" y="89"/>
                    <a:pt x="1696" y="89"/>
                  </a:cubicBezTo>
                  <a:cubicBezTo>
                    <a:pt x="1695" y="89"/>
                    <a:pt x="1696" y="90"/>
                    <a:pt x="1696" y="90"/>
                  </a:cubicBezTo>
                  <a:close/>
                  <a:moveTo>
                    <a:pt x="1030" y="78"/>
                  </a:moveTo>
                  <a:cubicBezTo>
                    <a:pt x="1030" y="77"/>
                    <a:pt x="1030" y="77"/>
                    <a:pt x="1030" y="76"/>
                  </a:cubicBezTo>
                  <a:cubicBezTo>
                    <a:pt x="1030" y="77"/>
                    <a:pt x="1029" y="77"/>
                    <a:pt x="1030" y="78"/>
                  </a:cubicBezTo>
                  <a:close/>
                  <a:moveTo>
                    <a:pt x="1144" y="57"/>
                  </a:moveTo>
                  <a:cubicBezTo>
                    <a:pt x="1144" y="57"/>
                    <a:pt x="1144" y="56"/>
                    <a:pt x="1143" y="55"/>
                  </a:cubicBezTo>
                  <a:cubicBezTo>
                    <a:pt x="1144" y="56"/>
                    <a:pt x="1143" y="57"/>
                    <a:pt x="1144" y="57"/>
                  </a:cubicBezTo>
                  <a:close/>
                  <a:moveTo>
                    <a:pt x="1111" y="58"/>
                  </a:moveTo>
                  <a:cubicBezTo>
                    <a:pt x="1110" y="58"/>
                    <a:pt x="1110" y="59"/>
                    <a:pt x="1110" y="59"/>
                  </a:cubicBezTo>
                  <a:cubicBezTo>
                    <a:pt x="1111" y="59"/>
                    <a:pt x="1111" y="58"/>
                    <a:pt x="1111" y="58"/>
                  </a:cubicBezTo>
                  <a:close/>
                  <a:moveTo>
                    <a:pt x="747" y="62"/>
                  </a:moveTo>
                  <a:cubicBezTo>
                    <a:pt x="748" y="62"/>
                    <a:pt x="748" y="61"/>
                    <a:pt x="748" y="60"/>
                  </a:cubicBezTo>
                  <a:cubicBezTo>
                    <a:pt x="747" y="61"/>
                    <a:pt x="747" y="62"/>
                    <a:pt x="747" y="62"/>
                  </a:cubicBezTo>
                  <a:close/>
                  <a:moveTo>
                    <a:pt x="786" y="103"/>
                  </a:moveTo>
                  <a:cubicBezTo>
                    <a:pt x="786" y="103"/>
                    <a:pt x="785" y="103"/>
                    <a:pt x="784" y="103"/>
                  </a:cubicBezTo>
                  <a:cubicBezTo>
                    <a:pt x="785" y="103"/>
                    <a:pt x="786" y="103"/>
                    <a:pt x="786" y="103"/>
                  </a:cubicBezTo>
                  <a:close/>
                  <a:moveTo>
                    <a:pt x="1470" y="36"/>
                  </a:moveTo>
                  <a:cubicBezTo>
                    <a:pt x="1470" y="37"/>
                    <a:pt x="1470" y="38"/>
                    <a:pt x="1470" y="38"/>
                  </a:cubicBezTo>
                  <a:cubicBezTo>
                    <a:pt x="1470" y="38"/>
                    <a:pt x="1470" y="37"/>
                    <a:pt x="1470" y="36"/>
                  </a:cubicBezTo>
                  <a:close/>
                  <a:moveTo>
                    <a:pt x="1188" y="91"/>
                  </a:moveTo>
                  <a:cubicBezTo>
                    <a:pt x="1188" y="91"/>
                    <a:pt x="1188" y="92"/>
                    <a:pt x="1189" y="92"/>
                  </a:cubicBezTo>
                  <a:cubicBezTo>
                    <a:pt x="1189" y="91"/>
                    <a:pt x="1188" y="91"/>
                    <a:pt x="1188" y="91"/>
                  </a:cubicBezTo>
                  <a:close/>
                  <a:moveTo>
                    <a:pt x="1397" y="36"/>
                  </a:moveTo>
                  <a:cubicBezTo>
                    <a:pt x="1397" y="37"/>
                    <a:pt x="1397" y="37"/>
                    <a:pt x="1397" y="38"/>
                  </a:cubicBezTo>
                  <a:cubicBezTo>
                    <a:pt x="1397" y="37"/>
                    <a:pt x="1397" y="37"/>
                    <a:pt x="1397" y="36"/>
                  </a:cubicBezTo>
                  <a:close/>
                  <a:moveTo>
                    <a:pt x="1745" y="15"/>
                  </a:moveTo>
                  <a:cubicBezTo>
                    <a:pt x="1745" y="15"/>
                    <a:pt x="1745" y="16"/>
                    <a:pt x="1745" y="16"/>
                  </a:cubicBezTo>
                  <a:cubicBezTo>
                    <a:pt x="1745" y="15"/>
                    <a:pt x="1745" y="15"/>
                    <a:pt x="1745" y="15"/>
                  </a:cubicBezTo>
                  <a:close/>
                  <a:moveTo>
                    <a:pt x="856" y="48"/>
                  </a:moveTo>
                  <a:cubicBezTo>
                    <a:pt x="856" y="47"/>
                    <a:pt x="856" y="47"/>
                    <a:pt x="855" y="47"/>
                  </a:cubicBezTo>
                  <a:cubicBezTo>
                    <a:pt x="855" y="47"/>
                    <a:pt x="855" y="47"/>
                    <a:pt x="856" y="48"/>
                  </a:cubicBezTo>
                  <a:close/>
                  <a:moveTo>
                    <a:pt x="1376" y="6"/>
                  </a:moveTo>
                  <a:cubicBezTo>
                    <a:pt x="1377" y="6"/>
                    <a:pt x="1377" y="6"/>
                    <a:pt x="1378" y="6"/>
                  </a:cubicBezTo>
                  <a:cubicBezTo>
                    <a:pt x="1377" y="6"/>
                    <a:pt x="1377" y="6"/>
                    <a:pt x="1376" y="6"/>
                  </a:cubicBezTo>
                  <a:close/>
                  <a:moveTo>
                    <a:pt x="1434" y="6"/>
                  </a:moveTo>
                  <a:cubicBezTo>
                    <a:pt x="1435" y="7"/>
                    <a:pt x="1435" y="7"/>
                    <a:pt x="1436" y="6"/>
                  </a:cubicBezTo>
                  <a:cubicBezTo>
                    <a:pt x="1435" y="6"/>
                    <a:pt x="1435" y="6"/>
                    <a:pt x="1434" y="6"/>
                  </a:cubicBezTo>
                  <a:close/>
                  <a:moveTo>
                    <a:pt x="1447" y="6"/>
                  </a:moveTo>
                  <a:cubicBezTo>
                    <a:pt x="1447" y="6"/>
                    <a:pt x="1448" y="7"/>
                    <a:pt x="1448" y="6"/>
                  </a:cubicBezTo>
                  <a:cubicBezTo>
                    <a:pt x="1448" y="6"/>
                    <a:pt x="1447" y="6"/>
                    <a:pt x="1447" y="6"/>
                  </a:cubicBezTo>
                  <a:close/>
                  <a:moveTo>
                    <a:pt x="1537" y="21"/>
                  </a:moveTo>
                  <a:cubicBezTo>
                    <a:pt x="1537" y="21"/>
                    <a:pt x="1537" y="21"/>
                    <a:pt x="1536" y="21"/>
                  </a:cubicBezTo>
                  <a:cubicBezTo>
                    <a:pt x="1537" y="21"/>
                    <a:pt x="1537" y="21"/>
                    <a:pt x="1537" y="21"/>
                  </a:cubicBezTo>
                  <a:close/>
                  <a:moveTo>
                    <a:pt x="557" y="7"/>
                  </a:moveTo>
                  <a:cubicBezTo>
                    <a:pt x="557" y="7"/>
                    <a:pt x="558" y="7"/>
                    <a:pt x="558" y="7"/>
                  </a:cubicBezTo>
                  <a:cubicBezTo>
                    <a:pt x="558" y="7"/>
                    <a:pt x="557" y="6"/>
                    <a:pt x="557" y="7"/>
                  </a:cubicBezTo>
                  <a:close/>
                  <a:moveTo>
                    <a:pt x="577" y="7"/>
                  </a:moveTo>
                  <a:cubicBezTo>
                    <a:pt x="578" y="7"/>
                    <a:pt x="578" y="7"/>
                    <a:pt x="579" y="7"/>
                  </a:cubicBezTo>
                  <a:cubicBezTo>
                    <a:pt x="578" y="6"/>
                    <a:pt x="578" y="7"/>
                    <a:pt x="577" y="7"/>
                  </a:cubicBezTo>
                  <a:close/>
                  <a:moveTo>
                    <a:pt x="988" y="7"/>
                  </a:moveTo>
                  <a:cubicBezTo>
                    <a:pt x="988" y="7"/>
                    <a:pt x="989" y="7"/>
                    <a:pt x="989" y="7"/>
                  </a:cubicBezTo>
                  <a:cubicBezTo>
                    <a:pt x="989" y="7"/>
                    <a:pt x="988" y="6"/>
                    <a:pt x="988" y="7"/>
                  </a:cubicBezTo>
                  <a:close/>
                  <a:moveTo>
                    <a:pt x="1010" y="7"/>
                  </a:moveTo>
                  <a:cubicBezTo>
                    <a:pt x="1010" y="7"/>
                    <a:pt x="1011" y="7"/>
                    <a:pt x="1012" y="7"/>
                  </a:cubicBezTo>
                  <a:cubicBezTo>
                    <a:pt x="1011" y="6"/>
                    <a:pt x="1011" y="7"/>
                    <a:pt x="1010" y="7"/>
                  </a:cubicBezTo>
                  <a:close/>
                  <a:moveTo>
                    <a:pt x="1360" y="7"/>
                  </a:moveTo>
                  <a:cubicBezTo>
                    <a:pt x="1361" y="7"/>
                    <a:pt x="1361" y="7"/>
                    <a:pt x="1362" y="7"/>
                  </a:cubicBezTo>
                  <a:cubicBezTo>
                    <a:pt x="1361" y="7"/>
                    <a:pt x="1361" y="6"/>
                    <a:pt x="1360" y="7"/>
                  </a:cubicBezTo>
                  <a:close/>
                  <a:moveTo>
                    <a:pt x="1378" y="7"/>
                  </a:moveTo>
                  <a:cubicBezTo>
                    <a:pt x="1378" y="7"/>
                    <a:pt x="1379" y="7"/>
                    <a:pt x="1379" y="7"/>
                  </a:cubicBezTo>
                  <a:cubicBezTo>
                    <a:pt x="1379" y="6"/>
                    <a:pt x="1379" y="7"/>
                    <a:pt x="1378" y="7"/>
                  </a:cubicBezTo>
                  <a:close/>
                  <a:moveTo>
                    <a:pt x="968" y="16"/>
                  </a:moveTo>
                  <a:cubicBezTo>
                    <a:pt x="969" y="16"/>
                    <a:pt x="969" y="16"/>
                    <a:pt x="969" y="15"/>
                  </a:cubicBezTo>
                  <a:cubicBezTo>
                    <a:pt x="969" y="15"/>
                    <a:pt x="969" y="15"/>
                    <a:pt x="968" y="16"/>
                  </a:cubicBezTo>
                  <a:close/>
                  <a:moveTo>
                    <a:pt x="680" y="94"/>
                  </a:moveTo>
                  <a:cubicBezTo>
                    <a:pt x="680" y="94"/>
                    <a:pt x="681" y="94"/>
                    <a:pt x="681" y="93"/>
                  </a:cubicBezTo>
                  <a:cubicBezTo>
                    <a:pt x="681" y="93"/>
                    <a:pt x="680" y="93"/>
                    <a:pt x="680" y="94"/>
                  </a:cubicBezTo>
                  <a:close/>
                  <a:moveTo>
                    <a:pt x="952" y="45"/>
                  </a:moveTo>
                  <a:cubicBezTo>
                    <a:pt x="952" y="44"/>
                    <a:pt x="952" y="44"/>
                    <a:pt x="952" y="43"/>
                  </a:cubicBezTo>
                  <a:cubicBezTo>
                    <a:pt x="951" y="44"/>
                    <a:pt x="952" y="44"/>
                    <a:pt x="952" y="45"/>
                  </a:cubicBezTo>
                  <a:close/>
                  <a:moveTo>
                    <a:pt x="737" y="94"/>
                  </a:moveTo>
                  <a:cubicBezTo>
                    <a:pt x="738" y="94"/>
                    <a:pt x="738" y="94"/>
                    <a:pt x="739" y="93"/>
                  </a:cubicBezTo>
                  <a:cubicBezTo>
                    <a:pt x="738" y="93"/>
                    <a:pt x="738" y="93"/>
                    <a:pt x="737" y="94"/>
                  </a:cubicBezTo>
                  <a:close/>
                  <a:moveTo>
                    <a:pt x="1706" y="21"/>
                  </a:moveTo>
                  <a:cubicBezTo>
                    <a:pt x="1705" y="21"/>
                    <a:pt x="1705" y="21"/>
                    <a:pt x="1705" y="21"/>
                  </a:cubicBezTo>
                  <a:cubicBezTo>
                    <a:pt x="1705" y="21"/>
                    <a:pt x="1705" y="21"/>
                    <a:pt x="1706" y="21"/>
                  </a:cubicBezTo>
                  <a:close/>
                  <a:moveTo>
                    <a:pt x="774" y="93"/>
                  </a:moveTo>
                  <a:cubicBezTo>
                    <a:pt x="775" y="94"/>
                    <a:pt x="775" y="94"/>
                    <a:pt x="776" y="93"/>
                  </a:cubicBezTo>
                  <a:cubicBezTo>
                    <a:pt x="775" y="93"/>
                    <a:pt x="775" y="93"/>
                    <a:pt x="774" y="93"/>
                  </a:cubicBezTo>
                  <a:close/>
                  <a:moveTo>
                    <a:pt x="1076" y="37"/>
                  </a:moveTo>
                  <a:cubicBezTo>
                    <a:pt x="1077" y="38"/>
                    <a:pt x="1077" y="38"/>
                    <a:pt x="1077" y="38"/>
                  </a:cubicBezTo>
                  <a:cubicBezTo>
                    <a:pt x="1077" y="37"/>
                    <a:pt x="1077" y="37"/>
                    <a:pt x="1076" y="37"/>
                  </a:cubicBezTo>
                  <a:close/>
                  <a:moveTo>
                    <a:pt x="785" y="93"/>
                  </a:moveTo>
                  <a:cubicBezTo>
                    <a:pt x="785" y="94"/>
                    <a:pt x="786" y="94"/>
                    <a:pt x="786" y="93"/>
                  </a:cubicBezTo>
                  <a:cubicBezTo>
                    <a:pt x="786" y="93"/>
                    <a:pt x="785" y="93"/>
                    <a:pt x="785" y="93"/>
                  </a:cubicBezTo>
                  <a:close/>
                  <a:moveTo>
                    <a:pt x="579" y="7"/>
                  </a:moveTo>
                  <a:cubicBezTo>
                    <a:pt x="580" y="7"/>
                    <a:pt x="580" y="7"/>
                    <a:pt x="581" y="7"/>
                  </a:cubicBezTo>
                  <a:cubicBezTo>
                    <a:pt x="580" y="7"/>
                    <a:pt x="580" y="7"/>
                    <a:pt x="579" y="7"/>
                  </a:cubicBezTo>
                  <a:close/>
                  <a:moveTo>
                    <a:pt x="1056" y="93"/>
                  </a:moveTo>
                  <a:cubicBezTo>
                    <a:pt x="1057" y="94"/>
                    <a:pt x="1057" y="94"/>
                    <a:pt x="1058" y="93"/>
                  </a:cubicBezTo>
                  <a:cubicBezTo>
                    <a:pt x="1057" y="93"/>
                    <a:pt x="1057" y="93"/>
                    <a:pt x="1056" y="93"/>
                  </a:cubicBezTo>
                  <a:close/>
                  <a:moveTo>
                    <a:pt x="1012" y="7"/>
                  </a:moveTo>
                  <a:cubicBezTo>
                    <a:pt x="1012" y="7"/>
                    <a:pt x="1013" y="7"/>
                    <a:pt x="1013" y="7"/>
                  </a:cubicBezTo>
                  <a:cubicBezTo>
                    <a:pt x="1013" y="7"/>
                    <a:pt x="1012" y="7"/>
                    <a:pt x="1012" y="7"/>
                  </a:cubicBezTo>
                  <a:close/>
                  <a:moveTo>
                    <a:pt x="1375" y="16"/>
                  </a:moveTo>
                  <a:cubicBezTo>
                    <a:pt x="1375" y="16"/>
                    <a:pt x="1374" y="15"/>
                    <a:pt x="1374" y="16"/>
                  </a:cubicBezTo>
                  <a:cubicBezTo>
                    <a:pt x="1374" y="16"/>
                    <a:pt x="1374" y="16"/>
                    <a:pt x="1375" y="16"/>
                  </a:cubicBezTo>
                  <a:close/>
                  <a:moveTo>
                    <a:pt x="1191" y="93"/>
                  </a:moveTo>
                  <a:cubicBezTo>
                    <a:pt x="1192" y="94"/>
                    <a:pt x="1192" y="94"/>
                    <a:pt x="1193" y="94"/>
                  </a:cubicBezTo>
                  <a:cubicBezTo>
                    <a:pt x="1192" y="93"/>
                    <a:pt x="1192" y="93"/>
                    <a:pt x="1191" y="93"/>
                  </a:cubicBezTo>
                  <a:close/>
                  <a:moveTo>
                    <a:pt x="1215" y="94"/>
                  </a:moveTo>
                  <a:cubicBezTo>
                    <a:pt x="1215" y="94"/>
                    <a:pt x="1215" y="93"/>
                    <a:pt x="1214" y="93"/>
                  </a:cubicBezTo>
                  <a:cubicBezTo>
                    <a:pt x="1214" y="94"/>
                    <a:pt x="1215" y="94"/>
                    <a:pt x="1215" y="94"/>
                  </a:cubicBezTo>
                  <a:close/>
                  <a:moveTo>
                    <a:pt x="1581" y="37"/>
                  </a:moveTo>
                  <a:cubicBezTo>
                    <a:pt x="1581" y="37"/>
                    <a:pt x="1581" y="38"/>
                    <a:pt x="1581" y="39"/>
                  </a:cubicBezTo>
                  <a:cubicBezTo>
                    <a:pt x="1582" y="38"/>
                    <a:pt x="1581" y="37"/>
                    <a:pt x="1581" y="37"/>
                  </a:cubicBezTo>
                  <a:close/>
                  <a:moveTo>
                    <a:pt x="1549" y="16"/>
                  </a:moveTo>
                  <a:cubicBezTo>
                    <a:pt x="1548" y="15"/>
                    <a:pt x="1548" y="16"/>
                    <a:pt x="1548" y="16"/>
                  </a:cubicBezTo>
                  <a:cubicBezTo>
                    <a:pt x="1548" y="16"/>
                    <a:pt x="1549" y="16"/>
                    <a:pt x="1549" y="16"/>
                  </a:cubicBezTo>
                  <a:close/>
                  <a:moveTo>
                    <a:pt x="1749" y="37"/>
                  </a:moveTo>
                  <a:cubicBezTo>
                    <a:pt x="1749" y="37"/>
                    <a:pt x="1749" y="38"/>
                    <a:pt x="1749" y="39"/>
                  </a:cubicBezTo>
                  <a:cubicBezTo>
                    <a:pt x="1750" y="38"/>
                    <a:pt x="1749" y="37"/>
                    <a:pt x="1749" y="37"/>
                  </a:cubicBezTo>
                  <a:close/>
                  <a:moveTo>
                    <a:pt x="1717" y="16"/>
                  </a:moveTo>
                  <a:cubicBezTo>
                    <a:pt x="1717" y="15"/>
                    <a:pt x="1716" y="16"/>
                    <a:pt x="1716" y="16"/>
                  </a:cubicBezTo>
                  <a:cubicBezTo>
                    <a:pt x="1716" y="16"/>
                    <a:pt x="1717" y="16"/>
                    <a:pt x="1717" y="16"/>
                  </a:cubicBezTo>
                  <a:close/>
                  <a:moveTo>
                    <a:pt x="1234" y="93"/>
                  </a:moveTo>
                  <a:cubicBezTo>
                    <a:pt x="1235" y="94"/>
                    <a:pt x="1235" y="94"/>
                    <a:pt x="1236" y="93"/>
                  </a:cubicBezTo>
                  <a:cubicBezTo>
                    <a:pt x="1235" y="93"/>
                    <a:pt x="1235" y="93"/>
                    <a:pt x="1234" y="93"/>
                  </a:cubicBezTo>
                  <a:close/>
                  <a:moveTo>
                    <a:pt x="1245" y="93"/>
                  </a:moveTo>
                  <a:cubicBezTo>
                    <a:pt x="1245" y="94"/>
                    <a:pt x="1246" y="94"/>
                    <a:pt x="1246" y="93"/>
                  </a:cubicBezTo>
                  <a:cubicBezTo>
                    <a:pt x="1246" y="93"/>
                    <a:pt x="1245" y="93"/>
                    <a:pt x="1245" y="93"/>
                  </a:cubicBezTo>
                  <a:close/>
                  <a:moveTo>
                    <a:pt x="761" y="38"/>
                  </a:moveTo>
                  <a:cubicBezTo>
                    <a:pt x="761" y="38"/>
                    <a:pt x="761" y="38"/>
                    <a:pt x="762" y="37"/>
                  </a:cubicBezTo>
                  <a:cubicBezTo>
                    <a:pt x="761" y="37"/>
                    <a:pt x="761" y="38"/>
                    <a:pt x="761" y="38"/>
                  </a:cubicBezTo>
                  <a:close/>
                  <a:moveTo>
                    <a:pt x="1154" y="51"/>
                  </a:moveTo>
                  <a:cubicBezTo>
                    <a:pt x="1154" y="52"/>
                    <a:pt x="1154" y="52"/>
                    <a:pt x="1155" y="53"/>
                  </a:cubicBezTo>
                  <a:cubicBezTo>
                    <a:pt x="1155" y="52"/>
                    <a:pt x="1155" y="51"/>
                    <a:pt x="1154" y="51"/>
                  </a:cubicBezTo>
                  <a:close/>
                  <a:moveTo>
                    <a:pt x="1038" y="94"/>
                  </a:moveTo>
                  <a:cubicBezTo>
                    <a:pt x="1038" y="94"/>
                    <a:pt x="1037" y="94"/>
                    <a:pt x="1037" y="94"/>
                  </a:cubicBezTo>
                  <a:cubicBezTo>
                    <a:pt x="1037" y="94"/>
                    <a:pt x="1037" y="94"/>
                    <a:pt x="1038" y="94"/>
                  </a:cubicBezTo>
                  <a:close/>
                  <a:moveTo>
                    <a:pt x="1742" y="53"/>
                  </a:moveTo>
                  <a:cubicBezTo>
                    <a:pt x="1742" y="53"/>
                    <a:pt x="1742" y="54"/>
                    <a:pt x="1741" y="54"/>
                  </a:cubicBezTo>
                  <a:cubicBezTo>
                    <a:pt x="1742" y="54"/>
                    <a:pt x="1742" y="54"/>
                    <a:pt x="1742" y="53"/>
                  </a:cubicBezTo>
                  <a:close/>
                  <a:moveTo>
                    <a:pt x="1420" y="95"/>
                  </a:moveTo>
                  <a:cubicBezTo>
                    <a:pt x="1420" y="95"/>
                    <a:pt x="1420" y="94"/>
                    <a:pt x="1419" y="94"/>
                  </a:cubicBezTo>
                  <a:cubicBezTo>
                    <a:pt x="1420" y="95"/>
                    <a:pt x="1420" y="95"/>
                    <a:pt x="1420" y="95"/>
                  </a:cubicBezTo>
                  <a:close/>
                  <a:moveTo>
                    <a:pt x="552" y="21"/>
                  </a:moveTo>
                  <a:cubicBezTo>
                    <a:pt x="551" y="22"/>
                    <a:pt x="551" y="22"/>
                    <a:pt x="551" y="22"/>
                  </a:cubicBezTo>
                  <a:cubicBezTo>
                    <a:pt x="551" y="22"/>
                    <a:pt x="552" y="22"/>
                    <a:pt x="552" y="21"/>
                  </a:cubicBezTo>
                  <a:close/>
                  <a:moveTo>
                    <a:pt x="696" y="95"/>
                  </a:moveTo>
                  <a:cubicBezTo>
                    <a:pt x="695" y="95"/>
                    <a:pt x="695" y="95"/>
                    <a:pt x="695" y="96"/>
                  </a:cubicBezTo>
                  <a:cubicBezTo>
                    <a:pt x="696" y="96"/>
                    <a:pt x="696" y="95"/>
                    <a:pt x="696" y="95"/>
                  </a:cubicBezTo>
                  <a:close/>
                  <a:moveTo>
                    <a:pt x="1116" y="38"/>
                  </a:moveTo>
                  <a:cubicBezTo>
                    <a:pt x="1116" y="38"/>
                    <a:pt x="1117" y="38"/>
                    <a:pt x="1117" y="37"/>
                  </a:cubicBezTo>
                  <a:cubicBezTo>
                    <a:pt x="1116" y="37"/>
                    <a:pt x="1116" y="38"/>
                    <a:pt x="1116" y="38"/>
                  </a:cubicBezTo>
                  <a:close/>
                  <a:moveTo>
                    <a:pt x="969" y="96"/>
                  </a:moveTo>
                  <a:cubicBezTo>
                    <a:pt x="969" y="96"/>
                    <a:pt x="969" y="95"/>
                    <a:pt x="968" y="95"/>
                  </a:cubicBezTo>
                  <a:cubicBezTo>
                    <a:pt x="969" y="96"/>
                    <a:pt x="969" y="96"/>
                    <a:pt x="969" y="96"/>
                  </a:cubicBezTo>
                  <a:close/>
                  <a:moveTo>
                    <a:pt x="971" y="97"/>
                  </a:moveTo>
                  <a:cubicBezTo>
                    <a:pt x="970" y="96"/>
                    <a:pt x="970" y="96"/>
                    <a:pt x="969" y="96"/>
                  </a:cubicBezTo>
                  <a:cubicBezTo>
                    <a:pt x="970" y="96"/>
                    <a:pt x="970" y="97"/>
                    <a:pt x="971" y="97"/>
                  </a:cubicBezTo>
                  <a:close/>
                  <a:moveTo>
                    <a:pt x="1040" y="97"/>
                  </a:moveTo>
                  <a:cubicBezTo>
                    <a:pt x="1040" y="97"/>
                    <a:pt x="1040" y="96"/>
                    <a:pt x="1039" y="96"/>
                  </a:cubicBezTo>
                  <a:cubicBezTo>
                    <a:pt x="1040" y="97"/>
                    <a:pt x="1040" y="97"/>
                    <a:pt x="1040" y="97"/>
                  </a:cubicBezTo>
                  <a:close/>
                  <a:moveTo>
                    <a:pt x="1309" y="44"/>
                  </a:moveTo>
                  <a:cubicBezTo>
                    <a:pt x="1308" y="43"/>
                    <a:pt x="1308" y="43"/>
                    <a:pt x="1307" y="43"/>
                  </a:cubicBezTo>
                  <a:cubicBezTo>
                    <a:pt x="1307" y="44"/>
                    <a:pt x="1308" y="44"/>
                    <a:pt x="1309" y="44"/>
                  </a:cubicBezTo>
                  <a:close/>
                  <a:moveTo>
                    <a:pt x="1498" y="21"/>
                  </a:moveTo>
                  <a:cubicBezTo>
                    <a:pt x="1498" y="22"/>
                    <a:pt x="1497" y="22"/>
                    <a:pt x="1497" y="22"/>
                  </a:cubicBezTo>
                  <a:cubicBezTo>
                    <a:pt x="1498" y="22"/>
                    <a:pt x="1498" y="22"/>
                    <a:pt x="1498" y="21"/>
                  </a:cubicBezTo>
                  <a:close/>
                  <a:moveTo>
                    <a:pt x="1684" y="37"/>
                  </a:moveTo>
                  <a:cubicBezTo>
                    <a:pt x="1684" y="38"/>
                    <a:pt x="1684" y="38"/>
                    <a:pt x="1684" y="39"/>
                  </a:cubicBezTo>
                  <a:cubicBezTo>
                    <a:pt x="1684" y="38"/>
                    <a:pt x="1684" y="38"/>
                    <a:pt x="1684" y="37"/>
                  </a:cubicBezTo>
                  <a:close/>
                  <a:moveTo>
                    <a:pt x="1219" y="97"/>
                  </a:moveTo>
                  <a:cubicBezTo>
                    <a:pt x="1218" y="97"/>
                    <a:pt x="1218" y="97"/>
                    <a:pt x="1218" y="97"/>
                  </a:cubicBezTo>
                  <a:cubicBezTo>
                    <a:pt x="1218" y="97"/>
                    <a:pt x="1218" y="97"/>
                    <a:pt x="1219" y="97"/>
                  </a:cubicBezTo>
                  <a:close/>
                  <a:moveTo>
                    <a:pt x="759" y="98"/>
                  </a:moveTo>
                  <a:cubicBezTo>
                    <a:pt x="759" y="97"/>
                    <a:pt x="759" y="97"/>
                    <a:pt x="758" y="97"/>
                  </a:cubicBezTo>
                  <a:cubicBezTo>
                    <a:pt x="758" y="97"/>
                    <a:pt x="759" y="98"/>
                    <a:pt x="759" y="98"/>
                  </a:cubicBezTo>
                  <a:close/>
                  <a:moveTo>
                    <a:pt x="562" y="16"/>
                  </a:moveTo>
                  <a:cubicBezTo>
                    <a:pt x="561" y="16"/>
                    <a:pt x="561" y="16"/>
                    <a:pt x="560" y="17"/>
                  </a:cubicBezTo>
                  <a:cubicBezTo>
                    <a:pt x="561" y="17"/>
                    <a:pt x="561" y="17"/>
                    <a:pt x="562" y="16"/>
                  </a:cubicBezTo>
                  <a:close/>
                  <a:moveTo>
                    <a:pt x="573" y="17"/>
                  </a:moveTo>
                  <a:cubicBezTo>
                    <a:pt x="573" y="16"/>
                    <a:pt x="572" y="16"/>
                    <a:pt x="572" y="16"/>
                  </a:cubicBezTo>
                  <a:cubicBezTo>
                    <a:pt x="572" y="17"/>
                    <a:pt x="573" y="17"/>
                    <a:pt x="573" y="17"/>
                  </a:cubicBezTo>
                  <a:close/>
                  <a:moveTo>
                    <a:pt x="1423" y="98"/>
                  </a:moveTo>
                  <a:cubicBezTo>
                    <a:pt x="1423" y="97"/>
                    <a:pt x="1422" y="97"/>
                    <a:pt x="1422" y="97"/>
                  </a:cubicBezTo>
                  <a:cubicBezTo>
                    <a:pt x="1422" y="97"/>
                    <a:pt x="1422" y="98"/>
                    <a:pt x="1423" y="98"/>
                  </a:cubicBezTo>
                  <a:close/>
                  <a:moveTo>
                    <a:pt x="665" y="39"/>
                  </a:moveTo>
                  <a:cubicBezTo>
                    <a:pt x="665" y="38"/>
                    <a:pt x="665" y="38"/>
                    <a:pt x="666" y="38"/>
                  </a:cubicBezTo>
                  <a:cubicBezTo>
                    <a:pt x="665" y="38"/>
                    <a:pt x="665" y="38"/>
                    <a:pt x="665" y="39"/>
                  </a:cubicBezTo>
                  <a:close/>
                  <a:moveTo>
                    <a:pt x="1457" y="97"/>
                  </a:moveTo>
                  <a:cubicBezTo>
                    <a:pt x="1456" y="97"/>
                    <a:pt x="1456" y="98"/>
                    <a:pt x="1456" y="98"/>
                  </a:cubicBezTo>
                  <a:cubicBezTo>
                    <a:pt x="1456" y="98"/>
                    <a:pt x="1457" y="98"/>
                    <a:pt x="1457" y="97"/>
                  </a:cubicBezTo>
                  <a:close/>
                  <a:moveTo>
                    <a:pt x="761" y="99"/>
                  </a:moveTo>
                  <a:cubicBezTo>
                    <a:pt x="760" y="98"/>
                    <a:pt x="760" y="98"/>
                    <a:pt x="760" y="98"/>
                  </a:cubicBezTo>
                  <a:cubicBezTo>
                    <a:pt x="760" y="99"/>
                    <a:pt x="760" y="99"/>
                    <a:pt x="761" y="99"/>
                  </a:cubicBezTo>
                  <a:close/>
                  <a:moveTo>
                    <a:pt x="1425" y="99"/>
                  </a:moveTo>
                  <a:cubicBezTo>
                    <a:pt x="1424" y="99"/>
                    <a:pt x="1424" y="98"/>
                    <a:pt x="1424" y="98"/>
                  </a:cubicBezTo>
                  <a:cubicBezTo>
                    <a:pt x="1424" y="99"/>
                    <a:pt x="1424" y="99"/>
                    <a:pt x="1425" y="99"/>
                  </a:cubicBezTo>
                  <a:close/>
                  <a:moveTo>
                    <a:pt x="1574" y="53"/>
                  </a:moveTo>
                  <a:cubicBezTo>
                    <a:pt x="1574" y="53"/>
                    <a:pt x="1573" y="54"/>
                    <a:pt x="1573" y="54"/>
                  </a:cubicBezTo>
                  <a:cubicBezTo>
                    <a:pt x="1574" y="54"/>
                    <a:pt x="1574" y="54"/>
                    <a:pt x="1574" y="53"/>
                  </a:cubicBezTo>
                  <a:close/>
                  <a:moveTo>
                    <a:pt x="1011" y="102"/>
                  </a:moveTo>
                  <a:cubicBezTo>
                    <a:pt x="1010" y="101"/>
                    <a:pt x="1010" y="102"/>
                    <a:pt x="1009" y="102"/>
                  </a:cubicBezTo>
                  <a:cubicBezTo>
                    <a:pt x="1010" y="102"/>
                    <a:pt x="1010" y="102"/>
                    <a:pt x="1011" y="102"/>
                  </a:cubicBezTo>
                  <a:close/>
                  <a:moveTo>
                    <a:pt x="984" y="102"/>
                  </a:moveTo>
                  <a:cubicBezTo>
                    <a:pt x="984" y="102"/>
                    <a:pt x="983" y="102"/>
                    <a:pt x="983" y="102"/>
                  </a:cubicBezTo>
                  <a:cubicBezTo>
                    <a:pt x="983" y="102"/>
                    <a:pt x="984" y="102"/>
                    <a:pt x="984" y="102"/>
                  </a:cubicBezTo>
                  <a:close/>
                  <a:moveTo>
                    <a:pt x="1009" y="102"/>
                  </a:moveTo>
                  <a:cubicBezTo>
                    <a:pt x="1009" y="102"/>
                    <a:pt x="1008" y="102"/>
                    <a:pt x="1008" y="102"/>
                  </a:cubicBezTo>
                  <a:cubicBezTo>
                    <a:pt x="1008" y="102"/>
                    <a:pt x="1009" y="102"/>
                    <a:pt x="1009" y="102"/>
                  </a:cubicBezTo>
                  <a:close/>
                  <a:moveTo>
                    <a:pt x="568" y="102"/>
                  </a:moveTo>
                  <a:cubicBezTo>
                    <a:pt x="568" y="102"/>
                    <a:pt x="567" y="102"/>
                    <a:pt x="567" y="103"/>
                  </a:cubicBezTo>
                  <a:cubicBezTo>
                    <a:pt x="567" y="103"/>
                    <a:pt x="568" y="103"/>
                    <a:pt x="568" y="102"/>
                  </a:cubicBezTo>
                  <a:close/>
                  <a:moveTo>
                    <a:pt x="1220" y="39"/>
                  </a:moveTo>
                  <a:cubicBezTo>
                    <a:pt x="1220" y="38"/>
                    <a:pt x="1221" y="38"/>
                    <a:pt x="1221" y="38"/>
                  </a:cubicBezTo>
                  <a:cubicBezTo>
                    <a:pt x="1221" y="38"/>
                    <a:pt x="1220" y="38"/>
                    <a:pt x="1220" y="39"/>
                  </a:cubicBezTo>
                  <a:close/>
                  <a:moveTo>
                    <a:pt x="684" y="102"/>
                  </a:moveTo>
                  <a:cubicBezTo>
                    <a:pt x="683" y="102"/>
                    <a:pt x="683" y="102"/>
                    <a:pt x="683" y="103"/>
                  </a:cubicBezTo>
                  <a:cubicBezTo>
                    <a:pt x="683" y="103"/>
                    <a:pt x="684" y="103"/>
                    <a:pt x="684" y="102"/>
                  </a:cubicBezTo>
                  <a:close/>
                  <a:moveTo>
                    <a:pt x="986" y="103"/>
                  </a:moveTo>
                  <a:cubicBezTo>
                    <a:pt x="986" y="102"/>
                    <a:pt x="985" y="102"/>
                    <a:pt x="985" y="102"/>
                  </a:cubicBezTo>
                  <a:cubicBezTo>
                    <a:pt x="985" y="103"/>
                    <a:pt x="986" y="103"/>
                    <a:pt x="986" y="103"/>
                  </a:cubicBezTo>
                  <a:close/>
                  <a:moveTo>
                    <a:pt x="1052" y="103"/>
                  </a:moveTo>
                  <a:cubicBezTo>
                    <a:pt x="1052" y="102"/>
                    <a:pt x="1051" y="102"/>
                    <a:pt x="1051" y="102"/>
                  </a:cubicBezTo>
                  <a:cubicBezTo>
                    <a:pt x="1051" y="103"/>
                    <a:pt x="1052" y="103"/>
                    <a:pt x="1052" y="103"/>
                  </a:cubicBezTo>
                  <a:close/>
                  <a:moveTo>
                    <a:pt x="1070" y="102"/>
                  </a:moveTo>
                  <a:cubicBezTo>
                    <a:pt x="1070" y="102"/>
                    <a:pt x="1069" y="102"/>
                    <a:pt x="1069" y="103"/>
                  </a:cubicBezTo>
                  <a:cubicBezTo>
                    <a:pt x="1069" y="103"/>
                    <a:pt x="1070" y="103"/>
                    <a:pt x="1070" y="102"/>
                  </a:cubicBezTo>
                  <a:close/>
                  <a:moveTo>
                    <a:pt x="575" y="17"/>
                  </a:moveTo>
                  <a:cubicBezTo>
                    <a:pt x="575" y="17"/>
                    <a:pt x="574" y="17"/>
                    <a:pt x="574" y="17"/>
                  </a:cubicBezTo>
                  <a:cubicBezTo>
                    <a:pt x="574" y="17"/>
                    <a:pt x="575" y="17"/>
                    <a:pt x="575" y="17"/>
                  </a:cubicBezTo>
                  <a:close/>
                  <a:moveTo>
                    <a:pt x="1259" y="42"/>
                  </a:moveTo>
                  <a:cubicBezTo>
                    <a:pt x="1259" y="42"/>
                    <a:pt x="1259" y="42"/>
                    <a:pt x="1260" y="43"/>
                  </a:cubicBezTo>
                  <a:cubicBezTo>
                    <a:pt x="1260" y="42"/>
                    <a:pt x="1259" y="42"/>
                    <a:pt x="1259" y="42"/>
                  </a:cubicBezTo>
                  <a:close/>
                  <a:moveTo>
                    <a:pt x="1230" y="103"/>
                  </a:moveTo>
                  <a:cubicBezTo>
                    <a:pt x="1230" y="102"/>
                    <a:pt x="1229" y="102"/>
                    <a:pt x="1229" y="102"/>
                  </a:cubicBezTo>
                  <a:cubicBezTo>
                    <a:pt x="1229" y="103"/>
                    <a:pt x="1230" y="103"/>
                    <a:pt x="1230" y="103"/>
                  </a:cubicBezTo>
                  <a:close/>
                  <a:moveTo>
                    <a:pt x="1248" y="102"/>
                  </a:moveTo>
                  <a:cubicBezTo>
                    <a:pt x="1248" y="102"/>
                    <a:pt x="1247" y="102"/>
                    <a:pt x="1247" y="103"/>
                  </a:cubicBezTo>
                  <a:cubicBezTo>
                    <a:pt x="1247" y="103"/>
                    <a:pt x="1248" y="103"/>
                    <a:pt x="1248" y="102"/>
                  </a:cubicBezTo>
                  <a:close/>
                  <a:moveTo>
                    <a:pt x="1663" y="8"/>
                  </a:moveTo>
                  <a:cubicBezTo>
                    <a:pt x="1664" y="8"/>
                    <a:pt x="1664" y="8"/>
                    <a:pt x="1665" y="8"/>
                  </a:cubicBezTo>
                  <a:cubicBezTo>
                    <a:pt x="1664" y="8"/>
                    <a:pt x="1664" y="8"/>
                    <a:pt x="1663" y="8"/>
                  </a:cubicBezTo>
                  <a:close/>
                  <a:moveTo>
                    <a:pt x="991" y="17"/>
                  </a:moveTo>
                  <a:cubicBezTo>
                    <a:pt x="990" y="17"/>
                    <a:pt x="990" y="17"/>
                    <a:pt x="990" y="17"/>
                  </a:cubicBezTo>
                  <a:cubicBezTo>
                    <a:pt x="990" y="17"/>
                    <a:pt x="991" y="17"/>
                    <a:pt x="991" y="17"/>
                  </a:cubicBezTo>
                  <a:close/>
                  <a:moveTo>
                    <a:pt x="1008" y="17"/>
                  </a:moveTo>
                  <a:cubicBezTo>
                    <a:pt x="1008" y="17"/>
                    <a:pt x="1008" y="17"/>
                    <a:pt x="1007" y="17"/>
                  </a:cubicBezTo>
                  <a:cubicBezTo>
                    <a:pt x="1007" y="17"/>
                    <a:pt x="1008" y="17"/>
                    <a:pt x="1008" y="17"/>
                  </a:cubicBezTo>
                  <a:close/>
                  <a:moveTo>
                    <a:pt x="1433" y="103"/>
                  </a:moveTo>
                  <a:cubicBezTo>
                    <a:pt x="1432" y="102"/>
                    <a:pt x="1432" y="102"/>
                    <a:pt x="1431" y="102"/>
                  </a:cubicBezTo>
                  <a:cubicBezTo>
                    <a:pt x="1432" y="103"/>
                    <a:pt x="1432" y="103"/>
                    <a:pt x="1433" y="103"/>
                  </a:cubicBezTo>
                  <a:close/>
                  <a:moveTo>
                    <a:pt x="1447" y="102"/>
                  </a:moveTo>
                  <a:cubicBezTo>
                    <a:pt x="1447" y="102"/>
                    <a:pt x="1446" y="102"/>
                    <a:pt x="1446" y="103"/>
                  </a:cubicBezTo>
                  <a:cubicBezTo>
                    <a:pt x="1446" y="103"/>
                    <a:pt x="1447" y="103"/>
                    <a:pt x="1447" y="102"/>
                  </a:cubicBezTo>
                  <a:close/>
                  <a:moveTo>
                    <a:pt x="682" y="103"/>
                  </a:moveTo>
                  <a:cubicBezTo>
                    <a:pt x="682" y="103"/>
                    <a:pt x="681" y="103"/>
                    <a:pt x="681" y="103"/>
                  </a:cubicBezTo>
                  <a:cubicBezTo>
                    <a:pt x="681" y="103"/>
                    <a:pt x="682" y="103"/>
                    <a:pt x="682" y="103"/>
                  </a:cubicBezTo>
                  <a:close/>
                  <a:moveTo>
                    <a:pt x="728" y="103"/>
                  </a:moveTo>
                  <a:cubicBezTo>
                    <a:pt x="728" y="103"/>
                    <a:pt x="727" y="103"/>
                    <a:pt x="727" y="103"/>
                  </a:cubicBezTo>
                  <a:cubicBezTo>
                    <a:pt x="727" y="103"/>
                    <a:pt x="728" y="103"/>
                    <a:pt x="728" y="103"/>
                  </a:cubicBezTo>
                  <a:close/>
                  <a:moveTo>
                    <a:pt x="738" y="103"/>
                  </a:moveTo>
                  <a:cubicBezTo>
                    <a:pt x="737" y="103"/>
                    <a:pt x="737" y="103"/>
                    <a:pt x="736" y="103"/>
                  </a:cubicBezTo>
                  <a:cubicBezTo>
                    <a:pt x="737" y="103"/>
                    <a:pt x="737" y="103"/>
                    <a:pt x="738" y="103"/>
                  </a:cubicBezTo>
                  <a:close/>
                  <a:moveTo>
                    <a:pt x="1054" y="103"/>
                  </a:moveTo>
                  <a:cubicBezTo>
                    <a:pt x="1054" y="103"/>
                    <a:pt x="1053" y="103"/>
                    <a:pt x="1053" y="103"/>
                  </a:cubicBezTo>
                  <a:cubicBezTo>
                    <a:pt x="1053" y="103"/>
                    <a:pt x="1054" y="103"/>
                    <a:pt x="1054" y="103"/>
                  </a:cubicBezTo>
                  <a:close/>
                  <a:moveTo>
                    <a:pt x="961" y="24"/>
                  </a:moveTo>
                  <a:cubicBezTo>
                    <a:pt x="961" y="23"/>
                    <a:pt x="962" y="23"/>
                    <a:pt x="962" y="23"/>
                  </a:cubicBezTo>
                  <a:cubicBezTo>
                    <a:pt x="961" y="23"/>
                    <a:pt x="961" y="23"/>
                    <a:pt x="961" y="24"/>
                  </a:cubicBezTo>
                  <a:close/>
                  <a:moveTo>
                    <a:pt x="1232" y="103"/>
                  </a:moveTo>
                  <a:cubicBezTo>
                    <a:pt x="1232" y="103"/>
                    <a:pt x="1231" y="103"/>
                    <a:pt x="1230" y="103"/>
                  </a:cubicBezTo>
                  <a:cubicBezTo>
                    <a:pt x="1231" y="103"/>
                    <a:pt x="1231" y="103"/>
                    <a:pt x="1232" y="103"/>
                  </a:cubicBezTo>
                  <a:close/>
                  <a:moveTo>
                    <a:pt x="1435" y="103"/>
                  </a:moveTo>
                  <a:cubicBezTo>
                    <a:pt x="1434" y="103"/>
                    <a:pt x="1434" y="103"/>
                    <a:pt x="1433" y="103"/>
                  </a:cubicBezTo>
                  <a:cubicBezTo>
                    <a:pt x="1433" y="103"/>
                    <a:pt x="1434" y="103"/>
                    <a:pt x="1435" y="103"/>
                  </a:cubicBezTo>
                  <a:close/>
                  <a:moveTo>
                    <a:pt x="1446" y="103"/>
                  </a:moveTo>
                  <a:cubicBezTo>
                    <a:pt x="1445" y="103"/>
                    <a:pt x="1445" y="103"/>
                    <a:pt x="1444" y="103"/>
                  </a:cubicBezTo>
                  <a:cubicBezTo>
                    <a:pt x="1445" y="103"/>
                    <a:pt x="1445" y="103"/>
                    <a:pt x="1446" y="103"/>
                  </a:cubicBezTo>
                  <a:close/>
                  <a:moveTo>
                    <a:pt x="607" y="122"/>
                  </a:moveTo>
                  <a:cubicBezTo>
                    <a:pt x="607" y="122"/>
                    <a:pt x="608" y="122"/>
                    <a:pt x="608" y="121"/>
                  </a:cubicBezTo>
                  <a:cubicBezTo>
                    <a:pt x="607" y="121"/>
                    <a:pt x="607" y="122"/>
                    <a:pt x="607" y="122"/>
                  </a:cubicBezTo>
                  <a:close/>
                  <a:moveTo>
                    <a:pt x="1665" y="8"/>
                  </a:moveTo>
                  <a:cubicBezTo>
                    <a:pt x="1665" y="9"/>
                    <a:pt x="1666" y="9"/>
                    <a:pt x="1666" y="9"/>
                  </a:cubicBezTo>
                  <a:cubicBezTo>
                    <a:pt x="1666" y="8"/>
                    <a:pt x="1665" y="8"/>
                    <a:pt x="1665" y="8"/>
                  </a:cubicBezTo>
                  <a:close/>
                  <a:moveTo>
                    <a:pt x="597" y="123"/>
                  </a:moveTo>
                  <a:cubicBezTo>
                    <a:pt x="597" y="123"/>
                    <a:pt x="598" y="123"/>
                    <a:pt x="598" y="123"/>
                  </a:cubicBezTo>
                  <a:cubicBezTo>
                    <a:pt x="598" y="123"/>
                    <a:pt x="597" y="123"/>
                    <a:pt x="597" y="123"/>
                  </a:cubicBezTo>
                  <a:close/>
                  <a:moveTo>
                    <a:pt x="1411" y="36"/>
                  </a:moveTo>
                  <a:cubicBezTo>
                    <a:pt x="1411" y="35"/>
                    <a:pt x="1412" y="35"/>
                    <a:pt x="1411" y="34"/>
                  </a:cubicBezTo>
                  <a:cubicBezTo>
                    <a:pt x="1411" y="35"/>
                    <a:pt x="1411" y="35"/>
                    <a:pt x="1411" y="36"/>
                  </a:cubicBezTo>
                  <a:close/>
                  <a:moveTo>
                    <a:pt x="1469" y="34"/>
                  </a:moveTo>
                  <a:cubicBezTo>
                    <a:pt x="1469" y="35"/>
                    <a:pt x="1469" y="35"/>
                    <a:pt x="1470" y="36"/>
                  </a:cubicBezTo>
                  <a:cubicBezTo>
                    <a:pt x="1470" y="35"/>
                    <a:pt x="1470" y="35"/>
                    <a:pt x="1469" y="34"/>
                  </a:cubicBezTo>
                  <a:close/>
                  <a:moveTo>
                    <a:pt x="619" y="123"/>
                  </a:moveTo>
                  <a:cubicBezTo>
                    <a:pt x="619" y="123"/>
                    <a:pt x="619" y="124"/>
                    <a:pt x="618" y="124"/>
                  </a:cubicBezTo>
                  <a:cubicBezTo>
                    <a:pt x="619" y="124"/>
                    <a:pt x="619" y="124"/>
                    <a:pt x="619" y="123"/>
                  </a:cubicBezTo>
                  <a:close/>
                  <a:moveTo>
                    <a:pt x="618" y="125"/>
                  </a:moveTo>
                  <a:cubicBezTo>
                    <a:pt x="617" y="125"/>
                    <a:pt x="617" y="125"/>
                    <a:pt x="617" y="126"/>
                  </a:cubicBezTo>
                  <a:cubicBezTo>
                    <a:pt x="618" y="126"/>
                    <a:pt x="618" y="125"/>
                    <a:pt x="618" y="125"/>
                  </a:cubicBezTo>
                  <a:close/>
                  <a:moveTo>
                    <a:pt x="966" y="18"/>
                  </a:moveTo>
                  <a:cubicBezTo>
                    <a:pt x="967" y="18"/>
                    <a:pt x="967" y="17"/>
                    <a:pt x="967" y="17"/>
                  </a:cubicBezTo>
                  <a:cubicBezTo>
                    <a:pt x="967" y="17"/>
                    <a:pt x="966" y="17"/>
                    <a:pt x="966" y="18"/>
                  </a:cubicBezTo>
                  <a:close/>
                  <a:moveTo>
                    <a:pt x="615" y="128"/>
                  </a:moveTo>
                  <a:cubicBezTo>
                    <a:pt x="615" y="128"/>
                    <a:pt x="614" y="128"/>
                    <a:pt x="614" y="129"/>
                  </a:cubicBezTo>
                  <a:cubicBezTo>
                    <a:pt x="615" y="129"/>
                    <a:pt x="615" y="128"/>
                    <a:pt x="615" y="128"/>
                  </a:cubicBezTo>
                  <a:close/>
                  <a:moveTo>
                    <a:pt x="597" y="133"/>
                  </a:moveTo>
                  <a:cubicBezTo>
                    <a:pt x="596" y="132"/>
                    <a:pt x="596" y="132"/>
                    <a:pt x="595" y="133"/>
                  </a:cubicBezTo>
                  <a:cubicBezTo>
                    <a:pt x="596" y="133"/>
                    <a:pt x="596" y="133"/>
                    <a:pt x="597" y="133"/>
                  </a:cubicBezTo>
                  <a:close/>
                  <a:moveTo>
                    <a:pt x="759" y="39"/>
                  </a:moveTo>
                  <a:cubicBezTo>
                    <a:pt x="760" y="39"/>
                    <a:pt x="760" y="39"/>
                    <a:pt x="760" y="39"/>
                  </a:cubicBezTo>
                  <a:cubicBezTo>
                    <a:pt x="760" y="39"/>
                    <a:pt x="759" y="39"/>
                    <a:pt x="759" y="39"/>
                  </a:cubicBezTo>
                  <a:close/>
                  <a:moveTo>
                    <a:pt x="906" y="39"/>
                  </a:moveTo>
                  <a:cubicBezTo>
                    <a:pt x="906" y="39"/>
                    <a:pt x="907" y="39"/>
                    <a:pt x="907" y="40"/>
                  </a:cubicBezTo>
                  <a:cubicBezTo>
                    <a:pt x="907" y="39"/>
                    <a:pt x="907" y="39"/>
                    <a:pt x="906" y="39"/>
                  </a:cubicBezTo>
                  <a:close/>
                  <a:moveTo>
                    <a:pt x="1397" y="38"/>
                  </a:moveTo>
                  <a:cubicBezTo>
                    <a:pt x="1396" y="39"/>
                    <a:pt x="1396" y="39"/>
                    <a:pt x="1397" y="40"/>
                  </a:cubicBezTo>
                  <a:cubicBezTo>
                    <a:pt x="1397" y="39"/>
                    <a:pt x="1397" y="39"/>
                    <a:pt x="1397" y="38"/>
                  </a:cubicBezTo>
                  <a:close/>
                  <a:moveTo>
                    <a:pt x="659" y="49"/>
                  </a:moveTo>
                  <a:cubicBezTo>
                    <a:pt x="659" y="49"/>
                    <a:pt x="659" y="48"/>
                    <a:pt x="659" y="48"/>
                  </a:cubicBezTo>
                  <a:cubicBezTo>
                    <a:pt x="658" y="48"/>
                    <a:pt x="659" y="49"/>
                    <a:pt x="659" y="49"/>
                  </a:cubicBezTo>
                  <a:close/>
                  <a:moveTo>
                    <a:pt x="1149" y="39"/>
                  </a:moveTo>
                  <a:cubicBezTo>
                    <a:pt x="1149" y="39"/>
                    <a:pt x="1149" y="40"/>
                    <a:pt x="1149" y="40"/>
                  </a:cubicBezTo>
                  <a:cubicBezTo>
                    <a:pt x="1149" y="39"/>
                    <a:pt x="1149" y="39"/>
                    <a:pt x="1149" y="39"/>
                  </a:cubicBezTo>
                  <a:close/>
                  <a:moveTo>
                    <a:pt x="1581" y="39"/>
                  </a:moveTo>
                  <a:cubicBezTo>
                    <a:pt x="1581" y="39"/>
                    <a:pt x="1581" y="40"/>
                    <a:pt x="1581" y="40"/>
                  </a:cubicBezTo>
                  <a:cubicBezTo>
                    <a:pt x="1581" y="40"/>
                    <a:pt x="1581" y="39"/>
                    <a:pt x="1581" y="39"/>
                  </a:cubicBezTo>
                  <a:close/>
                  <a:moveTo>
                    <a:pt x="1749" y="39"/>
                  </a:moveTo>
                  <a:cubicBezTo>
                    <a:pt x="1749" y="39"/>
                    <a:pt x="1749" y="40"/>
                    <a:pt x="1749" y="40"/>
                  </a:cubicBezTo>
                  <a:cubicBezTo>
                    <a:pt x="1749" y="40"/>
                    <a:pt x="1749" y="39"/>
                    <a:pt x="1749" y="39"/>
                  </a:cubicBezTo>
                  <a:close/>
                  <a:moveTo>
                    <a:pt x="864" y="39"/>
                  </a:moveTo>
                  <a:cubicBezTo>
                    <a:pt x="864" y="40"/>
                    <a:pt x="865" y="40"/>
                    <a:pt x="865" y="40"/>
                  </a:cubicBezTo>
                  <a:cubicBezTo>
                    <a:pt x="865" y="40"/>
                    <a:pt x="865" y="39"/>
                    <a:pt x="864" y="39"/>
                  </a:cubicBezTo>
                  <a:close/>
                  <a:moveTo>
                    <a:pt x="1218" y="40"/>
                  </a:moveTo>
                  <a:cubicBezTo>
                    <a:pt x="1219" y="40"/>
                    <a:pt x="1219" y="40"/>
                    <a:pt x="1219" y="39"/>
                  </a:cubicBezTo>
                  <a:cubicBezTo>
                    <a:pt x="1219" y="39"/>
                    <a:pt x="1218" y="39"/>
                    <a:pt x="1218" y="40"/>
                  </a:cubicBezTo>
                  <a:close/>
                  <a:moveTo>
                    <a:pt x="1391" y="52"/>
                  </a:moveTo>
                  <a:cubicBezTo>
                    <a:pt x="1391" y="52"/>
                    <a:pt x="1390" y="52"/>
                    <a:pt x="1390" y="53"/>
                  </a:cubicBezTo>
                  <a:cubicBezTo>
                    <a:pt x="1391" y="53"/>
                    <a:pt x="1391" y="52"/>
                    <a:pt x="1391" y="52"/>
                  </a:cubicBezTo>
                  <a:close/>
                  <a:moveTo>
                    <a:pt x="1397" y="40"/>
                  </a:moveTo>
                  <a:cubicBezTo>
                    <a:pt x="1396" y="40"/>
                    <a:pt x="1396" y="41"/>
                    <a:pt x="1396" y="41"/>
                  </a:cubicBezTo>
                  <a:cubicBezTo>
                    <a:pt x="1397" y="41"/>
                    <a:pt x="1396" y="40"/>
                    <a:pt x="1397" y="40"/>
                  </a:cubicBezTo>
                  <a:close/>
                  <a:moveTo>
                    <a:pt x="831" y="41"/>
                  </a:moveTo>
                  <a:cubicBezTo>
                    <a:pt x="831" y="41"/>
                    <a:pt x="831" y="41"/>
                    <a:pt x="831" y="40"/>
                  </a:cubicBezTo>
                  <a:cubicBezTo>
                    <a:pt x="831" y="40"/>
                    <a:pt x="831" y="41"/>
                    <a:pt x="831" y="41"/>
                  </a:cubicBezTo>
                  <a:close/>
                  <a:moveTo>
                    <a:pt x="1112" y="42"/>
                  </a:moveTo>
                  <a:cubicBezTo>
                    <a:pt x="1113" y="42"/>
                    <a:pt x="1113" y="41"/>
                    <a:pt x="1113" y="41"/>
                  </a:cubicBezTo>
                  <a:cubicBezTo>
                    <a:pt x="1113" y="41"/>
                    <a:pt x="1112" y="41"/>
                    <a:pt x="1112" y="42"/>
                  </a:cubicBezTo>
                  <a:close/>
                  <a:moveTo>
                    <a:pt x="670" y="49"/>
                  </a:moveTo>
                  <a:cubicBezTo>
                    <a:pt x="670" y="49"/>
                    <a:pt x="670" y="49"/>
                    <a:pt x="670" y="50"/>
                  </a:cubicBezTo>
                  <a:cubicBezTo>
                    <a:pt x="670" y="50"/>
                    <a:pt x="670" y="49"/>
                    <a:pt x="670" y="49"/>
                  </a:cubicBezTo>
                  <a:close/>
                  <a:moveTo>
                    <a:pt x="1115" y="49"/>
                  </a:moveTo>
                  <a:cubicBezTo>
                    <a:pt x="1115" y="49"/>
                    <a:pt x="1114" y="49"/>
                    <a:pt x="1114" y="50"/>
                  </a:cubicBezTo>
                  <a:cubicBezTo>
                    <a:pt x="1115" y="49"/>
                    <a:pt x="1115" y="49"/>
                    <a:pt x="1115" y="49"/>
                  </a:cubicBezTo>
                  <a:close/>
                  <a:moveTo>
                    <a:pt x="1380" y="50"/>
                  </a:moveTo>
                  <a:cubicBezTo>
                    <a:pt x="1380" y="49"/>
                    <a:pt x="1380" y="49"/>
                    <a:pt x="1381" y="49"/>
                  </a:cubicBezTo>
                  <a:cubicBezTo>
                    <a:pt x="1380" y="49"/>
                    <a:pt x="1380" y="49"/>
                    <a:pt x="1380" y="50"/>
                  </a:cubicBezTo>
                  <a:close/>
                  <a:moveTo>
                    <a:pt x="607" y="132"/>
                  </a:moveTo>
                  <a:cubicBezTo>
                    <a:pt x="606" y="132"/>
                    <a:pt x="606" y="132"/>
                    <a:pt x="605" y="133"/>
                  </a:cubicBezTo>
                  <a:cubicBezTo>
                    <a:pt x="606" y="133"/>
                    <a:pt x="606" y="133"/>
                    <a:pt x="607" y="132"/>
                  </a:cubicBezTo>
                  <a:close/>
                  <a:moveTo>
                    <a:pt x="976" y="23"/>
                  </a:moveTo>
                  <a:cubicBezTo>
                    <a:pt x="976" y="24"/>
                    <a:pt x="975" y="24"/>
                    <a:pt x="975" y="24"/>
                  </a:cubicBezTo>
                  <a:cubicBezTo>
                    <a:pt x="976" y="24"/>
                    <a:pt x="976" y="24"/>
                    <a:pt x="976" y="23"/>
                  </a:cubicBezTo>
                  <a:close/>
                  <a:moveTo>
                    <a:pt x="553" y="42"/>
                  </a:moveTo>
                  <a:cubicBezTo>
                    <a:pt x="554" y="42"/>
                    <a:pt x="554" y="42"/>
                    <a:pt x="554" y="42"/>
                  </a:cubicBezTo>
                  <a:cubicBezTo>
                    <a:pt x="554" y="42"/>
                    <a:pt x="554" y="42"/>
                    <a:pt x="553" y="42"/>
                  </a:cubicBezTo>
                  <a:close/>
                  <a:moveTo>
                    <a:pt x="1725" y="56"/>
                  </a:moveTo>
                  <a:cubicBezTo>
                    <a:pt x="1726" y="56"/>
                    <a:pt x="1726" y="56"/>
                    <a:pt x="1726" y="56"/>
                  </a:cubicBezTo>
                  <a:cubicBezTo>
                    <a:pt x="1726" y="56"/>
                    <a:pt x="1725" y="56"/>
                    <a:pt x="1725" y="56"/>
                  </a:cubicBezTo>
                  <a:close/>
                  <a:moveTo>
                    <a:pt x="659" y="57"/>
                  </a:moveTo>
                  <a:cubicBezTo>
                    <a:pt x="659" y="57"/>
                    <a:pt x="659" y="56"/>
                    <a:pt x="659" y="56"/>
                  </a:cubicBezTo>
                  <a:cubicBezTo>
                    <a:pt x="659" y="56"/>
                    <a:pt x="658" y="57"/>
                    <a:pt x="659" y="57"/>
                  </a:cubicBezTo>
                  <a:close/>
                  <a:moveTo>
                    <a:pt x="829" y="56"/>
                  </a:moveTo>
                  <a:cubicBezTo>
                    <a:pt x="828" y="57"/>
                    <a:pt x="828" y="57"/>
                    <a:pt x="828" y="58"/>
                  </a:cubicBezTo>
                  <a:cubicBezTo>
                    <a:pt x="829" y="58"/>
                    <a:pt x="829" y="57"/>
                    <a:pt x="829" y="56"/>
                  </a:cubicBezTo>
                  <a:close/>
                  <a:moveTo>
                    <a:pt x="859" y="55"/>
                  </a:moveTo>
                  <a:cubicBezTo>
                    <a:pt x="859" y="54"/>
                    <a:pt x="859" y="54"/>
                    <a:pt x="858" y="53"/>
                  </a:cubicBezTo>
                  <a:cubicBezTo>
                    <a:pt x="858" y="54"/>
                    <a:pt x="858" y="54"/>
                    <a:pt x="859" y="55"/>
                  </a:cubicBezTo>
                  <a:close/>
                  <a:moveTo>
                    <a:pt x="1372" y="57"/>
                  </a:moveTo>
                  <a:cubicBezTo>
                    <a:pt x="1372" y="57"/>
                    <a:pt x="1372" y="57"/>
                    <a:pt x="1373" y="57"/>
                  </a:cubicBezTo>
                  <a:cubicBezTo>
                    <a:pt x="1372" y="57"/>
                    <a:pt x="1372" y="57"/>
                    <a:pt x="1372" y="57"/>
                  </a:cubicBezTo>
                  <a:close/>
                  <a:moveTo>
                    <a:pt x="578" y="58"/>
                  </a:moveTo>
                  <a:cubicBezTo>
                    <a:pt x="578" y="58"/>
                    <a:pt x="579" y="58"/>
                    <a:pt x="579" y="58"/>
                  </a:cubicBezTo>
                  <a:cubicBezTo>
                    <a:pt x="579" y="58"/>
                    <a:pt x="579" y="58"/>
                    <a:pt x="578" y="58"/>
                  </a:cubicBezTo>
                  <a:close/>
                  <a:moveTo>
                    <a:pt x="1208" y="59"/>
                  </a:moveTo>
                  <a:cubicBezTo>
                    <a:pt x="1208" y="59"/>
                    <a:pt x="1208" y="58"/>
                    <a:pt x="1208" y="58"/>
                  </a:cubicBezTo>
                  <a:cubicBezTo>
                    <a:pt x="1208" y="58"/>
                    <a:pt x="1208" y="59"/>
                    <a:pt x="1208" y="59"/>
                  </a:cubicBezTo>
                  <a:close/>
                  <a:moveTo>
                    <a:pt x="1289" y="58"/>
                  </a:moveTo>
                  <a:cubicBezTo>
                    <a:pt x="1289" y="59"/>
                    <a:pt x="1289" y="59"/>
                    <a:pt x="1289" y="60"/>
                  </a:cubicBezTo>
                  <a:cubicBezTo>
                    <a:pt x="1289" y="59"/>
                    <a:pt x="1289" y="59"/>
                    <a:pt x="1289" y="58"/>
                  </a:cubicBezTo>
                  <a:close/>
                  <a:moveTo>
                    <a:pt x="748" y="60"/>
                  </a:moveTo>
                  <a:cubicBezTo>
                    <a:pt x="748" y="60"/>
                    <a:pt x="748" y="59"/>
                    <a:pt x="748" y="59"/>
                  </a:cubicBezTo>
                  <a:cubicBezTo>
                    <a:pt x="748" y="59"/>
                    <a:pt x="748" y="60"/>
                    <a:pt x="748" y="60"/>
                  </a:cubicBezTo>
                  <a:close/>
                  <a:moveTo>
                    <a:pt x="670" y="50"/>
                  </a:moveTo>
                  <a:cubicBezTo>
                    <a:pt x="669" y="51"/>
                    <a:pt x="669" y="52"/>
                    <a:pt x="670" y="52"/>
                  </a:cubicBezTo>
                  <a:cubicBezTo>
                    <a:pt x="670" y="52"/>
                    <a:pt x="670" y="51"/>
                    <a:pt x="670" y="50"/>
                  </a:cubicBezTo>
                  <a:close/>
                  <a:moveTo>
                    <a:pt x="1737" y="59"/>
                  </a:moveTo>
                  <a:cubicBezTo>
                    <a:pt x="1736" y="59"/>
                    <a:pt x="1736" y="59"/>
                    <a:pt x="1736" y="60"/>
                  </a:cubicBezTo>
                  <a:cubicBezTo>
                    <a:pt x="1736" y="60"/>
                    <a:pt x="1736" y="60"/>
                    <a:pt x="1737" y="59"/>
                  </a:cubicBezTo>
                  <a:close/>
                  <a:moveTo>
                    <a:pt x="580" y="59"/>
                  </a:moveTo>
                  <a:cubicBezTo>
                    <a:pt x="580" y="60"/>
                    <a:pt x="581" y="60"/>
                    <a:pt x="581" y="60"/>
                  </a:cubicBezTo>
                  <a:cubicBezTo>
                    <a:pt x="581" y="60"/>
                    <a:pt x="581" y="59"/>
                    <a:pt x="580" y="59"/>
                  </a:cubicBezTo>
                  <a:close/>
                  <a:moveTo>
                    <a:pt x="1208" y="61"/>
                  </a:moveTo>
                  <a:cubicBezTo>
                    <a:pt x="1208" y="60"/>
                    <a:pt x="1208" y="60"/>
                    <a:pt x="1208" y="59"/>
                  </a:cubicBezTo>
                  <a:cubicBezTo>
                    <a:pt x="1207" y="60"/>
                    <a:pt x="1208" y="60"/>
                    <a:pt x="1208" y="61"/>
                  </a:cubicBezTo>
                  <a:close/>
                  <a:moveTo>
                    <a:pt x="1666" y="60"/>
                  </a:moveTo>
                  <a:cubicBezTo>
                    <a:pt x="1666" y="60"/>
                    <a:pt x="1667" y="61"/>
                    <a:pt x="1667" y="61"/>
                  </a:cubicBezTo>
                  <a:cubicBezTo>
                    <a:pt x="1667" y="60"/>
                    <a:pt x="1666" y="60"/>
                    <a:pt x="1666" y="60"/>
                  </a:cubicBezTo>
                  <a:close/>
                  <a:moveTo>
                    <a:pt x="1719" y="61"/>
                  </a:moveTo>
                  <a:cubicBezTo>
                    <a:pt x="1720" y="61"/>
                    <a:pt x="1720" y="60"/>
                    <a:pt x="1720" y="60"/>
                  </a:cubicBezTo>
                  <a:cubicBezTo>
                    <a:pt x="1720" y="60"/>
                    <a:pt x="1719" y="60"/>
                    <a:pt x="1719" y="61"/>
                  </a:cubicBezTo>
                  <a:close/>
                  <a:moveTo>
                    <a:pt x="1383" y="60"/>
                  </a:moveTo>
                  <a:cubicBezTo>
                    <a:pt x="1382" y="60"/>
                    <a:pt x="1382" y="61"/>
                    <a:pt x="1382" y="61"/>
                  </a:cubicBezTo>
                  <a:cubicBezTo>
                    <a:pt x="1382" y="61"/>
                    <a:pt x="1382" y="61"/>
                    <a:pt x="1383" y="60"/>
                  </a:cubicBezTo>
                  <a:close/>
                  <a:moveTo>
                    <a:pt x="1366" y="62"/>
                  </a:moveTo>
                  <a:cubicBezTo>
                    <a:pt x="1366" y="61"/>
                    <a:pt x="1367" y="61"/>
                    <a:pt x="1367" y="61"/>
                  </a:cubicBezTo>
                  <a:cubicBezTo>
                    <a:pt x="1366" y="61"/>
                    <a:pt x="1366" y="61"/>
                    <a:pt x="1366" y="62"/>
                  </a:cubicBezTo>
                  <a:close/>
                  <a:moveTo>
                    <a:pt x="1550" y="62"/>
                  </a:moveTo>
                  <a:cubicBezTo>
                    <a:pt x="1550" y="62"/>
                    <a:pt x="1550" y="62"/>
                    <a:pt x="1551" y="61"/>
                  </a:cubicBezTo>
                  <a:cubicBezTo>
                    <a:pt x="1550" y="61"/>
                    <a:pt x="1550" y="61"/>
                    <a:pt x="1550" y="62"/>
                  </a:cubicBezTo>
                  <a:close/>
                  <a:moveTo>
                    <a:pt x="1566" y="61"/>
                  </a:moveTo>
                  <a:cubicBezTo>
                    <a:pt x="1566" y="61"/>
                    <a:pt x="1565" y="61"/>
                    <a:pt x="1565" y="62"/>
                  </a:cubicBezTo>
                  <a:cubicBezTo>
                    <a:pt x="1566" y="62"/>
                    <a:pt x="1566" y="62"/>
                    <a:pt x="1566" y="61"/>
                  </a:cubicBezTo>
                  <a:close/>
                  <a:moveTo>
                    <a:pt x="1718" y="62"/>
                  </a:moveTo>
                  <a:cubicBezTo>
                    <a:pt x="1718" y="62"/>
                    <a:pt x="1719" y="62"/>
                    <a:pt x="1719" y="61"/>
                  </a:cubicBezTo>
                  <a:cubicBezTo>
                    <a:pt x="1718" y="61"/>
                    <a:pt x="1718" y="61"/>
                    <a:pt x="1718" y="62"/>
                  </a:cubicBezTo>
                  <a:close/>
                  <a:moveTo>
                    <a:pt x="1456" y="10"/>
                  </a:moveTo>
                  <a:cubicBezTo>
                    <a:pt x="1456" y="10"/>
                    <a:pt x="1456" y="10"/>
                    <a:pt x="1457" y="10"/>
                  </a:cubicBezTo>
                  <a:cubicBezTo>
                    <a:pt x="1457" y="10"/>
                    <a:pt x="1456" y="10"/>
                    <a:pt x="1456" y="10"/>
                  </a:cubicBezTo>
                  <a:close/>
                  <a:moveTo>
                    <a:pt x="1734" y="61"/>
                  </a:moveTo>
                  <a:cubicBezTo>
                    <a:pt x="1734" y="61"/>
                    <a:pt x="1733" y="61"/>
                    <a:pt x="1733" y="62"/>
                  </a:cubicBezTo>
                  <a:cubicBezTo>
                    <a:pt x="1734" y="62"/>
                    <a:pt x="1734" y="62"/>
                    <a:pt x="1734" y="61"/>
                  </a:cubicBezTo>
                  <a:close/>
                  <a:moveTo>
                    <a:pt x="1119" y="45"/>
                  </a:moveTo>
                  <a:cubicBezTo>
                    <a:pt x="1118" y="45"/>
                    <a:pt x="1118" y="45"/>
                    <a:pt x="1118" y="46"/>
                  </a:cubicBezTo>
                  <a:cubicBezTo>
                    <a:pt x="1118" y="46"/>
                    <a:pt x="1119" y="46"/>
                    <a:pt x="1119" y="45"/>
                  </a:cubicBezTo>
                  <a:close/>
                  <a:moveTo>
                    <a:pt x="1365" y="63"/>
                  </a:moveTo>
                  <a:cubicBezTo>
                    <a:pt x="1365" y="62"/>
                    <a:pt x="1365" y="62"/>
                    <a:pt x="1366" y="62"/>
                  </a:cubicBezTo>
                  <a:cubicBezTo>
                    <a:pt x="1365" y="62"/>
                    <a:pt x="1365" y="62"/>
                    <a:pt x="1365" y="63"/>
                  </a:cubicBezTo>
                  <a:close/>
                  <a:moveTo>
                    <a:pt x="583" y="62"/>
                  </a:moveTo>
                  <a:cubicBezTo>
                    <a:pt x="583" y="63"/>
                    <a:pt x="584" y="63"/>
                    <a:pt x="584" y="63"/>
                  </a:cubicBezTo>
                  <a:cubicBezTo>
                    <a:pt x="584" y="63"/>
                    <a:pt x="584" y="62"/>
                    <a:pt x="583" y="62"/>
                  </a:cubicBezTo>
                  <a:close/>
                  <a:moveTo>
                    <a:pt x="1581" y="25"/>
                  </a:moveTo>
                  <a:cubicBezTo>
                    <a:pt x="1581" y="25"/>
                    <a:pt x="1581" y="26"/>
                    <a:pt x="1581" y="26"/>
                  </a:cubicBezTo>
                  <a:cubicBezTo>
                    <a:pt x="1581" y="26"/>
                    <a:pt x="1582" y="25"/>
                    <a:pt x="1581" y="25"/>
                  </a:cubicBezTo>
                  <a:close/>
                  <a:moveTo>
                    <a:pt x="1548" y="63"/>
                  </a:moveTo>
                  <a:cubicBezTo>
                    <a:pt x="1549" y="63"/>
                    <a:pt x="1549" y="63"/>
                    <a:pt x="1549" y="62"/>
                  </a:cubicBezTo>
                  <a:cubicBezTo>
                    <a:pt x="1549" y="62"/>
                    <a:pt x="1548" y="62"/>
                    <a:pt x="1548" y="63"/>
                  </a:cubicBezTo>
                  <a:close/>
                  <a:moveTo>
                    <a:pt x="1668" y="62"/>
                  </a:moveTo>
                  <a:cubicBezTo>
                    <a:pt x="1668" y="63"/>
                    <a:pt x="1669" y="63"/>
                    <a:pt x="1669" y="63"/>
                  </a:cubicBezTo>
                  <a:cubicBezTo>
                    <a:pt x="1669" y="63"/>
                    <a:pt x="1669" y="62"/>
                    <a:pt x="1668" y="62"/>
                  </a:cubicBezTo>
                  <a:close/>
                  <a:moveTo>
                    <a:pt x="964" y="44"/>
                  </a:moveTo>
                  <a:cubicBezTo>
                    <a:pt x="963" y="44"/>
                    <a:pt x="963" y="45"/>
                    <a:pt x="963" y="45"/>
                  </a:cubicBezTo>
                  <a:cubicBezTo>
                    <a:pt x="964" y="45"/>
                    <a:pt x="964" y="44"/>
                    <a:pt x="964" y="44"/>
                  </a:cubicBezTo>
                  <a:close/>
                  <a:moveTo>
                    <a:pt x="1749" y="25"/>
                  </a:moveTo>
                  <a:cubicBezTo>
                    <a:pt x="1749" y="25"/>
                    <a:pt x="1749" y="26"/>
                    <a:pt x="1749" y="26"/>
                  </a:cubicBezTo>
                  <a:cubicBezTo>
                    <a:pt x="1749" y="26"/>
                    <a:pt x="1750" y="25"/>
                    <a:pt x="1749" y="25"/>
                  </a:cubicBezTo>
                  <a:close/>
                  <a:moveTo>
                    <a:pt x="1716" y="63"/>
                  </a:moveTo>
                  <a:cubicBezTo>
                    <a:pt x="1717" y="63"/>
                    <a:pt x="1717" y="63"/>
                    <a:pt x="1717" y="62"/>
                  </a:cubicBezTo>
                  <a:cubicBezTo>
                    <a:pt x="1717" y="62"/>
                    <a:pt x="1717" y="62"/>
                    <a:pt x="1716" y="63"/>
                  </a:cubicBezTo>
                  <a:close/>
                  <a:moveTo>
                    <a:pt x="1036" y="45"/>
                  </a:moveTo>
                  <a:cubicBezTo>
                    <a:pt x="1037" y="45"/>
                    <a:pt x="1037" y="44"/>
                    <a:pt x="1037" y="44"/>
                  </a:cubicBezTo>
                  <a:cubicBezTo>
                    <a:pt x="1036" y="44"/>
                    <a:pt x="1036" y="44"/>
                    <a:pt x="1036" y="45"/>
                  </a:cubicBezTo>
                  <a:close/>
                  <a:moveTo>
                    <a:pt x="1571" y="10"/>
                  </a:moveTo>
                  <a:cubicBezTo>
                    <a:pt x="1571" y="10"/>
                    <a:pt x="1571" y="11"/>
                    <a:pt x="1572" y="11"/>
                  </a:cubicBezTo>
                  <a:cubicBezTo>
                    <a:pt x="1572" y="10"/>
                    <a:pt x="1571" y="10"/>
                    <a:pt x="1571" y="10"/>
                  </a:cubicBezTo>
                  <a:close/>
                  <a:moveTo>
                    <a:pt x="1213" y="46"/>
                  </a:moveTo>
                  <a:cubicBezTo>
                    <a:pt x="1213" y="46"/>
                    <a:pt x="1214" y="46"/>
                    <a:pt x="1214" y="45"/>
                  </a:cubicBezTo>
                  <a:cubicBezTo>
                    <a:pt x="1213" y="45"/>
                    <a:pt x="1213" y="46"/>
                    <a:pt x="1213" y="46"/>
                  </a:cubicBezTo>
                  <a:close/>
                  <a:moveTo>
                    <a:pt x="901" y="56"/>
                  </a:moveTo>
                  <a:cubicBezTo>
                    <a:pt x="901" y="55"/>
                    <a:pt x="901" y="54"/>
                    <a:pt x="901" y="54"/>
                  </a:cubicBezTo>
                  <a:cubicBezTo>
                    <a:pt x="901" y="55"/>
                    <a:pt x="901" y="55"/>
                    <a:pt x="901" y="56"/>
                  </a:cubicBezTo>
                  <a:close/>
                  <a:moveTo>
                    <a:pt x="1363" y="64"/>
                  </a:moveTo>
                  <a:cubicBezTo>
                    <a:pt x="1364" y="64"/>
                    <a:pt x="1364" y="63"/>
                    <a:pt x="1364" y="63"/>
                  </a:cubicBezTo>
                  <a:cubicBezTo>
                    <a:pt x="1364" y="63"/>
                    <a:pt x="1363" y="63"/>
                    <a:pt x="1363" y="64"/>
                  </a:cubicBezTo>
                  <a:close/>
                  <a:moveTo>
                    <a:pt x="1381" y="19"/>
                  </a:moveTo>
                  <a:cubicBezTo>
                    <a:pt x="1380" y="18"/>
                    <a:pt x="1380" y="18"/>
                    <a:pt x="1379" y="18"/>
                  </a:cubicBezTo>
                  <a:cubicBezTo>
                    <a:pt x="1380" y="18"/>
                    <a:pt x="1380" y="19"/>
                    <a:pt x="1381" y="19"/>
                  </a:cubicBezTo>
                  <a:close/>
                  <a:moveTo>
                    <a:pt x="1547" y="64"/>
                  </a:moveTo>
                  <a:cubicBezTo>
                    <a:pt x="1547" y="64"/>
                    <a:pt x="1548" y="64"/>
                    <a:pt x="1548" y="63"/>
                  </a:cubicBezTo>
                  <a:cubicBezTo>
                    <a:pt x="1547" y="63"/>
                    <a:pt x="1547" y="63"/>
                    <a:pt x="1547" y="64"/>
                  </a:cubicBezTo>
                  <a:close/>
                  <a:moveTo>
                    <a:pt x="1715" y="64"/>
                  </a:moveTo>
                  <a:cubicBezTo>
                    <a:pt x="1715" y="64"/>
                    <a:pt x="1716" y="64"/>
                    <a:pt x="1716" y="63"/>
                  </a:cubicBezTo>
                  <a:cubicBezTo>
                    <a:pt x="1716" y="63"/>
                    <a:pt x="1715" y="63"/>
                    <a:pt x="1715" y="64"/>
                  </a:cubicBezTo>
                  <a:close/>
                  <a:moveTo>
                    <a:pt x="585" y="64"/>
                  </a:moveTo>
                  <a:cubicBezTo>
                    <a:pt x="585" y="64"/>
                    <a:pt x="585" y="65"/>
                    <a:pt x="585" y="65"/>
                  </a:cubicBezTo>
                  <a:cubicBezTo>
                    <a:pt x="585" y="64"/>
                    <a:pt x="585" y="64"/>
                    <a:pt x="585" y="64"/>
                  </a:cubicBezTo>
                  <a:close/>
                  <a:moveTo>
                    <a:pt x="805" y="54"/>
                  </a:moveTo>
                  <a:cubicBezTo>
                    <a:pt x="805" y="55"/>
                    <a:pt x="805" y="55"/>
                    <a:pt x="805" y="56"/>
                  </a:cubicBezTo>
                  <a:cubicBezTo>
                    <a:pt x="805" y="55"/>
                    <a:pt x="805" y="55"/>
                    <a:pt x="805" y="54"/>
                  </a:cubicBezTo>
                  <a:close/>
                  <a:moveTo>
                    <a:pt x="1360" y="66"/>
                  </a:moveTo>
                  <a:cubicBezTo>
                    <a:pt x="1360" y="66"/>
                    <a:pt x="1361" y="66"/>
                    <a:pt x="1361" y="65"/>
                  </a:cubicBezTo>
                  <a:cubicBezTo>
                    <a:pt x="1360" y="65"/>
                    <a:pt x="1360" y="66"/>
                    <a:pt x="1360" y="66"/>
                  </a:cubicBezTo>
                  <a:close/>
                  <a:moveTo>
                    <a:pt x="1729" y="65"/>
                  </a:moveTo>
                  <a:cubicBezTo>
                    <a:pt x="1728" y="65"/>
                    <a:pt x="1728" y="66"/>
                    <a:pt x="1728" y="66"/>
                  </a:cubicBezTo>
                  <a:cubicBezTo>
                    <a:pt x="1728" y="66"/>
                    <a:pt x="1728" y="66"/>
                    <a:pt x="1729" y="65"/>
                  </a:cubicBezTo>
                  <a:close/>
                  <a:moveTo>
                    <a:pt x="1712" y="66"/>
                  </a:moveTo>
                  <a:cubicBezTo>
                    <a:pt x="1712" y="66"/>
                    <a:pt x="1713" y="66"/>
                    <a:pt x="1713" y="66"/>
                  </a:cubicBezTo>
                  <a:cubicBezTo>
                    <a:pt x="1712" y="66"/>
                    <a:pt x="1712" y="66"/>
                    <a:pt x="1712" y="66"/>
                  </a:cubicBezTo>
                  <a:close/>
                  <a:moveTo>
                    <a:pt x="537" y="27"/>
                  </a:moveTo>
                  <a:cubicBezTo>
                    <a:pt x="537" y="26"/>
                    <a:pt x="537" y="26"/>
                    <a:pt x="537" y="25"/>
                  </a:cubicBezTo>
                  <a:cubicBezTo>
                    <a:pt x="537" y="26"/>
                    <a:pt x="537" y="26"/>
                    <a:pt x="537" y="27"/>
                  </a:cubicBezTo>
                  <a:close/>
                  <a:moveTo>
                    <a:pt x="1358" y="68"/>
                  </a:moveTo>
                  <a:cubicBezTo>
                    <a:pt x="1359" y="67"/>
                    <a:pt x="1359" y="67"/>
                    <a:pt x="1359" y="67"/>
                  </a:cubicBezTo>
                  <a:cubicBezTo>
                    <a:pt x="1359" y="67"/>
                    <a:pt x="1358" y="67"/>
                    <a:pt x="1358" y="68"/>
                  </a:cubicBezTo>
                  <a:close/>
                  <a:moveTo>
                    <a:pt x="1351" y="11"/>
                  </a:moveTo>
                  <a:cubicBezTo>
                    <a:pt x="1351" y="11"/>
                    <a:pt x="1351" y="11"/>
                    <a:pt x="1352" y="11"/>
                  </a:cubicBezTo>
                  <a:cubicBezTo>
                    <a:pt x="1351" y="11"/>
                    <a:pt x="1351" y="11"/>
                    <a:pt x="1351" y="11"/>
                  </a:cubicBezTo>
                  <a:close/>
                  <a:moveTo>
                    <a:pt x="1542" y="68"/>
                  </a:moveTo>
                  <a:cubicBezTo>
                    <a:pt x="1542" y="68"/>
                    <a:pt x="1542" y="68"/>
                    <a:pt x="1543" y="67"/>
                  </a:cubicBezTo>
                  <a:cubicBezTo>
                    <a:pt x="1542" y="67"/>
                    <a:pt x="1542" y="68"/>
                    <a:pt x="1542" y="68"/>
                  </a:cubicBezTo>
                  <a:close/>
                  <a:moveTo>
                    <a:pt x="1457" y="11"/>
                  </a:moveTo>
                  <a:cubicBezTo>
                    <a:pt x="1457" y="11"/>
                    <a:pt x="1458" y="11"/>
                    <a:pt x="1458" y="11"/>
                  </a:cubicBezTo>
                  <a:cubicBezTo>
                    <a:pt x="1458" y="11"/>
                    <a:pt x="1458" y="11"/>
                    <a:pt x="1457" y="11"/>
                  </a:cubicBezTo>
                  <a:close/>
                  <a:moveTo>
                    <a:pt x="1660" y="68"/>
                  </a:moveTo>
                  <a:cubicBezTo>
                    <a:pt x="1660" y="68"/>
                    <a:pt x="1659" y="68"/>
                    <a:pt x="1659" y="67"/>
                  </a:cubicBezTo>
                  <a:cubicBezTo>
                    <a:pt x="1659" y="68"/>
                    <a:pt x="1659" y="68"/>
                    <a:pt x="1660" y="68"/>
                  </a:cubicBezTo>
                  <a:close/>
                  <a:moveTo>
                    <a:pt x="1038" y="43"/>
                  </a:moveTo>
                  <a:cubicBezTo>
                    <a:pt x="1038" y="43"/>
                    <a:pt x="1038" y="42"/>
                    <a:pt x="1038" y="42"/>
                  </a:cubicBezTo>
                  <a:cubicBezTo>
                    <a:pt x="1038" y="42"/>
                    <a:pt x="1038" y="43"/>
                    <a:pt x="1038" y="43"/>
                  </a:cubicBezTo>
                  <a:close/>
                  <a:moveTo>
                    <a:pt x="952" y="69"/>
                  </a:moveTo>
                  <a:cubicBezTo>
                    <a:pt x="952" y="69"/>
                    <a:pt x="952" y="68"/>
                    <a:pt x="952" y="68"/>
                  </a:cubicBezTo>
                  <a:cubicBezTo>
                    <a:pt x="952" y="68"/>
                    <a:pt x="951" y="69"/>
                    <a:pt x="952" y="69"/>
                  </a:cubicBezTo>
                  <a:close/>
                  <a:moveTo>
                    <a:pt x="1373" y="68"/>
                  </a:moveTo>
                  <a:cubicBezTo>
                    <a:pt x="1372" y="68"/>
                    <a:pt x="1372" y="68"/>
                    <a:pt x="1372" y="68"/>
                  </a:cubicBezTo>
                  <a:cubicBezTo>
                    <a:pt x="1372" y="68"/>
                    <a:pt x="1373" y="68"/>
                    <a:pt x="1373" y="68"/>
                  </a:cubicBezTo>
                  <a:close/>
                  <a:moveTo>
                    <a:pt x="1557" y="68"/>
                  </a:moveTo>
                  <a:cubicBezTo>
                    <a:pt x="1556" y="68"/>
                    <a:pt x="1556" y="68"/>
                    <a:pt x="1556" y="69"/>
                  </a:cubicBezTo>
                  <a:cubicBezTo>
                    <a:pt x="1556" y="69"/>
                    <a:pt x="1556" y="69"/>
                    <a:pt x="1557" y="68"/>
                  </a:cubicBezTo>
                  <a:close/>
                  <a:moveTo>
                    <a:pt x="1356" y="69"/>
                  </a:moveTo>
                  <a:cubicBezTo>
                    <a:pt x="1357" y="69"/>
                    <a:pt x="1357" y="69"/>
                    <a:pt x="1357" y="68"/>
                  </a:cubicBezTo>
                  <a:cubicBezTo>
                    <a:pt x="1357" y="68"/>
                    <a:pt x="1356" y="69"/>
                    <a:pt x="1356" y="69"/>
                  </a:cubicBezTo>
                  <a:close/>
                  <a:moveTo>
                    <a:pt x="1423" y="12"/>
                  </a:moveTo>
                  <a:cubicBezTo>
                    <a:pt x="1424" y="12"/>
                    <a:pt x="1424" y="11"/>
                    <a:pt x="1424" y="11"/>
                  </a:cubicBezTo>
                  <a:cubicBezTo>
                    <a:pt x="1424" y="11"/>
                    <a:pt x="1423" y="11"/>
                    <a:pt x="1423" y="12"/>
                  </a:cubicBezTo>
                  <a:close/>
                  <a:moveTo>
                    <a:pt x="692" y="69"/>
                  </a:moveTo>
                  <a:cubicBezTo>
                    <a:pt x="692" y="69"/>
                    <a:pt x="693" y="69"/>
                    <a:pt x="693" y="70"/>
                  </a:cubicBezTo>
                  <a:cubicBezTo>
                    <a:pt x="693" y="69"/>
                    <a:pt x="692" y="69"/>
                    <a:pt x="692" y="69"/>
                  </a:cubicBezTo>
                  <a:close/>
                  <a:moveTo>
                    <a:pt x="1540" y="70"/>
                  </a:moveTo>
                  <a:cubicBezTo>
                    <a:pt x="1540" y="70"/>
                    <a:pt x="1540" y="70"/>
                    <a:pt x="1541" y="69"/>
                  </a:cubicBezTo>
                  <a:cubicBezTo>
                    <a:pt x="1540" y="69"/>
                    <a:pt x="1540" y="69"/>
                    <a:pt x="1540" y="70"/>
                  </a:cubicBezTo>
                  <a:close/>
                  <a:moveTo>
                    <a:pt x="1708" y="70"/>
                  </a:moveTo>
                  <a:cubicBezTo>
                    <a:pt x="1708" y="70"/>
                    <a:pt x="1709" y="70"/>
                    <a:pt x="1709" y="69"/>
                  </a:cubicBezTo>
                  <a:cubicBezTo>
                    <a:pt x="1708" y="69"/>
                    <a:pt x="1708" y="69"/>
                    <a:pt x="1708" y="70"/>
                  </a:cubicBezTo>
                  <a:close/>
                  <a:moveTo>
                    <a:pt x="1367" y="72"/>
                  </a:moveTo>
                  <a:cubicBezTo>
                    <a:pt x="1367" y="72"/>
                    <a:pt x="1366" y="72"/>
                    <a:pt x="1366" y="73"/>
                  </a:cubicBezTo>
                  <a:cubicBezTo>
                    <a:pt x="1367" y="73"/>
                    <a:pt x="1367" y="72"/>
                    <a:pt x="1367" y="72"/>
                  </a:cubicBezTo>
                  <a:close/>
                  <a:moveTo>
                    <a:pt x="868" y="45"/>
                  </a:moveTo>
                  <a:cubicBezTo>
                    <a:pt x="868" y="46"/>
                    <a:pt x="868" y="46"/>
                    <a:pt x="868" y="46"/>
                  </a:cubicBezTo>
                  <a:cubicBezTo>
                    <a:pt x="868" y="46"/>
                    <a:pt x="868" y="46"/>
                    <a:pt x="869" y="46"/>
                  </a:cubicBezTo>
                  <a:cubicBezTo>
                    <a:pt x="868" y="45"/>
                    <a:pt x="868" y="45"/>
                    <a:pt x="868" y="45"/>
                  </a:cubicBezTo>
                  <a:close/>
                  <a:moveTo>
                    <a:pt x="1740" y="11"/>
                  </a:moveTo>
                  <a:cubicBezTo>
                    <a:pt x="1741" y="11"/>
                    <a:pt x="1741" y="12"/>
                    <a:pt x="1741" y="12"/>
                  </a:cubicBezTo>
                  <a:cubicBezTo>
                    <a:pt x="1741" y="11"/>
                    <a:pt x="1741" y="11"/>
                    <a:pt x="1740" y="11"/>
                  </a:cubicBezTo>
                  <a:close/>
                  <a:moveTo>
                    <a:pt x="912" y="50"/>
                  </a:moveTo>
                  <a:cubicBezTo>
                    <a:pt x="912" y="50"/>
                    <a:pt x="912" y="51"/>
                    <a:pt x="912" y="51"/>
                  </a:cubicBezTo>
                  <a:cubicBezTo>
                    <a:pt x="912" y="51"/>
                    <a:pt x="912" y="50"/>
                    <a:pt x="912" y="50"/>
                  </a:cubicBezTo>
                  <a:close/>
                  <a:moveTo>
                    <a:pt x="1551" y="72"/>
                  </a:moveTo>
                  <a:cubicBezTo>
                    <a:pt x="1551" y="72"/>
                    <a:pt x="1550" y="73"/>
                    <a:pt x="1550" y="73"/>
                  </a:cubicBezTo>
                  <a:cubicBezTo>
                    <a:pt x="1551" y="73"/>
                    <a:pt x="1551" y="73"/>
                    <a:pt x="1551" y="72"/>
                  </a:cubicBezTo>
                  <a:close/>
                  <a:moveTo>
                    <a:pt x="1389" y="11"/>
                  </a:moveTo>
                  <a:cubicBezTo>
                    <a:pt x="1389" y="12"/>
                    <a:pt x="1389" y="12"/>
                    <a:pt x="1389" y="12"/>
                  </a:cubicBezTo>
                  <a:cubicBezTo>
                    <a:pt x="1389" y="12"/>
                    <a:pt x="1389" y="11"/>
                    <a:pt x="1389" y="11"/>
                  </a:cubicBezTo>
                  <a:close/>
                  <a:moveTo>
                    <a:pt x="1719" y="72"/>
                  </a:moveTo>
                  <a:cubicBezTo>
                    <a:pt x="1719" y="72"/>
                    <a:pt x="1718" y="73"/>
                    <a:pt x="1718" y="73"/>
                  </a:cubicBezTo>
                  <a:cubicBezTo>
                    <a:pt x="1719" y="73"/>
                    <a:pt x="1719" y="73"/>
                    <a:pt x="1719" y="72"/>
                  </a:cubicBezTo>
                  <a:close/>
                  <a:moveTo>
                    <a:pt x="1296" y="36"/>
                  </a:moveTo>
                  <a:cubicBezTo>
                    <a:pt x="1296" y="36"/>
                    <a:pt x="1296" y="36"/>
                    <a:pt x="1297" y="36"/>
                  </a:cubicBezTo>
                  <a:cubicBezTo>
                    <a:pt x="1296" y="36"/>
                    <a:pt x="1296" y="36"/>
                    <a:pt x="1296" y="36"/>
                  </a:cubicBezTo>
                  <a:close/>
                  <a:moveTo>
                    <a:pt x="1469" y="73"/>
                  </a:moveTo>
                  <a:cubicBezTo>
                    <a:pt x="1469" y="73"/>
                    <a:pt x="1469" y="74"/>
                    <a:pt x="1469" y="74"/>
                  </a:cubicBezTo>
                  <a:cubicBezTo>
                    <a:pt x="1469" y="74"/>
                    <a:pt x="1469" y="73"/>
                    <a:pt x="1469" y="73"/>
                  </a:cubicBezTo>
                  <a:close/>
                  <a:moveTo>
                    <a:pt x="963" y="45"/>
                  </a:moveTo>
                  <a:cubicBezTo>
                    <a:pt x="963" y="46"/>
                    <a:pt x="963" y="46"/>
                    <a:pt x="963" y="47"/>
                  </a:cubicBezTo>
                  <a:cubicBezTo>
                    <a:pt x="964" y="46"/>
                    <a:pt x="963" y="46"/>
                    <a:pt x="963" y="45"/>
                  </a:cubicBezTo>
                  <a:close/>
                  <a:moveTo>
                    <a:pt x="687" y="43"/>
                  </a:moveTo>
                  <a:cubicBezTo>
                    <a:pt x="687" y="42"/>
                    <a:pt x="686" y="42"/>
                    <a:pt x="686" y="42"/>
                  </a:cubicBezTo>
                  <a:cubicBezTo>
                    <a:pt x="686" y="43"/>
                    <a:pt x="687" y="43"/>
                    <a:pt x="687" y="43"/>
                  </a:cubicBezTo>
                  <a:close/>
                  <a:moveTo>
                    <a:pt x="545" y="12"/>
                  </a:moveTo>
                  <a:cubicBezTo>
                    <a:pt x="546" y="12"/>
                    <a:pt x="546" y="12"/>
                    <a:pt x="546" y="12"/>
                  </a:cubicBezTo>
                  <a:cubicBezTo>
                    <a:pt x="546" y="12"/>
                    <a:pt x="546" y="12"/>
                    <a:pt x="545" y="12"/>
                  </a:cubicBezTo>
                  <a:close/>
                  <a:moveTo>
                    <a:pt x="1549" y="74"/>
                  </a:moveTo>
                  <a:cubicBezTo>
                    <a:pt x="1549" y="74"/>
                    <a:pt x="1549" y="74"/>
                    <a:pt x="1548" y="74"/>
                  </a:cubicBezTo>
                  <a:cubicBezTo>
                    <a:pt x="1549" y="74"/>
                    <a:pt x="1549" y="74"/>
                    <a:pt x="1549" y="74"/>
                  </a:cubicBezTo>
                  <a:close/>
                  <a:moveTo>
                    <a:pt x="1411" y="75"/>
                  </a:moveTo>
                  <a:cubicBezTo>
                    <a:pt x="1411" y="75"/>
                    <a:pt x="1411" y="74"/>
                    <a:pt x="1411" y="74"/>
                  </a:cubicBezTo>
                  <a:cubicBezTo>
                    <a:pt x="1411" y="74"/>
                    <a:pt x="1411" y="75"/>
                    <a:pt x="1411" y="75"/>
                  </a:cubicBezTo>
                  <a:close/>
                  <a:moveTo>
                    <a:pt x="1364" y="75"/>
                  </a:moveTo>
                  <a:cubicBezTo>
                    <a:pt x="1363" y="75"/>
                    <a:pt x="1363" y="75"/>
                    <a:pt x="1363" y="75"/>
                  </a:cubicBezTo>
                  <a:cubicBezTo>
                    <a:pt x="1363" y="75"/>
                    <a:pt x="1364" y="75"/>
                    <a:pt x="1364" y="75"/>
                  </a:cubicBezTo>
                  <a:close/>
                  <a:moveTo>
                    <a:pt x="835" y="37"/>
                  </a:moveTo>
                  <a:cubicBezTo>
                    <a:pt x="836" y="37"/>
                    <a:pt x="836" y="36"/>
                    <a:pt x="836" y="36"/>
                  </a:cubicBezTo>
                  <a:cubicBezTo>
                    <a:pt x="836" y="36"/>
                    <a:pt x="835" y="36"/>
                    <a:pt x="835" y="37"/>
                  </a:cubicBezTo>
                  <a:close/>
                  <a:moveTo>
                    <a:pt x="1534" y="76"/>
                  </a:moveTo>
                  <a:cubicBezTo>
                    <a:pt x="1534" y="76"/>
                    <a:pt x="1534" y="76"/>
                    <a:pt x="1534" y="75"/>
                  </a:cubicBezTo>
                  <a:cubicBezTo>
                    <a:pt x="1534" y="75"/>
                    <a:pt x="1534" y="76"/>
                    <a:pt x="1534" y="76"/>
                  </a:cubicBezTo>
                  <a:close/>
                  <a:moveTo>
                    <a:pt x="972" y="27"/>
                  </a:moveTo>
                  <a:cubicBezTo>
                    <a:pt x="972" y="27"/>
                    <a:pt x="972" y="28"/>
                    <a:pt x="971" y="28"/>
                  </a:cubicBezTo>
                  <a:cubicBezTo>
                    <a:pt x="972" y="28"/>
                    <a:pt x="972" y="28"/>
                    <a:pt x="972" y="27"/>
                  </a:cubicBezTo>
                  <a:close/>
                  <a:moveTo>
                    <a:pt x="876" y="37"/>
                  </a:moveTo>
                  <a:cubicBezTo>
                    <a:pt x="877" y="37"/>
                    <a:pt x="877" y="36"/>
                    <a:pt x="877" y="36"/>
                  </a:cubicBezTo>
                  <a:cubicBezTo>
                    <a:pt x="877" y="36"/>
                    <a:pt x="876" y="36"/>
                    <a:pt x="876" y="37"/>
                  </a:cubicBezTo>
                  <a:close/>
                  <a:moveTo>
                    <a:pt x="1702" y="76"/>
                  </a:moveTo>
                  <a:cubicBezTo>
                    <a:pt x="1702" y="76"/>
                    <a:pt x="1702" y="76"/>
                    <a:pt x="1703" y="75"/>
                  </a:cubicBezTo>
                  <a:cubicBezTo>
                    <a:pt x="1702" y="75"/>
                    <a:pt x="1702" y="76"/>
                    <a:pt x="1702" y="76"/>
                  </a:cubicBezTo>
                  <a:close/>
                  <a:moveTo>
                    <a:pt x="1411" y="77"/>
                  </a:moveTo>
                  <a:cubicBezTo>
                    <a:pt x="1412" y="77"/>
                    <a:pt x="1412" y="76"/>
                    <a:pt x="1411" y="76"/>
                  </a:cubicBezTo>
                  <a:cubicBezTo>
                    <a:pt x="1411" y="76"/>
                    <a:pt x="1411" y="77"/>
                    <a:pt x="1411" y="77"/>
                  </a:cubicBezTo>
                  <a:close/>
                  <a:moveTo>
                    <a:pt x="1570" y="28"/>
                  </a:moveTo>
                  <a:cubicBezTo>
                    <a:pt x="1570" y="28"/>
                    <a:pt x="1570" y="27"/>
                    <a:pt x="1570" y="27"/>
                  </a:cubicBezTo>
                  <a:cubicBezTo>
                    <a:pt x="1570" y="27"/>
                    <a:pt x="1570" y="28"/>
                    <a:pt x="1570" y="28"/>
                  </a:cubicBezTo>
                  <a:close/>
                  <a:moveTo>
                    <a:pt x="1738" y="28"/>
                  </a:moveTo>
                  <a:cubicBezTo>
                    <a:pt x="1738" y="28"/>
                    <a:pt x="1738" y="27"/>
                    <a:pt x="1738" y="27"/>
                  </a:cubicBezTo>
                  <a:cubicBezTo>
                    <a:pt x="1738" y="27"/>
                    <a:pt x="1738" y="28"/>
                    <a:pt x="1738" y="28"/>
                  </a:cubicBezTo>
                  <a:close/>
                  <a:moveTo>
                    <a:pt x="1041" y="76"/>
                  </a:moveTo>
                  <a:cubicBezTo>
                    <a:pt x="1041" y="77"/>
                    <a:pt x="1041" y="77"/>
                    <a:pt x="1041" y="78"/>
                  </a:cubicBezTo>
                  <a:cubicBezTo>
                    <a:pt x="1041" y="77"/>
                    <a:pt x="1042" y="77"/>
                    <a:pt x="1041" y="76"/>
                  </a:cubicBezTo>
                  <a:close/>
                  <a:moveTo>
                    <a:pt x="1111" y="43"/>
                  </a:moveTo>
                  <a:cubicBezTo>
                    <a:pt x="1112" y="43"/>
                    <a:pt x="1112" y="43"/>
                    <a:pt x="1112" y="42"/>
                  </a:cubicBezTo>
                  <a:cubicBezTo>
                    <a:pt x="1112" y="43"/>
                    <a:pt x="1111" y="43"/>
                    <a:pt x="1111" y="43"/>
                  </a:cubicBezTo>
                  <a:close/>
                  <a:moveTo>
                    <a:pt x="1219" y="77"/>
                  </a:moveTo>
                  <a:cubicBezTo>
                    <a:pt x="1219" y="77"/>
                    <a:pt x="1219" y="78"/>
                    <a:pt x="1219" y="78"/>
                  </a:cubicBezTo>
                  <a:cubicBezTo>
                    <a:pt x="1219" y="78"/>
                    <a:pt x="1219" y="77"/>
                    <a:pt x="1219" y="77"/>
                  </a:cubicBezTo>
                  <a:close/>
                  <a:moveTo>
                    <a:pt x="1412" y="79"/>
                  </a:moveTo>
                  <a:cubicBezTo>
                    <a:pt x="1412" y="78"/>
                    <a:pt x="1412" y="78"/>
                    <a:pt x="1411" y="77"/>
                  </a:cubicBezTo>
                  <a:cubicBezTo>
                    <a:pt x="1412" y="78"/>
                    <a:pt x="1411" y="78"/>
                    <a:pt x="1412" y="79"/>
                  </a:cubicBezTo>
                  <a:close/>
                  <a:moveTo>
                    <a:pt x="686" y="78"/>
                  </a:moveTo>
                  <a:cubicBezTo>
                    <a:pt x="685" y="78"/>
                    <a:pt x="685" y="78"/>
                    <a:pt x="685" y="77"/>
                  </a:cubicBezTo>
                  <a:cubicBezTo>
                    <a:pt x="685" y="78"/>
                    <a:pt x="685" y="78"/>
                    <a:pt x="686" y="78"/>
                  </a:cubicBezTo>
                  <a:close/>
                  <a:moveTo>
                    <a:pt x="1134" y="43"/>
                  </a:moveTo>
                  <a:cubicBezTo>
                    <a:pt x="1133" y="42"/>
                    <a:pt x="1133" y="42"/>
                    <a:pt x="1132" y="42"/>
                  </a:cubicBezTo>
                  <a:cubicBezTo>
                    <a:pt x="1133" y="43"/>
                    <a:pt x="1133" y="43"/>
                    <a:pt x="1134" y="43"/>
                  </a:cubicBezTo>
                  <a:close/>
                  <a:moveTo>
                    <a:pt x="748" y="79"/>
                  </a:moveTo>
                  <a:cubicBezTo>
                    <a:pt x="748" y="78"/>
                    <a:pt x="748" y="78"/>
                    <a:pt x="748" y="77"/>
                  </a:cubicBezTo>
                  <a:cubicBezTo>
                    <a:pt x="748" y="78"/>
                    <a:pt x="747" y="78"/>
                    <a:pt x="748" y="79"/>
                  </a:cubicBezTo>
                  <a:close/>
                  <a:moveTo>
                    <a:pt x="1030" y="80"/>
                  </a:moveTo>
                  <a:cubicBezTo>
                    <a:pt x="1030" y="79"/>
                    <a:pt x="1030" y="79"/>
                    <a:pt x="1030" y="78"/>
                  </a:cubicBezTo>
                  <a:cubicBezTo>
                    <a:pt x="1030" y="79"/>
                    <a:pt x="1030" y="79"/>
                    <a:pt x="1030" y="80"/>
                  </a:cubicBezTo>
                  <a:close/>
                  <a:moveTo>
                    <a:pt x="1215" y="43"/>
                  </a:moveTo>
                  <a:cubicBezTo>
                    <a:pt x="1216" y="43"/>
                    <a:pt x="1216" y="43"/>
                    <a:pt x="1216" y="42"/>
                  </a:cubicBezTo>
                  <a:cubicBezTo>
                    <a:pt x="1215" y="42"/>
                    <a:pt x="1215" y="43"/>
                    <a:pt x="1215" y="43"/>
                  </a:cubicBezTo>
                  <a:close/>
                  <a:moveTo>
                    <a:pt x="1411" y="38"/>
                  </a:moveTo>
                  <a:cubicBezTo>
                    <a:pt x="1411" y="37"/>
                    <a:pt x="1411" y="37"/>
                    <a:pt x="1411" y="36"/>
                  </a:cubicBezTo>
                  <a:cubicBezTo>
                    <a:pt x="1411" y="36"/>
                    <a:pt x="1411" y="37"/>
                    <a:pt x="1411" y="38"/>
                  </a:cubicBezTo>
                  <a:close/>
                  <a:moveTo>
                    <a:pt x="1208" y="80"/>
                  </a:moveTo>
                  <a:cubicBezTo>
                    <a:pt x="1208" y="79"/>
                    <a:pt x="1208" y="79"/>
                    <a:pt x="1208" y="78"/>
                  </a:cubicBezTo>
                  <a:cubicBezTo>
                    <a:pt x="1208" y="79"/>
                    <a:pt x="1208" y="80"/>
                    <a:pt x="1208" y="80"/>
                  </a:cubicBezTo>
                  <a:close/>
                  <a:moveTo>
                    <a:pt x="1543" y="79"/>
                  </a:moveTo>
                  <a:cubicBezTo>
                    <a:pt x="1543" y="79"/>
                    <a:pt x="1542" y="80"/>
                    <a:pt x="1542" y="80"/>
                  </a:cubicBezTo>
                  <a:cubicBezTo>
                    <a:pt x="1543" y="80"/>
                    <a:pt x="1543" y="80"/>
                    <a:pt x="1543" y="79"/>
                  </a:cubicBezTo>
                  <a:close/>
                  <a:moveTo>
                    <a:pt x="1711" y="79"/>
                  </a:moveTo>
                  <a:cubicBezTo>
                    <a:pt x="1711" y="79"/>
                    <a:pt x="1711" y="80"/>
                    <a:pt x="1710" y="80"/>
                  </a:cubicBezTo>
                  <a:cubicBezTo>
                    <a:pt x="1711" y="80"/>
                    <a:pt x="1711" y="80"/>
                    <a:pt x="1711" y="79"/>
                  </a:cubicBezTo>
                  <a:close/>
                  <a:moveTo>
                    <a:pt x="971" y="29"/>
                  </a:moveTo>
                  <a:cubicBezTo>
                    <a:pt x="970" y="29"/>
                    <a:pt x="970" y="29"/>
                    <a:pt x="970" y="30"/>
                  </a:cubicBezTo>
                  <a:cubicBezTo>
                    <a:pt x="971" y="30"/>
                    <a:pt x="971" y="29"/>
                    <a:pt x="971" y="29"/>
                  </a:cubicBezTo>
                  <a:close/>
                  <a:moveTo>
                    <a:pt x="1087" y="55"/>
                  </a:moveTo>
                  <a:cubicBezTo>
                    <a:pt x="1087" y="56"/>
                    <a:pt x="1087" y="56"/>
                    <a:pt x="1087" y="57"/>
                  </a:cubicBezTo>
                  <a:cubicBezTo>
                    <a:pt x="1087" y="56"/>
                    <a:pt x="1088" y="56"/>
                    <a:pt x="1087" y="55"/>
                  </a:cubicBezTo>
                  <a:close/>
                  <a:moveTo>
                    <a:pt x="970" y="81"/>
                  </a:moveTo>
                  <a:cubicBezTo>
                    <a:pt x="971" y="81"/>
                    <a:pt x="971" y="82"/>
                    <a:pt x="971" y="82"/>
                  </a:cubicBezTo>
                  <a:cubicBezTo>
                    <a:pt x="971" y="81"/>
                    <a:pt x="971" y="81"/>
                    <a:pt x="970" y="81"/>
                  </a:cubicBezTo>
                  <a:close/>
                  <a:moveTo>
                    <a:pt x="589" y="83"/>
                  </a:moveTo>
                  <a:cubicBezTo>
                    <a:pt x="589" y="83"/>
                    <a:pt x="589" y="84"/>
                    <a:pt x="589" y="84"/>
                  </a:cubicBezTo>
                  <a:cubicBezTo>
                    <a:pt x="589" y="84"/>
                    <a:pt x="589" y="83"/>
                    <a:pt x="589" y="83"/>
                  </a:cubicBezTo>
                  <a:close/>
                  <a:moveTo>
                    <a:pt x="975" y="85"/>
                  </a:moveTo>
                  <a:cubicBezTo>
                    <a:pt x="975" y="86"/>
                    <a:pt x="975" y="86"/>
                    <a:pt x="976" y="86"/>
                  </a:cubicBezTo>
                  <a:cubicBezTo>
                    <a:pt x="976" y="86"/>
                    <a:pt x="975" y="86"/>
                    <a:pt x="975" y="85"/>
                  </a:cubicBezTo>
                  <a:close/>
                  <a:moveTo>
                    <a:pt x="1675" y="12"/>
                  </a:moveTo>
                  <a:cubicBezTo>
                    <a:pt x="1675" y="13"/>
                    <a:pt x="1675" y="13"/>
                    <a:pt x="1676" y="13"/>
                  </a:cubicBezTo>
                  <a:cubicBezTo>
                    <a:pt x="1676" y="13"/>
                    <a:pt x="1675" y="12"/>
                    <a:pt x="1675" y="12"/>
                  </a:cubicBezTo>
                  <a:close/>
                  <a:moveTo>
                    <a:pt x="1223" y="86"/>
                  </a:moveTo>
                  <a:cubicBezTo>
                    <a:pt x="1223" y="86"/>
                    <a:pt x="1223" y="87"/>
                    <a:pt x="1224" y="87"/>
                  </a:cubicBezTo>
                  <a:cubicBezTo>
                    <a:pt x="1224" y="86"/>
                    <a:pt x="1223" y="86"/>
                    <a:pt x="1223" y="86"/>
                  </a:cubicBezTo>
                  <a:close/>
                  <a:moveTo>
                    <a:pt x="718" y="97"/>
                  </a:moveTo>
                  <a:cubicBezTo>
                    <a:pt x="718" y="97"/>
                    <a:pt x="718" y="97"/>
                    <a:pt x="717" y="96"/>
                  </a:cubicBezTo>
                  <a:cubicBezTo>
                    <a:pt x="717" y="97"/>
                    <a:pt x="718" y="97"/>
                    <a:pt x="718" y="97"/>
                  </a:cubicBezTo>
                  <a:close/>
                  <a:moveTo>
                    <a:pt x="1143" y="55"/>
                  </a:moveTo>
                  <a:cubicBezTo>
                    <a:pt x="1143" y="55"/>
                    <a:pt x="1143" y="54"/>
                    <a:pt x="1143" y="54"/>
                  </a:cubicBezTo>
                  <a:cubicBezTo>
                    <a:pt x="1143" y="54"/>
                    <a:pt x="1143" y="55"/>
                    <a:pt x="1143" y="55"/>
                  </a:cubicBezTo>
                  <a:close/>
                  <a:moveTo>
                    <a:pt x="880" y="44"/>
                  </a:moveTo>
                  <a:cubicBezTo>
                    <a:pt x="879" y="44"/>
                    <a:pt x="879" y="44"/>
                    <a:pt x="879" y="45"/>
                  </a:cubicBezTo>
                  <a:cubicBezTo>
                    <a:pt x="879" y="45"/>
                    <a:pt x="879" y="45"/>
                    <a:pt x="880" y="44"/>
                  </a:cubicBezTo>
                  <a:close/>
                  <a:moveTo>
                    <a:pt x="1348" y="14"/>
                  </a:moveTo>
                  <a:cubicBezTo>
                    <a:pt x="1348" y="13"/>
                    <a:pt x="1349" y="13"/>
                    <a:pt x="1349" y="13"/>
                  </a:cubicBezTo>
                  <a:cubicBezTo>
                    <a:pt x="1348" y="13"/>
                    <a:pt x="1348" y="13"/>
                    <a:pt x="1348" y="14"/>
                  </a:cubicBezTo>
                  <a:close/>
                  <a:moveTo>
                    <a:pt x="1344" y="88"/>
                  </a:moveTo>
                  <a:cubicBezTo>
                    <a:pt x="1344" y="88"/>
                    <a:pt x="1344" y="87"/>
                    <a:pt x="1344" y="87"/>
                  </a:cubicBezTo>
                  <a:cubicBezTo>
                    <a:pt x="1343" y="87"/>
                    <a:pt x="1344" y="87"/>
                    <a:pt x="1344" y="88"/>
                  </a:cubicBezTo>
                  <a:close/>
                  <a:moveTo>
                    <a:pt x="658" y="88"/>
                  </a:moveTo>
                  <a:cubicBezTo>
                    <a:pt x="659" y="88"/>
                    <a:pt x="659" y="88"/>
                    <a:pt x="659" y="88"/>
                  </a:cubicBezTo>
                  <a:cubicBezTo>
                    <a:pt x="659" y="88"/>
                    <a:pt x="659" y="87"/>
                    <a:pt x="658" y="88"/>
                  </a:cubicBezTo>
                  <a:close/>
                  <a:moveTo>
                    <a:pt x="1355" y="87"/>
                  </a:moveTo>
                  <a:cubicBezTo>
                    <a:pt x="1354" y="88"/>
                    <a:pt x="1354" y="88"/>
                    <a:pt x="1354" y="89"/>
                  </a:cubicBezTo>
                  <a:cubicBezTo>
                    <a:pt x="1355" y="88"/>
                    <a:pt x="1355" y="88"/>
                    <a:pt x="1355" y="87"/>
                  </a:cubicBezTo>
                  <a:close/>
                  <a:moveTo>
                    <a:pt x="1557" y="56"/>
                  </a:moveTo>
                  <a:cubicBezTo>
                    <a:pt x="1557" y="56"/>
                    <a:pt x="1558" y="56"/>
                    <a:pt x="1558" y="56"/>
                  </a:cubicBezTo>
                  <a:cubicBezTo>
                    <a:pt x="1558" y="56"/>
                    <a:pt x="1557" y="56"/>
                    <a:pt x="1557" y="56"/>
                  </a:cubicBezTo>
                  <a:close/>
                  <a:moveTo>
                    <a:pt x="660" y="88"/>
                  </a:moveTo>
                  <a:cubicBezTo>
                    <a:pt x="660" y="89"/>
                    <a:pt x="660" y="89"/>
                    <a:pt x="661" y="89"/>
                  </a:cubicBezTo>
                  <a:cubicBezTo>
                    <a:pt x="660" y="89"/>
                    <a:pt x="660" y="88"/>
                    <a:pt x="660" y="88"/>
                  </a:cubicBezTo>
                  <a:close/>
                  <a:moveTo>
                    <a:pt x="962" y="89"/>
                  </a:moveTo>
                  <a:cubicBezTo>
                    <a:pt x="962" y="89"/>
                    <a:pt x="961" y="89"/>
                    <a:pt x="961" y="88"/>
                  </a:cubicBezTo>
                  <a:cubicBezTo>
                    <a:pt x="961" y="89"/>
                    <a:pt x="961" y="89"/>
                    <a:pt x="962" y="89"/>
                  </a:cubicBezTo>
                  <a:close/>
                  <a:moveTo>
                    <a:pt x="1343" y="90"/>
                  </a:moveTo>
                  <a:cubicBezTo>
                    <a:pt x="1344" y="89"/>
                    <a:pt x="1344" y="89"/>
                    <a:pt x="1344" y="88"/>
                  </a:cubicBezTo>
                  <a:cubicBezTo>
                    <a:pt x="1343" y="89"/>
                    <a:pt x="1343" y="89"/>
                    <a:pt x="1343" y="90"/>
                  </a:cubicBezTo>
                  <a:close/>
                  <a:moveTo>
                    <a:pt x="1570" y="38"/>
                  </a:moveTo>
                  <a:cubicBezTo>
                    <a:pt x="1570" y="37"/>
                    <a:pt x="1570" y="37"/>
                    <a:pt x="1570" y="36"/>
                  </a:cubicBezTo>
                  <a:cubicBezTo>
                    <a:pt x="1570" y="37"/>
                    <a:pt x="1570" y="37"/>
                    <a:pt x="1570" y="38"/>
                  </a:cubicBezTo>
                  <a:close/>
                  <a:moveTo>
                    <a:pt x="1265" y="56"/>
                  </a:moveTo>
                  <a:cubicBezTo>
                    <a:pt x="1265" y="56"/>
                    <a:pt x="1265" y="57"/>
                    <a:pt x="1265" y="57"/>
                  </a:cubicBezTo>
                  <a:cubicBezTo>
                    <a:pt x="1265" y="57"/>
                    <a:pt x="1265" y="56"/>
                    <a:pt x="1265" y="56"/>
                  </a:cubicBezTo>
                  <a:close/>
                  <a:moveTo>
                    <a:pt x="1738" y="38"/>
                  </a:moveTo>
                  <a:cubicBezTo>
                    <a:pt x="1738" y="37"/>
                    <a:pt x="1738" y="37"/>
                    <a:pt x="1738" y="36"/>
                  </a:cubicBezTo>
                  <a:cubicBezTo>
                    <a:pt x="1738" y="37"/>
                    <a:pt x="1738" y="37"/>
                    <a:pt x="1738" y="38"/>
                  </a:cubicBezTo>
                  <a:close/>
                  <a:moveTo>
                    <a:pt x="1469" y="31"/>
                  </a:moveTo>
                  <a:cubicBezTo>
                    <a:pt x="1469" y="31"/>
                    <a:pt x="1469" y="32"/>
                    <a:pt x="1469" y="32"/>
                  </a:cubicBezTo>
                  <a:cubicBezTo>
                    <a:pt x="1469" y="32"/>
                    <a:pt x="1469" y="31"/>
                    <a:pt x="1469" y="31"/>
                  </a:cubicBezTo>
                  <a:close/>
                  <a:moveTo>
                    <a:pt x="623" y="89"/>
                  </a:moveTo>
                  <a:cubicBezTo>
                    <a:pt x="623" y="89"/>
                    <a:pt x="623" y="89"/>
                    <a:pt x="624" y="90"/>
                  </a:cubicBezTo>
                  <a:cubicBezTo>
                    <a:pt x="624" y="90"/>
                    <a:pt x="624" y="90"/>
                    <a:pt x="624" y="89"/>
                  </a:cubicBezTo>
                  <a:cubicBezTo>
                    <a:pt x="624" y="89"/>
                    <a:pt x="624" y="89"/>
                    <a:pt x="623" y="89"/>
                  </a:cubicBezTo>
                  <a:close/>
                  <a:moveTo>
                    <a:pt x="554" y="20"/>
                  </a:moveTo>
                  <a:cubicBezTo>
                    <a:pt x="553" y="20"/>
                    <a:pt x="553" y="20"/>
                    <a:pt x="553" y="20"/>
                  </a:cubicBezTo>
                  <a:cubicBezTo>
                    <a:pt x="553" y="20"/>
                    <a:pt x="554" y="20"/>
                    <a:pt x="554" y="20"/>
                  </a:cubicBezTo>
                  <a:close/>
                  <a:moveTo>
                    <a:pt x="1175" y="91"/>
                  </a:moveTo>
                  <a:cubicBezTo>
                    <a:pt x="1175" y="90"/>
                    <a:pt x="1175" y="90"/>
                    <a:pt x="1175" y="89"/>
                  </a:cubicBezTo>
                  <a:cubicBezTo>
                    <a:pt x="1175" y="90"/>
                    <a:pt x="1175" y="90"/>
                    <a:pt x="1175" y="91"/>
                  </a:cubicBezTo>
                  <a:close/>
                  <a:moveTo>
                    <a:pt x="1226" y="89"/>
                  </a:moveTo>
                  <a:cubicBezTo>
                    <a:pt x="1226" y="90"/>
                    <a:pt x="1227" y="90"/>
                    <a:pt x="1227" y="90"/>
                  </a:cubicBezTo>
                  <a:cubicBezTo>
                    <a:pt x="1227" y="90"/>
                    <a:pt x="1226" y="89"/>
                    <a:pt x="1226" y="89"/>
                  </a:cubicBezTo>
                  <a:close/>
                  <a:moveTo>
                    <a:pt x="1479" y="31"/>
                  </a:moveTo>
                  <a:cubicBezTo>
                    <a:pt x="1478" y="31"/>
                    <a:pt x="1478" y="31"/>
                    <a:pt x="1477" y="31"/>
                  </a:cubicBezTo>
                  <a:cubicBezTo>
                    <a:pt x="1478" y="32"/>
                    <a:pt x="1478" y="32"/>
                    <a:pt x="1479" y="31"/>
                  </a:cubicBezTo>
                  <a:close/>
                  <a:moveTo>
                    <a:pt x="555" y="43"/>
                  </a:moveTo>
                  <a:cubicBezTo>
                    <a:pt x="555" y="43"/>
                    <a:pt x="556" y="44"/>
                    <a:pt x="556" y="44"/>
                  </a:cubicBezTo>
                  <a:cubicBezTo>
                    <a:pt x="556" y="43"/>
                    <a:pt x="556" y="43"/>
                    <a:pt x="555" y="43"/>
                  </a:cubicBezTo>
                  <a:close/>
                  <a:moveTo>
                    <a:pt x="766" y="90"/>
                  </a:moveTo>
                  <a:cubicBezTo>
                    <a:pt x="767" y="90"/>
                    <a:pt x="767" y="90"/>
                    <a:pt x="767" y="90"/>
                  </a:cubicBezTo>
                  <a:cubicBezTo>
                    <a:pt x="767" y="90"/>
                    <a:pt x="767" y="90"/>
                    <a:pt x="766" y="90"/>
                  </a:cubicBezTo>
                  <a:close/>
                  <a:moveTo>
                    <a:pt x="1355" y="20"/>
                  </a:moveTo>
                  <a:cubicBezTo>
                    <a:pt x="1354" y="20"/>
                    <a:pt x="1354" y="20"/>
                    <a:pt x="1354" y="20"/>
                  </a:cubicBezTo>
                  <a:cubicBezTo>
                    <a:pt x="1354" y="20"/>
                    <a:pt x="1355" y="20"/>
                    <a:pt x="1355" y="20"/>
                  </a:cubicBezTo>
                  <a:close/>
                  <a:moveTo>
                    <a:pt x="575" y="56"/>
                  </a:moveTo>
                  <a:cubicBezTo>
                    <a:pt x="576" y="56"/>
                    <a:pt x="576" y="56"/>
                    <a:pt x="576" y="56"/>
                  </a:cubicBezTo>
                  <a:cubicBezTo>
                    <a:pt x="576" y="56"/>
                    <a:pt x="576" y="56"/>
                    <a:pt x="575" y="56"/>
                  </a:cubicBezTo>
                  <a:close/>
                  <a:moveTo>
                    <a:pt x="727" y="90"/>
                  </a:moveTo>
                  <a:cubicBezTo>
                    <a:pt x="727" y="90"/>
                    <a:pt x="727" y="91"/>
                    <a:pt x="728" y="91"/>
                  </a:cubicBezTo>
                  <a:cubicBezTo>
                    <a:pt x="728" y="91"/>
                    <a:pt x="728" y="90"/>
                    <a:pt x="727" y="90"/>
                  </a:cubicBezTo>
                  <a:close/>
                  <a:moveTo>
                    <a:pt x="753" y="91"/>
                  </a:moveTo>
                  <a:cubicBezTo>
                    <a:pt x="753" y="91"/>
                    <a:pt x="753" y="90"/>
                    <a:pt x="752" y="90"/>
                  </a:cubicBezTo>
                  <a:cubicBezTo>
                    <a:pt x="752" y="91"/>
                    <a:pt x="752" y="91"/>
                    <a:pt x="753" y="91"/>
                  </a:cubicBezTo>
                  <a:close/>
                  <a:moveTo>
                    <a:pt x="755" y="44"/>
                  </a:moveTo>
                  <a:cubicBezTo>
                    <a:pt x="755" y="44"/>
                    <a:pt x="755" y="44"/>
                    <a:pt x="755" y="43"/>
                  </a:cubicBezTo>
                  <a:cubicBezTo>
                    <a:pt x="755" y="43"/>
                    <a:pt x="755" y="44"/>
                    <a:pt x="755" y="44"/>
                  </a:cubicBezTo>
                  <a:close/>
                  <a:moveTo>
                    <a:pt x="1213" y="91"/>
                  </a:moveTo>
                  <a:cubicBezTo>
                    <a:pt x="1213" y="91"/>
                    <a:pt x="1213" y="91"/>
                    <a:pt x="1212" y="90"/>
                  </a:cubicBezTo>
                  <a:cubicBezTo>
                    <a:pt x="1212" y="91"/>
                    <a:pt x="1213" y="91"/>
                    <a:pt x="1213" y="91"/>
                  </a:cubicBezTo>
                  <a:close/>
                  <a:moveTo>
                    <a:pt x="1412" y="34"/>
                  </a:moveTo>
                  <a:cubicBezTo>
                    <a:pt x="1412" y="34"/>
                    <a:pt x="1412" y="33"/>
                    <a:pt x="1412" y="33"/>
                  </a:cubicBezTo>
                  <a:cubicBezTo>
                    <a:pt x="1411" y="33"/>
                    <a:pt x="1412" y="34"/>
                    <a:pt x="1412" y="34"/>
                  </a:cubicBezTo>
                  <a:close/>
                  <a:moveTo>
                    <a:pt x="1469" y="33"/>
                  </a:moveTo>
                  <a:cubicBezTo>
                    <a:pt x="1469" y="33"/>
                    <a:pt x="1469" y="34"/>
                    <a:pt x="1469" y="34"/>
                  </a:cubicBezTo>
                  <a:cubicBezTo>
                    <a:pt x="1469" y="34"/>
                    <a:pt x="1469" y="33"/>
                    <a:pt x="1469" y="33"/>
                  </a:cubicBezTo>
                  <a:close/>
                  <a:moveTo>
                    <a:pt x="675" y="33"/>
                  </a:moveTo>
                  <a:cubicBezTo>
                    <a:pt x="676" y="33"/>
                    <a:pt x="676" y="33"/>
                    <a:pt x="677" y="33"/>
                  </a:cubicBezTo>
                  <a:cubicBezTo>
                    <a:pt x="676" y="33"/>
                    <a:pt x="676" y="33"/>
                    <a:pt x="675" y="33"/>
                  </a:cubicBezTo>
                  <a:close/>
                  <a:moveTo>
                    <a:pt x="771" y="33"/>
                  </a:moveTo>
                  <a:cubicBezTo>
                    <a:pt x="772" y="33"/>
                    <a:pt x="772" y="33"/>
                    <a:pt x="773" y="33"/>
                  </a:cubicBezTo>
                  <a:cubicBezTo>
                    <a:pt x="772" y="33"/>
                    <a:pt x="772" y="33"/>
                    <a:pt x="771" y="33"/>
                  </a:cubicBezTo>
                  <a:close/>
                  <a:moveTo>
                    <a:pt x="784" y="33"/>
                  </a:moveTo>
                  <a:cubicBezTo>
                    <a:pt x="784" y="33"/>
                    <a:pt x="785" y="33"/>
                    <a:pt x="785" y="33"/>
                  </a:cubicBezTo>
                  <a:cubicBezTo>
                    <a:pt x="785" y="33"/>
                    <a:pt x="784" y="33"/>
                    <a:pt x="784" y="33"/>
                  </a:cubicBezTo>
                  <a:close/>
                  <a:moveTo>
                    <a:pt x="843" y="33"/>
                  </a:moveTo>
                  <a:cubicBezTo>
                    <a:pt x="843" y="33"/>
                    <a:pt x="844" y="33"/>
                    <a:pt x="844" y="33"/>
                  </a:cubicBezTo>
                  <a:cubicBezTo>
                    <a:pt x="844" y="33"/>
                    <a:pt x="843" y="33"/>
                    <a:pt x="843" y="33"/>
                  </a:cubicBezTo>
                  <a:close/>
                  <a:moveTo>
                    <a:pt x="1154" y="49"/>
                  </a:moveTo>
                  <a:cubicBezTo>
                    <a:pt x="1154" y="50"/>
                    <a:pt x="1154" y="50"/>
                    <a:pt x="1154" y="51"/>
                  </a:cubicBezTo>
                  <a:cubicBezTo>
                    <a:pt x="1154" y="50"/>
                    <a:pt x="1154" y="50"/>
                    <a:pt x="1154" y="49"/>
                  </a:cubicBezTo>
                  <a:close/>
                  <a:moveTo>
                    <a:pt x="1082" y="43"/>
                  </a:moveTo>
                  <a:cubicBezTo>
                    <a:pt x="1082" y="43"/>
                    <a:pt x="1082" y="44"/>
                    <a:pt x="1083" y="44"/>
                  </a:cubicBezTo>
                  <a:cubicBezTo>
                    <a:pt x="1083" y="44"/>
                    <a:pt x="1083" y="43"/>
                    <a:pt x="1082" y="43"/>
                  </a:cubicBezTo>
                  <a:close/>
                  <a:moveTo>
                    <a:pt x="904" y="37"/>
                  </a:moveTo>
                  <a:cubicBezTo>
                    <a:pt x="905" y="37"/>
                    <a:pt x="905" y="37"/>
                    <a:pt x="905" y="38"/>
                  </a:cubicBezTo>
                  <a:cubicBezTo>
                    <a:pt x="905" y="37"/>
                    <a:pt x="905" y="37"/>
                    <a:pt x="904" y="37"/>
                  </a:cubicBezTo>
                  <a:close/>
                  <a:moveTo>
                    <a:pt x="884" y="33"/>
                  </a:moveTo>
                  <a:cubicBezTo>
                    <a:pt x="884" y="33"/>
                    <a:pt x="885" y="33"/>
                    <a:pt x="885" y="33"/>
                  </a:cubicBezTo>
                  <a:cubicBezTo>
                    <a:pt x="885" y="33"/>
                    <a:pt x="884" y="33"/>
                    <a:pt x="884" y="33"/>
                  </a:cubicBezTo>
                  <a:close/>
                  <a:moveTo>
                    <a:pt x="896" y="33"/>
                  </a:moveTo>
                  <a:cubicBezTo>
                    <a:pt x="896" y="33"/>
                    <a:pt x="896" y="33"/>
                    <a:pt x="897" y="33"/>
                  </a:cubicBezTo>
                  <a:cubicBezTo>
                    <a:pt x="897" y="33"/>
                    <a:pt x="896" y="33"/>
                    <a:pt x="896" y="33"/>
                  </a:cubicBezTo>
                  <a:close/>
                  <a:moveTo>
                    <a:pt x="1463" y="90"/>
                  </a:moveTo>
                  <a:cubicBezTo>
                    <a:pt x="1462" y="91"/>
                    <a:pt x="1462" y="91"/>
                    <a:pt x="1462" y="91"/>
                  </a:cubicBezTo>
                  <a:cubicBezTo>
                    <a:pt x="1462" y="91"/>
                    <a:pt x="1463" y="91"/>
                    <a:pt x="1463" y="90"/>
                  </a:cubicBezTo>
                  <a:close/>
                  <a:moveTo>
                    <a:pt x="754" y="92"/>
                  </a:moveTo>
                  <a:cubicBezTo>
                    <a:pt x="754" y="92"/>
                    <a:pt x="753" y="91"/>
                    <a:pt x="753" y="91"/>
                  </a:cubicBezTo>
                  <a:cubicBezTo>
                    <a:pt x="753" y="92"/>
                    <a:pt x="753" y="92"/>
                    <a:pt x="754" y="92"/>
                  </a:cubicBezTo>
                  <a:close/>
                  <a:moveTo>
                    <a:pt x="1053" y="33"/>
                  </a:moveTo>
                  <a:cubicBezTo>
                    <a:pt x="1054" y="33"/>
                    <a:pt x="1054" y="33"/>
                    <a:pt x="1055" y="33"/>
                  </a:cubicBezTo>
                  <a:cubicBezTo>
                    <a:pt x="1054" y="33"/>
                    <a:pt x="1054" y="33"/>
                    <a:pt x="1053" y="33"/>
                  </a:cubicBezTo>
                  <a:close/>
                  <a:moveTo>
                    <a:pt x="1066" y="33"/>
                  </a:moveTo>
                  <a:cubicBezTo>
                    <a:pt x="1066" y="33"/>
                    <a:pt x="1067" y="33"/>
                    <a:pt x="1067" y="33"/>
                  </a:cubicBezTo>
                  <a:cubicBezTo>
                    <a:pt x="1067" y="33"/>
                    <a:pt x="1066" y="33"/>
                    <a:pt x="1066" y="33"/>
                  </a:cubicBezTo>
                  <a:close/>
                  <a:moveTo>
                    <a:pt x="1126" y="33"/>
                  </a:moveTo>
                  <a:cubicBezTo>
                    <a:pt x="1126" y="33"/>
                    <a:pt x="1127" y="33"/>
                    <a:pt x="1127" y="33"/>
                  </a:cubicBezTo>
                  <a:cubicBezTo>
                    <a:pt x="1127" y="33"/>
                    <a:pt x="1126" y="33"/>
                    <a:pt x="1126" y="33"/>
                  </a:cubicBezTo>
                  <a:close/>
                  <a:moveTo>
                    <a:pt x="1137" y="33"/>
                  </a:moveTo>
                  <a:cubicBezTo>
                    <a:pt x="1138" y="33"/>
                    <a:pt x="1138" y="33"/>
                    <a:pt x="1139" y="33"/>
                  </a:cubicBezTo>
                  <a:cubicBezTo>
                    <a:pt x="1139" y="33"/>
                    <a:pt x="1138" y="33"/>
                    <a:pt x="1137" y="33"/>
                  </a:cubicBezTo>
                  <a:close/>
                  <a:moveTo>
                    <a:pt x="979" y="21"/>
                  </a:moveTo>
                  <a:cubicBezTo>
                    <a:pt x="978" y="22"/>
                    <a:pt x="978" y="22"/>
                    <a:pt x="978" y="22"/>
                  </a:cubicBezTo>
                  <a:cubicBezTo>
                    <a:pt x="978" y="22"/>
                    <a:pt x="979" y="22"/>
                    <a:pt x="979" y="21"/>
                  </a:cubicBezTo>
                  <a:close/>
                  <a:moveTo>
                    <a:pt x="1461" y="14"/>
                  </a:moveTo>
                  <a:cubicBezTo>
                    <a:pt x="1461" y="15"/>
                    <a:pt x="1461" y="15"/>
                    <a:pt x="1462" y="15"/>
                  </a:cubicBezTo>
                  <a:cubicBezTo>
                    <a:pt x="1462" y="15"/>
                    <a:pt x="1461" y="14"/>
                    <a:pt x="1461" y="14"/>
                  </a:cubicBezTo>
                  <a:close/>
                  <a:moveTo>
                    <a:pt x="1231" y="33"/>
                  </a:moveTo>
                  <a:cubicBezTo>
                    <a:pt x="1232" y="33"/>
                    <a:pt x="1232" y="33"/>
                    <a:pt x="1233" y="33"/>
                  </a:cubicBezTo>
                  <a:cubicBezTo>
                    <a:pt x="1232" y="33"/>
                    <a:pt x="1232" y="33"/>
                    <a:pt x="1231" y="33"/>
                  </a:cubicBezTo>
                  <a:close/>
                  <a:moveTo>
                    <a:pt x="1244" y="33"/>
                  </a:moveTo>
                  <a:cubicBezTo>
                    <a:pt x="1244" y="33"/>
                    <a:pt x="1245" y="33"/>
                    <a:pt x="1245" y="33"/>
                  </a:cubicBezTo>
                  <a:cubicBezTo>
                    <a:pt x="1245" y="33"/>
                    <a:pt x="1244" y="33"/>
                    <a:pt x="1244" y="33"/>
                  </a:cubicBezTo>
                  <a:close/>
                  <a:moveTo>
                    <a:pt x="1675" y="53"/>
                  </a:moveTo>
                  <a:cubicBezTo>
                    <a:pt x="1674" y="54"/>
                    <a:pt x="1674" y="54"/>
                    <a:pt x="1674" y="54"/>
                  </a:cubicBezTo>
                  <a:cubicBezTo>
                    <a:pt x="1674" y="54"/>
                    <a:pt x="1674" y="54"/>
                    <a:pt x="1675" y="53"/>
                  </a:cubicBezTo>
                  <a:close/>
                  <a:moveTo>
                    <a:pt x="963" y="21"/>
                  </a:moveTo>
                  <a:cubicBezTo>
                    <a:pt x="963" y="21"/>
                    <a:pt x="963" y="21"/>
                    <a:pt x="964" y="20"/>
                  </a:cubicBezTo>
                  <a:cubicBezTo>
                    <a:pt x="963" y="21"/>
                    <a:pt x="963" y="21"/>
                    <a:pt x="963" y="21"/>
                  </a:cubicBezTo>
                  <a:close/>
                  <a:moveTo>
                    <a:pt x="1146" y="37"/>
                  </a:moveTo>
                  <a:cubicBezTo>
                    <a:pt x="1146" y="37"/>
                    <a:pt x="1147" y="37"/>
                    <a:pt x="1147" y="38"/>
                  </a:cubicBezTo>
                  <a:cubicBezTo>
                    <a:pt x="1147" y="37"/>
                    <a:pt x="1147" y="37"/>
                    <a:pt x="1146" y="37"/>
                  </a:cubicBezTo>
                  <a:close/>
                  <a:moveTo>
                    <a:pt x="987" y="92"/>
                  </a:moveTo>
                  <a:cubicBezTo>
                    <a:pt x="987" y="92"/>
                    <a:pt x="988" y="92"/>
                    <a:pt x="988" y="92"/>
                  </a:cubicBezTo>
                  <a:cubicBezTo>
                    <a:pt x="988" y="92"/>
                    <a:pt x="987" y="92"/>
                    <a:pt x="987" y="92"/>
                  </a:cubicBezTo>
                  <a:close/>
                  <a:moveTo>
                    <a:pt x="1007" y="92"/>
                  </a:moveTo>
                  <a:cubicBezTo>
                    <a:pt x="1007" y="92"/>
                    <a:pt x="1008" y="92"/>
                    <a:pt x="1008" y="92"/>
                  </a:cubicBezTo>
                  <a:cubicBezTo>
                    <a:pt x="1008" y="92"/>
                    <a:pt x="1007" y="92"/>
                    <a:pt x="1007" y="92"/>
                  </a:cubicBezTo>
                  <a:close/>
                  <a:moveTo>
                    <a:pt x="1087" y="53"/>
                  </a:moveTo>
                  <a:cubicBezTo>
                    <a:pt x="1087" y="54"/>
                    <a:pt x="1087" y="54"/>
                    <a:pt x="1087" y="55"/>
                  </a:cubicBezTo>
                  <a:cubicBezTo>
                    <a:pt x="1087" y="54"/>
                    <a:pt x="1087" y="54"/>
                    <a:pt x="1087" y="53"/>
                  </a:cubicBezTo>
                  <a:close/>
                  <a:moveTo>
                    <a:pt x="988" y="92"/>
                  </a:moveTo>
                  <a:cubicBezTo>
                    <a:pt x="989" y="93"/>
                    <a:pt x="989" y="92"/>
                    <a:pt x="990" y="92"/>
                  </a:cubicBezTo>
                  <a:cubicBezTo>
                    <a:pt x="990" y="92"/>
                    <a:pt x="989" y="92"/>
                    <a:pt x="988" y="92"/>
                  </a:cubicBezTo>
                  <a:close/>
                  <a:moveTo>
                    <a:pt x="755" y="93"/>
                  </a:moveTo>
                  <a:cubicBezTo>
                    <a:pt x="755" y="93"/>
                    <a:pt x="754" y="93"/>
                    <a:pt x="754" y="92"/>
                  </a:cubicBezTo>
                  <a:cubicBezTo>
                    <a:pt x="754" y="93"/>
                    <a:pt x="754" y="93"/>
                    <a:pt x="755" y="93"/>
                  </a:cubicBezTo>
                  <a:close/>
                  <a:moveTo>
                    <a:pt x="1419" y="93"/>
                  </a:moveTo>
                  <a:cubicBezTo>
                    <a:pt x="1419" y="93"/>
                    <a:pt x="1418" y="93"/>
                    <a:pt x="1418" y="92"/>
                  </a:cubicBezTo>
                  <a:cubicBezTo>
                    <a:pt x="1418" y="93"/>
                    <a:pt x="1418" y="93"/>
                    <a:pt x="1419" y="93"/>
                  </a:cubicBezTo>
                  <a:close/>
                  <a:moveTo>
                    <a:pt x="1052" y="34"/>
                  </a:moveTo>
                  <a:cubicBezTo>
                    <a:pt x="1052" y="34"/>
                    <a:pt x="1053" y="34"/>
                    <a:pt x="1053" y="33"/>
                  </a:cubicBezTo>
                  <a:cubicBezTo>
                    <a:pt x="1053" y="33"/>
                    <a:pt x="1052" y="33"/>
                    <a:pt x="1052" y="34"/>
                  </a:cubicBezTo>
                  <a:close/>
                  <a:moveTo>
                    <a:pt x="754" y="45"/>
                  </a:moveTo>
                  <a:cubicBezTo>
                    <a:pt x="754" y="45"/>
                    <a:pt x="754" y="45"/>
                    <a:pt x="754" y="44"/>
                  </a:cubicBezTo>
                  <a:cubicBezTo>
                    <a:pt x="754" y="45"/>
                    <a:pt x="754" y="45"/>
                    <a:pt x="754" y="45"/>
                  </a:cubicBezTo>
                  <a:close/>
                  <a:moveTo>
                    <a:pt x="787" y="93"/>
                  </a:moveTo>
                  <a:cubicBezTo>
                    <a:pt x="787" y="93"/>
                    <a:pt x="788" y="93"/>
                    <a:pt x="788" y="93"/>
                  </a:cubicBezTo>
                  <a:cubicBezTo>
                    <a:pt x="788" y="93"/>
                    <a:pt x="787" y="93"/>
                    <a:pt x="787" y="93"/>
                  </a:cubicBezTo>
                  <a:close/>
                  <a:moveTo>
                    <a:pt x="966" y="94"/>
                  </a:moveTo>
                  <a:cubicBezTo>
                    <a:pt x="966" y="93"/>
                    <a:pt x="966" y="93"/>
                    <a:pt x="965" y="93"/>
                  </a:cubicBezTo>
                  <a:cubicBezTo>
                    <a:pt x="965" y="93"/>
                    <a:pt x="966" y="93"/>
                    <a:pt x="966" y="94"/>
                  </a:cubicBezTo>
                  <a:close/>
                  <a:moveTo>
                    <a:pt x="670" y="93"/>
                  </a:moveTo>
                  <a:cubicBezTo>
                    <a:pt x="671" y="94"/>
                    <a:pt x="671" y="94"/>
                    <a:pt x="672" y="93"/>
                  </a:cubicBezTo>
                  <a:cubicBezTo>
                    <a:pt x="671" y="93"/>
                    <a:pt x="671" y="93"/>
                    <a:pt x="670" y="93"/>
                  </a:cubicBezTo>
                  <a:close/>
                  <a:moveTo>
                    <a:pt x="1419" y="16"/>
                  </a:moveTo>
                  <a:cubicBezTo>
                    <a:pt x="1420" y="16"/>
                    <a:pt x="1420" y="15"/>
                    <a:pt x="1420" y="15"/>
                  </a:cubicBezTo>
                  <a:cubicBezTo>
                    <a:pt x="1420" y="15"/>
                    <a:pt x="1420" y="15"/>
                    <a:pt x="1419" y="16"/>
                  </a:cubicBezTo>
                  <a:close/>
                  <a:moveTo>
                    <a:pt x="834" y="38"/>
                  </a:moveTo>
                  <a:cubicBezTo>
                    <a:pt x="834" y="38"/>
                    <a:pt x="834" y="37"/>
                    <a:pt x="835" y="37"/>
                  </a:cubicBezTo>
                  <a:cubicBezTo>
                    <a:pt x="834" y="37"/>
                    <a:pt x="834" y="37"/>
                    <a:pt x="834" y="38"/>
                  </a:cubicBezTo>
                  <a:close/>
                  <a:moveTo>
                    <a:pt x="1576" y="15"/>
                  </a:moveTo>
                  <a:cubicBezTo>
                    <a:pt x="1577" y="15"/>
                    <a:pt x="1577" y="16"/>
                    <a:pt x="1577" y="16"/>
                  </a:cubicBezTo>
                  <a:cubicBezTo>
                    <a:pt x="1577" y="15"/>
                    <a:pt x="1577" y="15"/>
                    <a:pt x="1576" y="15"/>
                  </a:cubicBezTo>
                  <a:close/>
                  <a:moveTo>
                    <a:pt x="605" y="66"/>
                  </a:moveTo>
                  <a:cubicBezTo>
                    <a:pt x="605" y="66"/>
                    <a:pt x="605" y="66"/>
                    <a:pt x="604" y="65"/>
                  </a:cubicBezTo>
                  <a:cubicBezTo>
                    <a:pt x="604" y="66"/>
                    <a:pt x="604" y="66"/>
                    <a:pt x="605" y="66"/>
                  </a:cubicBezTo>
                  <a:close/>
                  <a:moveTo>
                    <a:pt x="900" y="52"/>
                  </a:moveTo>
                  <a:cubicBezTo>
                    <a:pt x="901" y="52"/>
                    <a:pt x="900" y="51"/>
                    <a:pt x="900" y="51"/>
                  </a:cubicBezTo>
                  <a:cubicBezTo>
                    <a:pt x="900" y="51"/>
                    <a:pt x="900" y="52"/>
                    <a:pt x="900" y="52"/>
                  </a:cubicBezTo>
                  <a:close/>
                  <a:moveTo>
                    <a:pt x="1086" y="51"/>
                  </a:moveTo>
                  <a:cubicBezTo>
                    <a:pt x="1086" y="51"/>
                    <a:pt x="1086" y="52"/>
                    <a:pt x="1086" y="52"/>
                  </a:cubicBezTo>
                  <a:cubicBezTo>
                    <a:pt x="1086" y="52"/>
                    <a:pt x="1086" y="51"/>
                    <a:pt x="1086" y="51"/>
                  </a:cubicBezTo>
                  <a:close/>
                  <a:moveTo>
                    <a:pt x="1433" y="7"/>
                  </a:moveTo>
                  <a:cubicBezTo>
                    <a:pt x="1433" y="7"/>
                    <a:pt x="1434" y="7"/>
                    <a:pt x="1434" y="7"/>
                  </a:cubicBezTo>
                  <a:cubicBezTo>
                    <a:pt x="1433" y="6"/>
                    <a:pt x="1433" y="6"/>
                    <a:pt x="1433" y="7"/>
                  </a:cubicBezTo>
                  <a:close/>
                  <a:moveTo>
                    <a:pt x="1448" y="7"/>
                  </a:moveTo>
                  <a:cubicBezTo>
                    <a:pt x="1449" y="7"/>
                    <a:pt x="1449" y="7"/>
                    <a:pt x="1449" y="7"/>
                  </a:cubicBezTo>
                  <a:cubicBezTo>
                    <a:pt x="1449" y="6"/>
                    <a:pt x="1449" y="6"/>
                    <a:pt x="1448" y="7"/>
                  </a:cubicBezTo>
                  <a:close/>
                  <a:moveTo>
                    <a:pt x="1396" y="22"/>
                  </a:moveTo>
                  <a:cubicBezTo>
                    <a:pt x="1396" y="23"/>
                    <a:pt x="1396" y="23"/>
                    <a:pt x="1396" y="23"/>
                  </a:cubicBezTo>
                  <a:cubicBezTo>
                    <a:pt x="1396" y="23"/>
                    <a:pt x="1397" y="22"/>
                    <a:pt x="1396" y="22"/>
                  </a:cubicBezTo>
                  <a:close/>
                  <a:moveTo>
                    <a:pt x="1545" y="7"/>
                  </a:moveTo>
                  <a:cubicBezTo>
                    <a:pt x="1545" y="7"/>
                    <a:pt x="1546" y="7"/>
                    <a:pt x="1546" y="7"/>
                  </a:cubicBezTo>
                  <a:cubicBezTo>
                    <a:pt x="1546" y="7"/>
                    <a:pt x="1545" y="6"/>
                    <a:pt x="1545" y="7"/>
                  </a:cubicBezTo>
                  <a:close/>
                  <a:moveTo>
                    <a:pt x="1562" y="7"/>
                  </a:moveTo>
                  <a:cubicBezTo>
                    <a:pt x="1563" y="7"/>
                    <a:pt x="1563" y="7"/>
                    <a:pt x="1564" y="7"/>
                  </a:cubicBezTo>
                  <a:cubicBezTo>
                    <a:pt x="1563" y="6"/>
                    <a:pt x="1563" y="7"/>
                    <a:pt x="1562" y="7"/>
                  </a:cubicBezTo>
                  <a:close/>
                  <a:moveTo>
                    <a:pt x="1713" y="7"/>
                  </a:moveTo>
                  <a:cubicBezTo>
                    <a:pt x="1713" y="7"/>
                    <a:pt x="1714" y="7"/>
                    <a:pt x="1714" y="7"/>
                  </a:cubicBezTo>
                  <a:cubicBezTo>
                    <a:pt x="1714" y="7"/>
                    <a:pt x="1713" y="6"/>
                    <a:pt x="1713" y="7"/>
                  </a:cubicBezTo>
                  <a:close/>
                  <a:moveTo>
                    <a:pt x="1731" y="7"/>
                  </a:moveTo>
                  <a:cubicBezTo>
                    <a:pt x="1731" y="7"/>
                    <a:pt x="1731" y="7"/>
                    <a:pt x="1732" y="7"/>
                  </a:cubicBezTo>
                  <a:cubicBezTo>
                    <a:pt x="1731" y="6"/>
                    <a:pt x="1731" y="7"/>
                    <a:pt x="1731" y="7"/>
                  </a:cubicBezTo>
                  <a:close/>
                  <a:moveTo>
                    <a:pt x="556" y="7"/>
                  </a:moveTo>
                  <a:cubicBezTo>
                    <a:pt x="556" y="7"/>
                    <a:pt x="557" y="7"/>
                    <a:pt x="557" y="7"/>
                  </a:cubicBezTo>
                  <a:cubicBezTo>
                    <a:pt x="557" y="7"/>
                    <a:pt x="556" y="7"/>
                    <a:pt x="556" y="7"/>
                  </a:cubicBezTo>
                  <a:close/>
                  <a:moveTo>
                    <a:pt x="986" y="7"/>
                  </a:moveTo>
                  <a:cubicBezTo>
                    <a:pt x="987" y="7"/>
                    <a:pt x="987" y="7"/>
                    <a:pt x="988" y="7"/>
                  </a:cubicBezTo>
                  <a:cubicBezTo>
                    <a:pt x="987" y="7"/>
                    <a:pt x="987" y="7"/>
                    <a:pt x="986" y="7"/>
                  </a:cubicBezTo>
                  <a:close/>
                  <a:moveTo>
                    <a:pt x="1359" y="7"/>
                  </a:moveTo>
                  <a:cubicBezTo>
                    <a:pt x="1360" y="7"/>
                    <a:pt x="1360" y="7"/>
                    <a:pt x="1360" y="7"/>
                  </a:cubicBezTo>
                  <a:cubicBezTo>
                    <a:pt x="1360" y="7"/>
                    <a:pt x="1360" y="7"/>
                    <a:pt x="1359" y="7"/>
                  </a:cubicBezTo>
                  <a:close/>
                  <a:moveTo>
                    <a:pt x="1379" y="7"/>
                  </a:moveTo>
                  <a:cubicBezTo>
                    <a:pt x="1380" y="7"/>
                    <a:pt x="1380" y="7"/>
                    <a:pt x="1381" y="7"/>
                  </a:cubicBezTo>
                  <a:cubicBezTo>
                    <a:pt x="1380" y="7"/>
                    <a:pt x="1380" y="7"/>
                    <a:pt x="1379" y="7"/>
                  </a:cubicBezTo>
                  <a:close/>
                  <a:moveTo>
                    <a:pt x="1466" y="22"/>
                  </a:moveTo>
                  <a:cubicBezTo>
                    <a:pt x="1466" y="23"/>
                    <a:pt x="1466" y="23"/>
                    <a:pt x="1466" y="23"/>
                  </a:cubicBezTo>
                  <a:cubicBezTo>
                    <a:pt x="1466" y="23"/>
                    <a:pt x="1466" y="22"/>
                    <a:pt x="1466" y="22"/>
                  </a:cubicBezTo>
                  <a:close/>
                  <a:moveTo>
                    <a:pt x="1031" y="56"/>
                  </a:moveTo>
                  <a:cubicBezTo>
                    <a:pt x="1031" y="56"/>
                    <a:pt x="1031" y="56"/>
                    <a:pt x="1031" y="55"/>
                  </a:cubicBezTo>
                  <a:cubicBezTo>
                    <a:pt x="1031" y="56"/>
                    <a:pt x="1031" y="56"/>
                    <a:pt x="1031" y="56"/>
                  </a:cubicBezTo>
                  <a:close/>
                  <a:moveTo>
                    <a:pt x="1468" y="29"/>
                  </a:moveTo>
                  <a:cubicBezTo>
                    <a:pt x="1468" y="30"/>
                    <a:pt x="1468" y="30"/>
                    <a:pt x="1469" y="31"/>
                  </a:cubicBezTo>
                  <a:cubicBezTo>
                    <a:pt x="1469" y="30"/>
                    <a:pt x="1469" y="30"/>
                    <a:pt x="1468" y="29"/>
                  </a:cubicBezTo>
                  <a:close/>
                  <a:moveTo>
                    <a:pt x="1543" y="7"/>
                  </a:moveTo>
                  <a:cubicBezTo>
                    <a:pt x="1544" y="7"/>
                    <a:pt x="1544" y="7"/>
                    <a:pt x="1545" y="7"/>
                  </a:cubicBezTo>
                  <a:cubicBezTo>
                    <a:pt x="1544" y="7"/>
                    <a:pt x="1544" y="7"/>
                    <a:pt x="1543" y="7"/>
                  </a:cubicBezTo>
                  <a:close/>
                  <a:moveTo>
                    <a:pt x="1300" y="44"/>
                  </a:moveTo>
                  <a:cubicBezTo>
                    <a:pt x="1300" y="44"/>
                    <a:pt x="1299" y="44"/>
                    <a:pt x="1299" y="44"/>
                  </a:cubicBezTo>
                  <a:cubicBezTo>
                    <a:pt x="1299" y="44"/>
                    <a:pt x="1300" y="44"/>
                    <a:pt x="1300" y="44"/>
                  </a:cubicBezTo>
                  <a:close/>
                  <a:moveTo>
                    <a:pt x="1712" y="7"/>
                  </a:moveTo>
                  <a:cubicBezTo>
                    <a:pt x="1712" y="7"/>
                    <a:pt x="1712" y="7"/>
                    <a:pt x="1713" y="7"/>
                  </a:cubicBezTo>
                  <a:cubicBezTo>
                    <a:pt x="1712" y="7"/>
                    <a:pt x="1712" y="7"/>
                    <a:pt x="1712" y="7"/>
                  </a:cubicBezTo>
                  <a:close/>
                  <a:moveTo>
                    <a:pt x="1264" y="50"/>
                  </a:moveTo>
                  <a:cubicBezTo>
                    <a:pt x="1264" y="50"/>
                    <a:pt x="1264" y="51"/>
                    <a:pt x="1264" y="51"/>
                  </a:cubicBezTo>
                  <a:cubicBezTo>
                    <a:pt x="1264" y="51"/>
                    <a:pt x="1264" y="50"/>
                    <a:pt x="1264" y="50"/>
                  </a:cubicBezTo>
                  <a:close/>
                  <a:moveTo>
                    <a:pt x="555" y="8"/>
                  </a:moveTo>
                  <a:cubicBezTo>
                    <a:pt x="555" y="8"/>
                    <a:pt x="555" y="8"/>
                    <a:pt x="556" y="7"/>
                  </a:cubicBezTo>
                  <a:cubicBezTo>
                    <a:pt x="555" y="7"/>
                    <a:pt x="555" y="7"/>
                    <a:pt x="555" y="8"/>
                  </a:cubicBezTo>
                  <a:close/>
                  <a:moveTo>
                    <a:pt x="581" y="7"/>
                  </a:moveTo>
                  <a:cubicBezTo>
                    <a:pt x="581" y="7"/>
                    <a:pt x="581" y="8"/>
                    <a:pt x="582" y="8"/>
                  </a:cubicBezTo>
                  <a:cubicBezTo>
                    <a:pt x="581" y="7"/>
                    <a:pt x="581" y="7"/>
                    <a:pt x="581" y="7"/>
                  </a:cubicBezTo>
                  <a:close/>
                  <a:moveTo>
                    <a:pt x="985" y="8"/>
                  </a:moveTo>
                  <a:cubicBezTo>
                    <a:pt x="985" y="8"/>
                    <a:pt x="986" y="8"/>
                    <a:pt x="986" y="7"/>
                  </a:cubicBezTo>
                  <a:cubicBezTo>
                    <a:pt x="986" y="7"/>
                    <a:pt x="985" y="7"/>
                    <a:pt x="985" y="8"/>
                  </a:cubicBezTo>
                  <a:close/>
                  <a:moveTo>
                    <a:pt x="1014" y="7"/>
                  </a:moveTo>
                  <a:cubicBezTo>
                    <a:pt x="1014" y="8"/>
                    <a:pt x="1014" y="8"/>
                    <a:pt x="1015" y="7"/>
                  </a:cubicBezTo>
                  <a:cubicBezTo>
                    <a:pt x="1014" y="7"/>
                    <a:pt x="1014" y="7"/>
                    <a:pt x="1014" y="7"/>
                  </a:cubicBezTo>
                  <a:close/>
                  <a:moveTo>
                    <a:pt x="1227" y="35"/>
                  </a:moveTo>
                  <a:cubicBezTo>
                    <a:pt x="1227" y="35"/>
                    <a:pt x="1227" y="35"/>
                    <a:pt x="1228" y="34"/>
                  </a:cubicBezTo>
                  <a:cubicBezTo>
                    <a:pt x="1227" y="34"/>
                    <a:pt x="1227" y="34"/>
                    <a:pt x="1227" y="35"/>
                  </a:cubicBezTo>
                  <a:close/>
                  <a:moveTo>
                    <a:pt x="1749" y="40"/>
                  </a:moveTo>
                  <a:cubicBezTo>
                    <a:pt x="1748" y="41"/>
                    <a:pt x="1748" y="41"/>
                    <a:pt x="1748" y="42"/>
                  </a:cubicBezTo>
                  <a:cubicBezTo>
                    <a:pt x="1749" y="41"/>
                    <a:pt x="1749" y="41"/>
                    <a:pt x="1749" y="40"/>
                  </a:cubicBezTo>
                  <a:close/>
                  <a:moveTo>
                    <a:pt x="1483" y="30"/>
                  </a:moveTo>
                  <a:cubicBezTo>
                    <a:pt x="1482" y="30"/>
                    <a:pt x="1482" y="30"/>
                    <a:pt x="1482" y="30"/>
                  </a:cubicBezTo>
                  <a:cubicBezTo>
                    <a:pt x="1482" y="30"/>
                    <a:pt x="1483" y="30"/>
                    <a:pt x="1483" y="30"/>
                  </a:cubicBezTo>
                  <a:close/>
                  <a:moveTo>
                    <a:pt x="613" y="58"/>
                  </a:moveTo>
                  <a:cubicBezTo>
                    <a:pt x="613" y="58"/>
                    <a:pt x="613" y="58"/>
                    <a:pt x="613" y="59"/>
                  </a:cubicBezTo>
                  <a:cubicBezTo>
                    <a:pt x="613" y="58"/>
                    <a:pt x="613" y="58"/>
                    <a:pt x="613" y="58"/>
                  </a:cubicBezTo>
                  <a:close/>
                  <a:moveTo>
                    <a:pt x="1263" y="49"/>
                  </a:moveTo>
                  <a:cubicBezTo>
                    <a:pt x="1263" y="49"/>
                    <a:pt x="1263" y="50"/>
                    <a:pt x="1264" y="50"/>
                  </a:cubicBezTo>
                  <a:cubicBezTo>
                    <a:pt x="1264" y="50"/>
                    <a:pt x="1264" y="49"/>
                    <a:pt x="1263" y="49"/>
                  </a:cubicBezTo>
                  <a:close/>
                  <a:moveTo>
                    <a:pt x="1264" y="51"/>
                  </a:moveTo>
                  <a:cubicBezTo>
                    <a:pt x="1264" y="51"/>
                    <a:pt x="1264" y="52"/>
                    <a:pt x="1264" y="52"/>
                  </a:cubicBezTo>
                  <a:cubicBezTo>
                    <a:pt x="1264" y="52"/>
                    <a:pt x="1264" y="51"/>
                    <a:pt x="1264" y="51"/>
                  </a:cubicBezTo>
                  <a:close/>
                  <a:moveTo>
                    <a:pt x="691" y="44"/>
                  </a:moveTo>
                  <a:cubicBezTo>
                    <a:pt x="691" y="43"/>
                    <a:pt x="690" y="43"/>
                    <a:pt x="690" y="43"/>
                  </a:cubicBezTo>
                  <a:cubicBezTo>
                    <a:pt x="690" y="44"/>
                    <a:pt x="691" y="44"/>
                    <a:pt x="691" y="44"/>
                  </a:cubicBezTo>
                  <a:close/>
                  <a:moveTo>
                    <a:pt x="1412" y="31"/>
                  </a:moveTo>
                  <a:cubicBezTo>
                    <a:pt x="1413" y="31"/>
                    <a:pt x="1413" y="31"/>
                    <a:pt x="1413" y="30"/>
                  </a:cubicBezTo>
                  <a:cubicBezTo>
                    <a:pt x="1412" y="30"/>
                    <a:pt x="1412" y="31"/>
                    <a:pt x="1412" y="31"/>
                  </a:cubicBezTo>
                  <a:close/>
                  <a:moveTo>
                    <a:pt x="644" y="64"/>
                  </a:moveTo>
                  <a:cubicBezTo>
                    <a:pt x="644" y="65"/>
                    <a:pt x="644" y="65"/>
                    <a:pt x="644" y="65"/>
                  </a:cubicBezTo>
                  <a:cubicBezTo>
                    <a:pt x="644" y="65"/>
                    <a:pt x="644" y="65"/>
                    <a:pt x="644" y="64"/>
                  </a:cubicBezTo>
                  <a:close/>
                  <a:moveTo>
                    <a:pt x="553" y="8"/>
                  </a:moveTo>
                  <a:cubicBezTo>
                    <a:pt x="554" y="8"/>
                    <a:pt x="554" y="8"/>
                    <a:pt x="555" y="8"/>
                  </a:cubicBezTo>
                  <a:cubicBezTo>
                    <a:pt x="554" y="8"/>
                    <a:pt x="554" y="7"/>
                    <a:pt x="553" y="8"/>
                  </a:cubicBezTo>
                  <a:close/>
                  <a:moveTo>
                    <a:pt x="1569" y="42"/>
                  </a:moveTo>
                  <a:cubicBezTo>
                    <a:pt x="1569" y="41"/>
                    <a:pt x="1569" y="41"/>
                    <a:pt x="1569" y="41"/>
                  </a:cubicBezTo>
                  <a:cubicBezTo>
                    <a:pt x="1569" y="41"/>
                    <a:pt x="1569" y="41"/>
                    <a:pt x="1569" y="42"/>
                  </a:cubicBezTo>
                  <a:close/>
                  <a:moveTo>
                    <a:pt x="984" y="8"/>
                  </a:moveTo>
                  <a:cubicBezTo>
                    <a:pt x="984" y="8"/>
                    <a:pt x="985" y="8"/>
                    <a:pt x="985" y="8"/>
                  </a:cubicBezTo>
                  <a:cubicBezTo>
                    <a:pt x="984" y="8"/>
                    <a:pt x="984" y="7"/>
                    <a:pt x="984" y="8"/>
                  </a:cubicBezTo>
                  <a:close/>
                  <a:moveTo>
                    <a:pt x="1015" y="8"/>
                  </a:moveTo>
                  <a:cubicBezTo>
                    <a:pt x="1015" y="8"/>
                    <a:pt x="1016" y="8"/>
                    <a:pt x="1016" y="8"/>
                  </a:cubicBezTo>
                  <a:cubicBezTo>
                    <a:pt x="1016" y="7"/>
                    <a:pt x="1015" y="8"/>
                    <a:pt x="1015" y="8"/>
                  </a:cubicBezTo>
                  <a:close/>
                  <a:moveTo>
                    <a:pt x="1183" y="15"/>
                  </a:moveTo>
                  <a:cubicBezTo>
                    <a:pt x="1184" y="15"/>
                    <a:pt x="1184" y="15"/>
                    <a:pt x="1185" y="15"/>
                  </a:cubicBezTo>
                  <a:cubicBezTo>
                    <a:pt x="1184" y="15"/>
                    <a:pt x="1184" y="14"/>
                    <a:pt x="1183" y="15"/>
                  </a:cubicBezTo>
                  <a:close/>
                  <a:moveTo>
                    <a:pt x="1481" y="19"/>
                  </a:moveTo>
                  <a:cubicBezTo>
                    <a:pt x="1482" y="19"/>
                    <a:pt x="1482" y="19"/>
                    <a:pt x="1482" y="19"/>
                  </a:cubicBezTo>
                  <a:cubicBezTo>
                    <a:pt x="1482" y="19"/>
                    <a:pt x="1482" y="19"/>
                    <a:pt x="1481" y="19"/>
                  </a:cubicBezTo>
                  <a:close/>
                  <a:moveTo>
                    <a:pt x="1430" y="8"/>
                  </a:moveTo>
                  <a:cubicBezTo>
                    <a:pt x="1430" y="8"/>
                    <a:pt x="1430" y="8"/>
                    <a:pt x="1431" y="8"/>
                  </a:cubicBezTo>
                  <a:cubicBezTo>
                    <a:pt x="1430" y="8"/>
                    <a:pt x="1430" y="7"/>
                    <a:pt x="1430" y="8"/>
                  </a:cubicBezTo>
                  <a:close/>
                  <a:moveTo>
                    <a:pt x="1452" y="8"/>
                  </a:moveTo>
                  <a:cubicBezTo>
                    <a:pt x="1452" y="8"/>
                    <a:pt x="1452" y="8"/>
                    <a:pt x="1453" y="8"/>
                  </a:cubicBezTo>
                  <a:cubicBezTo>
                    <a:pt x="1452" y="7"/>
                    <a:pt x="1452" y="8"/>
                    <a:pt x="1452" y="8"/>
                  </a:cubicBezTo>
                  <a:close/>
                  <a:moveTo>
                    <a:pt x="1580" y="44"/>
                  </a:moveTo>
                  <a:cubicBezTo>
                    <a:pt x="1579" y="44"/>
                    <a:pt x="1579" y="44"/>
                    <a:pt x="1579" y="45"/>
                  </a:cubicBezTo>
                  <a:cubicBezTo>
                    <a:pt x="1580" y="45"/>
                    <a:pt x="1580" y="44"/>
                    <a:pt x="1580" y="44"/>
                  </a:cubicBezTo>
                  <a:close/>
                  <a:moveTo>
                    <a:pt x="1570" y="39"/>
                  </a:moveTo>
                  <a:cubicBezTo>
                    <a:pt x="1570" y="39"/>
                    <a:pt x="1570" y="39"/>
                    <a:pt x="1570" y="38"/>
                  </a:cubicBezTo>
                  <a:cubicBezTo>
                    <a:pt x="1569" y="38"/>
                    <a:pt x="1570" y="39"/>
                    <a:pt x="1570" y="39"/>
                  </a:cubicBezTo>
                  <a:close/>
                  <a:moveTo>
                    <a:pt x="1738" y="39"/>
                  </a:moveTo>
                  <a:cubicBezTo>
                    <a:pt x="1738" y="39"/>
                    <a:pt x="1738" y="39"/>
                    <a:pt x="1738" y="38"/>
                  </a:cubicBezTo>
                  <a:cubicBezTo>
                    <a:pt x="1738" y="38"/>
                    <a:pt x="1738" y="39"/>
                    <a:pt x="1738" y="39"/>
                  </a:cubicBezTo>
                  <a:close/>
                  <a:moveTo>
                    <a:pt x="1480" y="31"/>
                  </a:moveTo>
                  <a:cubicBezTo>
                    <a:pt x="1479" y="31"/>
                    <a:pt x="1479" y="31"/>
                    <a:pt x="1479" y="31"/>
                  </a:cubicBezTo>
                  <a:cubicBezTo>
                    <a:pt x="1479" y="31"/>
                    <a:pt x="1479" y="31"/>
                    <a:pt x="1480" y="31"/>
                  </a:cubicBezTo>
                  <a:close/>
                  <a:moveTo>
                    <a:pt x="1289" y="57"/>
                  </a:moveTo>
                  <a:cubicBezTo>
                    <a:pt x="1289" y="57"/>
                    <a:pt x="1289" y="58"/>
                    <a:pt x="1289" y="58"/>
                  </a:cubicBezTo>
                  <a:cubicBezTo>
                    <a:pt x="1289" y="58"/>
                    <a:pt x="1289" y="57"/>
                    <a:pt x="1289" y="57"/>
                  </a:cubicBezTo>
                  <a:close/>
                  <a:moveTo>
                    <a:pt x="605" y="36"/>
                  </a:moveTo>
                  <a:cubicBezTo>
                    <a:pt x="605" y="36"/>
                    <a:pt x="605" y="37"/>
                    <a:pt x="605" y="37"/>
                  </a:cubicBezTo>
                  <a:cubicBezTo>
                    <a:pt x="605" y="36"/>
                    <a:pt x="605" y="36"/>
                    <a:pt x="605" y="36"/>
                  </a:cubicBezTo>
                  <a:close/>
                  <a:moveTo>
                    <a:pt x="1412" y="33"/>
                  </a:moveTo>
                  <a:cubicBezTo>
                    <a:pt x="1412" y="32"/>
                    <a:pt x="1412" y="32"/>
                    <a:pt x="1412" y="32"/>
                  </a:cubicBezTo>
                  <a:cubicBezTo>
                    <a:pt x="1412" y="32"/>
                    <a:pt x="1412" y="32"/>
                    <a:pt x="1412" y="33"/>
                  </a:cubicBezTo>
                  <a:close/>
                  <a:moveTo>
                    <a:pt x="983" y="8"/>
                  </a:moveTo>
                  <a:cubicBezTo>
                    <a:pt x="983" y="8"/>
                    <a:pt x="983" y="8"/>
                    <a:pt x="984" y="8"/>
                  </a:cubicBezTo>
                  <a:cubicBezTo>
                    <a:pt x="983" y="8"/>
                    <a:pt x="983" y="8"/>
                    <a:pt x="983" y="8"/>
                  </a:cubicBezTo>
                  <a:close/>
                  <a:moveTo>
                    <a:pt x="1182" y="15"/>
                  </a:moveTo>
                  <a:cubicBezTo>
                    <a:pt x="1183" y="15"/>
                    <a:pt x="1183" y="15"/>
                    <a:pt x="1184" y="15"/>
                  </a:cubicBezTo>
                  <a:cubicBezTo>
                    <a:pt x="1183" y="15"/>
                    <a:pt x="1183" y="15"/>
                    <a:pt x="1182" y="15"/>
                  </a:cubicBezTo>
                  <a:close/>
                  <a:moveTo>
                    <a:pt x="652" y="44"/>
                  </a:moveTo>
                  <a:cubicBezTo>
                    <a:pt x="652" y="44"/>
                    <a:pt x="652" y="45"/>
                    <a:pt x="652" y="45"/>
                  </a:cubicBezTo>
                  <a:cubicBezTo>
                    <a:pt x="652" y="45"/>
                    <a:pt x="652" y="44"/>
                    <a:pt x="652" y="44"/>
                  </a:cubicBezTo>
                  <a:close/>
                  <a:moveTo>
                    <a:pt x="616" y="67"/>
                  </a:moveTo>
                  <a:cubicBezTo>
                    <a:pt x="616" y="67"/>
                    <a:pt x="616" y="67"/>
                    <a:pt x="616" y="68"/>
                  </a:cubicBezTo>
                  <a:cubicBezTo>
                    <a:pt x="616" y="67"/>
                    <a:pt x="616" y="67"/>
                    <a:pt x="616" y="67"/>
                  </a:cubicBezTo>
                  <a:close/>
                  <a:moveTo>
                    <a:pt x="1143" y="54"/>
                  </a:moveTo>
                  <a:cubicBezTo>
                    <a:pt x="1143" y="53"/>
                    <a:pt x="1143" y="53"/>
                    <a:pt x="1143" y="53"/>
                  </a:cubicBezTo>
                  <a:cubicBezTo>
                    <a:pt x="1143" y="53"/>
                    <a:pt x="1143" y="54"/>
                    <a:pt x="1143" y="54"/>
                  </a:cubicBezTo>
                  <a:close/>
                  <a:moveTo>
                    <a:pt x="1181" y="16"/>
                  </a:moveTo>
                  <a:cubicBezTo>
                    <a:pt x="1182" y="16"/>
                    <a:pt x="1182" y="16"/>
                    <a:pt x="1182" y="15"/>
                  </a:cubicBezTo>
                  <a:cubicBezTo>
                    <a:pt x="1182" y="15"/>
                    <a:pt x="1182" y="15"/>
                    <a:pt x="1181" y="16"/>
                  </a:cubicBezTo>
                  <a:close/>
                  <a:moveTo>
                    <a:pt x="804" y="53"/>
                  </a:moveTo>
                  <a:cubicBezTo>
                    <a:pt x="804" y="53"/>
                    <a:pt x="804" y="54"/>
                    <a:pt x="805" y="54"/>
                  </a:cubicBezTo>
                  <a:cubicBezTo>
                    <a:pt x="805" y="54"/>
                    <a:pt x="805" y="53"/>
                    <a:pt x="804" y="53"/>
                  </a:cubicBezTo>
                  <a:close/>
                  <a:moveTo>
                    <a:pt x="1567" y="8"/>
                  </a:moveTo>
                  <a:cubicBezTo>
                    <a:pt x="1567" y="8"/>
                    <a:pt x="1567" y="8"/>
                    <a:pt x="1568" y="8"/>
                  </a:cubicBezTo>
                  <a:cubicBezTo>
                    <a:pt x="1568" y="8"/>
                    <a:pt x="1567" y="8"/>
                    <a:pt x="1567" y="8"/>
                  </a:cubicBezTo>
                  <a:close/>
                  <a:moveTo>
                    <a:pt x="1669" y="57"/>
                  </a:moveTo>
                  <a:cubicBezTo>
                    <a:pt x="1668" y="57"/>
                    <a:pt x="1668" y="57"/>
                    <a:pt x="1668" y="57"/>
                  </a:cubicBezTo>
                  <a:cubicBezTo>
                    <a:pt x="1668" y="57"/>
                    <a:pt x="1669" y="57"/>
                    <a:pt x="1669" y="57"/>
                  </a:cubicBezTo>
                  <a:close/>
                  <a:moveTo>
                    <a:pt x="1735" y="8"/>
                  </a:moveTo>
                  <a:cubicBezTo>
                    <a:pt x="1735" y="8"/>
                    <a:pt x="1735" y="8"/>
                    <a:pt x="1736" y="8"/>
                  </a:cubicBezTo>
                  <a:cubicBezTo>
                    <a:pt x="1736" y="8"/>
                    <a:pt x="1735" y="8"/>
                    <a:pt x="1735" y="8"/>
                  </a:cubicBezTo>
                  <a:close/>
                  <a:moveTo>
                    <a:pt x="552" y="9"/>
                  </a:moveTo>
                  <a:cubicBezTo>
                    <a:pt x="552" y="9"/>
                    <a:pt x="552" y="9"/>
                    <a:pt x="553" y="8"/>
                  </a:cubicBezTo>
                  <a:cubicBezTo>
                    <a:pt x="552" y="8"/>
                    <a:pt x="552" y="8"/>
                    <a:pt x="552" y="9"/>
                  </a:cubicBezTo>
                  <a:close/>
                  <a:moveTo>
                    <a:pt x="830" y="53"/>
                  </a:moveTo>
                  <a:cubicBezTo>
                    <a:pt x="830" y="53"/>
                    <a:pt x="829" y="53"/>
                    <a:pt x="829" y="54"/>
                  </a:cubicBezTo>
                  <a:cubicBezTo>
                    <a:pt x="830" y="54"/>
                    <a:pt x="830" y="53"/>
                    <a:pt x="830" y="53"/>
                  </a:cubicBezTo>
                  <a:close/>
                  <a:moveTo>
                    <a:pt x="982" y="9"/>
                  </a:moveTo>
                  <a:cubicBezTo>
                    <a:pt x="982" y="9"/>
                    <a:pt x="982" y="9"/>
                    <a:pt x="983" y="8"/>
                  </a:cubicBezTo>
                  <a:cubicBezTo>
                    <a:pt x="982" y="8"/>
                    <a:pt x="982" y="8"/>
                    <a:pt x="982" y="9"/>
                  </a:cubicBezTo>
                  <a:close/>
                  <a:moveTo>
                    <a:pt x="1017" y="8"/>
                  </a:moveTo>
                  <a:cubicBezTo>
                    <a:pt x="1018" y="9"/>
                    <a:pt x="1018" y="9"/>
                    <a:pt x="1018" y="9"/>
                  </a:cubicBezTo>
                  <a:cubicBezTo>
                    <a:pt x="1018" y="8"/>
                    <a:pt x="1018" y="8"/>
                    <a:pt x="1017" y="8"/>
                  </a:cubicBezTo>
                  <a:close/>
                  <a:moveTo>
                    <a:pt x="1016" y="19"/>
                  </a:moveTo>
                  <a:cubicBezTo>
                    <a:pt x="1016" y="19"/>
                    <a:pt x="1016" y="19"/>
                    <a:pt x="1015" y="19"/>
                  </a:cubicBezTo>
                  <a:cubicBezTo>
                    <a:pt x="1016" y="19"/>
                    <a:pt x="1016" y="19"/>
                    <a:pt x="1016" y="19"/>
                  </a:cubicBezTo>
                  <a:close/>
                  <a:moveTo>
                    <a:pt x="1180" y="16"/>
                  </a:moveTo>
                  <a:cubicBezTo>
                    <a:pt x="1181" y="16"/>
                    <a:pt x="1181" y="16"/>
                    <a:pt x="1181" y="16"/>
                  </a:cubicBezTo>
                  <a:cubicBezTo>
                    <a:pt x="1181" y="16"/>
                    <a:pt x="1181" y="15"/>
                    <a:pt x="1180" y="16"/>
                  </a:cubicBezTo>
                  <a:close/>
                  <a:moveTo>
                    <a:pt x="1364" y="16"/>
                  </a:moveTo>
                  <a:cubicBezTo>
                    <a:pt x="1364" y="16"/>
                    <a:pt x="1364" y="16"/>
                    <a:pt x="1363" y="16"/>
                  </a:cubicBezTo>
                  <a:cubicBezTo>
                    <a:pt x="1364" y="16"/>
                    <a:pt x="1364" y="16"/>
                    <a:pt x="1364" y="16"/>
                  </a:cubicBezTo>
                  <a:close/>
                  <a:moveTo>
                    <a:pt x="615" y="66"/>
                  </a:moveTo>
                  <a:cubicBezTo>
                    <a:pt x="615" y="66"/>
                    <a:pt x="615" y="66"/>
                    <a:pt x="616" y="67"/>
                  </a:cubicBezTo>
                  <a:cubicBezTo>
                    <a:pt x="616" y="66"/>
                    <a:pt x="616" y="66"/>
                    <a:pt x="615" y="66"/>
                  </a:cubicBezTo>
                  <a:close/>
                  <a:moveTo>
                    <a:pt x="853" y="33"/>
                  </a:moveTo>
                  <a:cubicBezTo>
                    <a:pt x="854" y="33"/>
                    <a:pt x="854" y="33"/>
                    <a:pt x="855" y="33"/>
                  </a:cubicBezTo>
                  <a:cubicBezTo>
                    <a:pt x="854" y="33"/>
                    <a:pt x="854" y="33"/>
                    <a:pt x="853" y="33"/>
                  </a:cubicBezTo>
                  <a:close/>
                  <a:moveTo>
                    <a:pt x="1480" y="19"/>
                  </a:moveTo>
                  <a:cubicBezTo>
                    <a:pt x="1481" y="19"/>
                    <a:pt x="1481" y="19"/>
                    <a:pt x="1481" y="19"/>
                  </a:cubicBezTo>
                  <a:cubicBezTo>
                    <a:pt x="1481" y="19"/>
                    <a:pt x="1481" y="19"/>
                    <a:pt x="1480" y="19"/>
                  </a:cubicBezTo>
                  <a:close/>
                  <a:moveTo>
                    <a:pt x="1559" y="16"/>
                  </a:moveTo>
                  <a:cubicBezTo>
                    <a:pt x="1559" y="16"/>
                    <a:pt x="1558" y="16"/>
                    <a:pt x="1558" y="16"/>
                  </a:cubicBezTo>
                  <a:cubicBezTo>
                    <a:pt x="1558" y="16"/>
                    <a:pt x="1559" y="16"/>
                    <a:pt x="1559" y="16"/>
                  </a:cubicBezTo>
                  <a:close/>
                  <a:moveTo>
                    <a:pt x="1727" y="16"/>
                  </a:moveTo>
                  <a:cubicBezTo>
                    <a:pt x="1727" y="16"/>
                    <a:pt x="1727" y="16"/>
                    <a:pt x="1726" y="16"/>
                  </a:cubicBezTo>
                  <a:cubicBezTo>
                    <a:pt x="1726" y="16"/>
                    <a:pt x="1727" y="16"/>
                    <a:pt x="1727" y="16"/>
                  </a:cubicBezTo>
                  <a:close/>
                  <a:moveTo>
                    <a:pt x="605" y="37"/>
                  </a:moveTo>
                  <a:cubicBezTo>
                    <a:pt x="605" y="37"/>
                    <a:pt x="605" y="38"/>
                    <a:pt x="606" y="38"/>
                  </a:cubicBezTo>
                  <a:cubicBezTo>
                    <a:pt x="606" y="37"/>
                    <a:pt x="606" y="37"/>
                    <a:pt x="605" y="37"/>
                  </a:cubicBezTo>
                  <a:close/>
                  <a:moveTo>
                    <a:pt x="606" y="38"/>
                  </a:moveTo>
                  <a:cubicBezTo>
                    <a:pt x="606" y="38"/>
                    <a:pt x="606" y="39"/>
                    <a:pt x="606" y="39"/>
                  </a:cubicBezTo>
                  <a:cubicBezTo>
                    <a:pt x="606" y="38"/>
                    <a:pt x="606" y="38"/>
                    <a:pt x="606" y="38"/>
                  </a:cubicBezTo>
                  <a:close/>
                  <a:moveTo>
                    <a:pt x="670" y="53"/>
                  </a:moveTo>
                  <a:cubicBezTo>
                    <a:pt x="670" y="54"/>
                    <a:pt x="670" y="54"/>
                    <a:pt x="670" y="54"/>
                  </a:cubicBezTo>
                  <a:cubicBezTo>
                    <a:pt x="670" y="54"/>
                    <a:pt x="670" y="53"/>
                    <a:pt x="670" y="53"/>
                  </a:cubicBezTo>
                  <a:close/>
                  <a:moveTo>
                    <a:pt x="981" y="9"/>
                  </a:moveTo>
                  <a:cubicBezTo>
                    <a:pt x="981" y="9"/>
                    <a:pt x="981" y="9"/>
                    <a:pt x="982" y="9"/>
                  </a:cubicBezTo>
                  <a:cubicBezTo>
                    <a:pt x="981" y="9"/>
                    <a:pt x="981" y="8"/>
                    <a:pt x="981" y="9"/>
                  </a:cubicBezTo>
                  <a:close/>
                  <a:moveTo>
                    <a:pt x="674" y="34"/>
                  </a:moveTo>
                  <a:cubicBezTo>
                    <a:pt x="674" y="34"/>
                    <a:pt x="675" y="34"/>
                    <a:pt x="675" y="33"/>
                  </a:cubicBezTo>
                  <a:cubicBezTo>
                    <a:pt x="675" y="33"/>
                    <a:pt x="674" y="33"/>
                    <a:pt x="674" y="34"/>
                  </a:cubicBezTo>
                  <a:close/>
                  <a:moveTo>
                    <a:pt x="1363" y="16"/>
                  </a:moveTo>
                  <a:cubicBezTo>
                    <a:pt x="1363" y="16"/>
                    <a:pt x="1362" y="16"/>
                    <a:pt x="1362" y="16"/>
                  </a:cubicBezTo>
                  <a:cubicBezTo>
                    <a:pt x="1362" y="16"/>
                    <a:pt x="1363" y="16"/>
                    <a:pt x="1363" y="16"/>
                  </a:cubicBezTo>
                  <a:close/>
                  <a:moveTo>
                    <a:pt x="1376" y="16"/>
                  </a:moveTo>
                  <a:cubicBezTo>
                    <a:pt x="1376" y="16"/>
                    <a:pt x="1375" y="16"/>
                    <a:pt x="1375" y="16"/>
                  </a:cubicBezTo>
                  <a:cubicBezTo>
                    <a:pt x="1375" y="16"/>
                    <a:pt x="1376" y="16"/>
                    <a:pt x="1376" y="16"/>
                  </a:cubicBezTo>
                  <a:close/>
                  <a:moveTo>
                    <a:pt x="690" y="33"/>
                  </a:moveTo>
                  <a:cubicBezTo>
                    <a:pt x="690" y="34"/>
                    <a:pt x="691" y="34"/>
                    <a:pt x="691" y="34"/>
                  </a:cubicBezTo>
                  <a:cubicBezTo>
                    <a:pt x="691" y="33"/>
                    <a:pt x="690" y="33"/>
                    <a:pt x="690" y="33"/>
                  </a:cubicBezTo>
                  <a:close/>
                  <a:moveTo>
                    <a:pt x="1301" y="43"/>
                  </a:moveTo>
                  <a:cubicBezTo>
                    <a:pt x="1301" y="43"/>
                    <a:pt x="1301" y="43"/>
                    <a:pt x="1300" y="44"/>
                  </a:cubicBezTo>
                  <a:cubicBezTo>
                    <a:pt x="1301" y="44"/>
                    <a:pt x="1301" y="44"/>
                    <a:pt x="1301" y="43"/>
                  </a:cubicBezTo>
                  <a:close/>
                  <a:moveTo>
                    <a:pt x="770" y="34"/>
                  </a:moveTo>
                  <a:cubicBezTo>
                    <a:pt x="770" y="34"/>
                    <a:pt x="771" y="34"/>
                    <a:pt x="771" y="33"/>
                  </a:cubicBezTo>
                  <a:cubicBezTo>
                    <a:pt x="771" y="33"/>
                    <a:pt x="770" y="33"/>
                    <a:pt x="770" y="34"/>
                  </a:cubicBezTo>
                  <a:close/>
                  <a:moveTo>
                    <a:pt x="785" y="33"/>
                  </a:moveTo>
                  <a:cubicBezTo>
                    <a:pt x="786" y="34"/>
                    <a:pt x="786" y="34"/>
                    <a:pt x="787" y="34"/>
                  </a:cubicBezTo>
                  <a:cubicBezTo>
                    <a:pt x="786" y="33"/>
                    <a:pt x="786" y="33"/>
                    <a:pt x="785" y="33"/>
                  </a:cubicBezTo>
                  <a:close/>
                  <a:moveTo>
                    <a:pt x="1548" y="16"/>
                  </a:moveTo>
                  <a:cubicBezTo>
                    <a:pt x="1547" y="16"/>
                    <a:pt x="1547" y="16"/>
                    <a:pt x="1546" y="16"/>
                  </a:cubicBezTo>
                  <a:cubicBezTo>
                    <a:pt x="1547" y="16"/>
                    <a:pt x="1547" y="16"/>
                    <a:pt x="1548" y="16"/>
                  </a:cubicBezTo>
                  <a:close/>
                  <a:moveTo>
                    <a:pt x="1666" y="9"/>
                  </a:moveTo>
                  <a:cubicBezTo>
                    <a:pt x="1667" y="9"/>
                    <a:pt x="1667" y="9"/>
                    <a:pt x="1667" y="9"/>
                  </a:cubicBezTo>
                  <a:cubicBezTo>
                    <a:pt x="1667" y="9"/>
                    <a:pt x="1667" y="9"/>
                    <a:pt x="1666" y="9"/>
                  </a:cubicBezTo>
                  <a:close/>
                  <a:moveTo>
                    <a:pt x="1581" y="23"/>
                  </a:moveTo>
                  <a:cubicBezTo>
                    <a:pt x="1581" y="24"/>
                    <a:pt x="1581" y="24"/>
                    <a:pt x="1581" y="24"/>
                  </a:cubicBezTo>
                  <a:cubicBezTo>
                    <a:pt x="1581" y="24"/>
                    <a:pt x="1581" y="23"/>
                    <a:pt x="1581" y="23"/>
                  </a:cubicBezTo>
                  <a:close/>
                  <a:moveTo>
                    <a:pt x="1716" y="16"/>
                  </a:moveTo>
                  <a:cubicBezTo>
                    <a:pt x="1715" y="16"/>
                    <a:pt x="1715" y="16"/>
                    <a:pt x="1715" y="16"/>
                  </a:cubicBezTo>
                  <a:cubicBezTo>
                    <a:pt x="1715" y="16"/>
                    <a:pt x="1715" y="16"/>
                    <a:pt x="1716" y="16"/>
                  </a:cubicBezTo>
                  <a:close/>
                  <a:moveTo>
                    <a:pt x="841" y="34"/>
                  </a:moveTo>
                  <a:cubicBezTo>
                    <a:pt x="842" y="34"/>
                    <a:pt x="842" y="34"/>
                    <a:pt x="842" y="33"/>
                  </a:cubicBezTo>
                  <a:cubicBezTo>
                    <a:pt x="842" y="33"/>
                    <a:pt x="842" y="33"/>
                    <a:pt x="841" y="34"/>
                  </a:cubicBezTo>
                  <a:close/>
                  <a:moveTo>
                    <a:pt x="1395" y="43"/>
                  </a:moveTo>
                  <a:cubicBezTo>
                    <a:pt x="1395" y="44"/>
                    <a:pt x="1395" y="44"/>
                    <a:pt x="1395" y="44"/>
                  </a:cubicBezTo>
                  <a:cubicBezTo>
                    <a:pt x="1396" y="44"/>
                    <a:pt x="1395" y="44"/>
                    <a:pt x="1395" y="43"/>
                  </a:cubicBezTo>
                  <a:close/>
                  <a:moveTo>
                    <a:pt x="615" y="65"/>
                  </a:moveTo>
                  <a:cubicBezTo>
                    <a:pt x="615" y="65"/>
                    <a:pt x="615" y="65"/>
                    <a:pt x="615" y="66"/>
                  </a:cubicBezTo>
                  <a:cubicBezTo>
                    <a:pt x="615" y="65"/>
                    <a:pt x="615" y="65"/>
                    <a:pt x="615" y="65"/>
                  </a:cubicBezTo>
                  <a:close/>
                  <a:moveTo>
                    <a:pt x="718" y="17"/>
                  </a:moveTo>
                  <a:cubicBezTo>
                    <a:pt x="719" y="17"/>
                    <a:pt x="719" y="17"/>
                    <a:pt x="719" y="16"/>
                  </a:cubicBezTo>
                  <a:cubicBezTo>
                    <a:pt x="719" y="16"/>
                    <a:pt x="718" y="16"/>
                    <a:pt x="718" y="17"/>
                  </a:cubicBezTo>
                  <a:close/>
                  <a:moveTo>
                    <a:pt x="1749" y="23"/>
                  </a:moveTo>
                  <a:cubicBezTo>
                    <a:pt x="1749" y="24"/>
                    <a:pt x="1749" y="24"/>
                    <a:pt x="1749" y="24"/>
                  </a:cubicBezTo>
                  <a:cubicBezTo>
                    <a:pt x="1749" y="24"/>
                    <a:pt x="1749" y="23"/>
                    <a:pt x="1749" y="23"/>
                  </a:cubicBezTo>
                  <a:close/>
                  <a:moveTo>
                    <a:pt x="1479" y="20"/>
                  </a:moveTo>
                  <a:cubicBezTo>
                    <a:pt x="1480" y="20"/>
                    <a:pt x="1480" y="20"/>
                    <a:pt x="1480" y="19"/>
                  </a:cubicBezTo>
                  <a:cubicBezTo>
                    <a:pt x="1480" y="19"/>
                    <a:pt x="1480" y="19"/>
                    <a:pt x="1479" y="20"/>
                  </a:cubicBezTo>
                  <a:close/>
                  <a:moveTo>
                    <a:pt x="1580" y="42"/>
                  </a:moveTo>
                  <a:cubicBezTo>
                    <a:pt x="1580" y="42"/>
                    <a:pt x="1580" y="42"/>
                    <a:pt x="1580" y="43"/>
                  </a:cubicBezTo>
                  <a:cubicBezTo>
                    <a:pt x="1580" y="42"/>
                    <a:pt x="1580" y="42"/>
                    <a:pt x="1580" y="42"/>
                  </a:cubicBezTo>
                  <a:close/>
                  <a:moveTo>
                    <a:pt x="1362" y="16"/>
                  </a:moveTo>
                  <a:cubicBezTo>
                    <a:pt x="1362" y="16"/>
                    <a:pt x="1361" y="16"/>
                    <a:pt x="1361" y="17"/>
                  </a:cubicBezTo>
                  <a:cubicBezTo>
                    <a:pt x="1361" y="17"/>
                    <a:pt x="1362" y="17"/>
                    <a:pt x="1362" y="16"/>
                  </a:cubicBezTo>
                  <a:close/>
                  <a:moveTo>
                    <a:pt x="1377" y="17"/>
                  </a:moveTo>
                  <a:cubicBezTo>
                    <a:pt x="1377" y="16"/>
                    <a:pt x="1376" y="16"/>
                    <a:pt x="1376" y="16"/>
                  </a:cubicBezTo>
                  <a:cubicBezTo>
                    <a:pt x="1376" y="17"/>
                    <a:pt x="1377" y="17"/>
                    <a:pt x="1377" y="17"/>
                  </a:cubicBezTo>
                  <a:close/>
                  <a:moveTo>
                    <a:pt x="883" y="34"/>
                  </a:moveTo>
                  <a:cubicBezTo>
                    <a:pt x="883" y="34"/>
                    <a:pt x="883" y="34"/>
                    <a:pt x="884" y="33"/>
                  </a:cubicBezTo>
                  <a:cubicBezTo>
                    <a:pt x="883" y="33"/>
                    <a:pt x="883" y="33"/>
                    <a:pt x="883" y="34"/>
                  </a:cubicBezTo>
                  <a:close/>
                  <a:moveTo>
                    <a:pt x="897" y="33"/>
                  </a:moveTo>
                  <a:cubicBezTo>
                    <a:pt x="898" y="34"/>
                    <a:pt x="898" y="34"/>
                    <a:pt x="898" y="34"/>
                  </a:cubicBezTo>
                  <a:cubicBezTo>
                    <a:pt x="898" y="33"/>
                    <a:pt x="898" y="33"/>
                    <a:pt x="897" y="33"/>
                  </a:cubicBezTo>
                  <a:close/>
                  <a:moveTo>
                    <a:pt x="1068" y="33"/>
                  </a:moveTo>
                  <a:cubicBezTo>
                    <a:pt x="1068" y="34"/>
                    <a:pt x="1068" y="34"/>
                    <a:pt x="1069" y="34"/>
                  </a:cubicBezTo>
                  <a:cubicBezTo>
                    <a:pt x="1068" y="33"/>
                    <a:pt x="1068" y="33"/>
                    <a:pt x="1068" y="33"/>
                  </a:cubicBezTo>
                  <a:close/>
                  <a:moveTo>
                    <a:pt x="1397" y="24"/>
                  </a:moveTo>
                  <a:cubicBezTo>
                    <a:pt x="1397" y="24"/>
                    <a:pt x="1397" y="24"/>
                    <a:pt x="1397" y="25"/>
                  </a:cubicBezTo>
                  <a:cubicBezTo>
                    <a:pt x="1397" y="24"/>
                    <a:pt x="1397" y="24"/>
                    <a:pt x="1397" y="24"/>
                  </a:cubicBezTo>
                  <a:close/>
                  <a:moveTo>
                    <a:pt x="1124" y="34"/>
                  </a:moveTo>
                  <a:cubicBezTo>
                    <a:pt x="1125" y="34"/>
                    <a:pt x="1125" y="34"/>
                    <a:pt x="1126" y="33"/>
                  </a:cubicBezTo>
                  <a:cubicBezTo>
                    <a:pt x="1125" y="33"/>
                    <a:pt x="1125" y="33"/>
                    <a:pt x="1124" y="34"/>
                  </a:cubicBezTo>
                  <a:close/>
                  <a:moveTo>
                    <a:pt x="1139" y="33"/>
                  </a:moveTo>
                  <a:cubicBezTo>
                    <a:pt x="1139" y="34"/>
                    <a:pt x="1140" y="34"/>
                    <a:pt x="1140" y="34"/>
                  </a:cubicBezTo>
                  <a:cubicBezTo>
                    <a:pt x="1140" y="33"/>
                    <a:pt x="1140" y="33"/>
                    <a:pt x="1139" y="33"/>
                  </a:cubicBezTo>
                  <a:close/>
                  <a:moveTo>
                    <a:pt x="1683" y="24"/>
                  </a:moveTo>
                  <a:cubicBezTo>
                    <a:pt x="1683" y="24"/>
                    <a:pt x="1683" y="24"/>
                    <a:pt x="1683" y="25"/>
                  </a:cubicBezTo>
                  <a:cubicBezTo>
                    <a:pt x="1683" y="24"/>
                    <a:pt x="1683" y="24"/>
                    <a:pt x="1683" y="24"/>
                  </a:cubicBezTo>
                  <a:close/>
                  <a:moveTo>
                    <a:pt x="1230" y="34"/>
                  </a:moveTo>
                  <a:cubicBezTo>
                    <a:pt x="1230" y="34"/>
                    <a:pt x="1231" y="34"/>
                    <a:pt x="1231" y="33"/>
                  </a:cubicBezTo>
                  <a:cubicBezTo>
                    <a:pt x="1231" y="33"/>
                    <a:pt x="1230" y="33"/>
                    <a:pt x="1230" y="34"/>
                  </a:cubicBezTo>
                  <a:close/>
                  <a:moveTo>
                    <a:pt x="537" y="25"/>
                  </a:moveTo>
                  <a:cubicBezTo>
                    <a:pt x="538" y="25"/>
                    <a:pt x="538" y="24"/>
                    <a:pt x="538" y="24"/>
                  </a:cubicBezTo>
                  <a:cubicBezTo>
                    <a:pt x="537" y="24"/>
                    <a:pt x="537" y="25"/>
                    <a:pt x="537" y="25"/>
                  </a:cubicBezTo>
                  <a:close/>
                  <a:moveTo>
                    <a:pt x="560" y="17"/>
                  </a:moveTo>
                  <a:cubicBezTo>
                    <a:pt x="560" y="17"/>
                    <a:pt x="559" y="17"/>
                    <a:pt x="559" y="17"/>
                  </a:cubicBezTo>
                  <a:cubicBezTo>
                    <a:pt x="559" y="17"/>
                    <a:pt x="560" y="17"/>
                    <a:pt x="560" y="17"/>
                  </a:cubicBezTo>
                  <a:close/>
                  <a:moveTo>
                    <a:pt x="717" y="17"/>
                  </a:moveTo>
                  <a:cubicBezTo>
                    <a:pt x="717" y="17"/>
                    <a:pt x="718" y="17"/>
                    <a:pt x="718" y="17"/>
                  </a:cubicBezTo>
                  <a:cubicBezTo>
                    <a:pt x="718" y="17"/>
                    <a:pt x="717" y="16"/>
                    <a:pt x="717" y="17"/>
                  </a:cubicBezTo>
                  <a:close/>
                  <a:moveTo>
                    <a:pt x="610" y="50"/>
                  </a:moveTo>
                  <a:cubicBezTo>
                    <a:pt x="610" y="50"/>
                    <a:pt x="610" y="50"/>
                    <a:pt x="610" y="51"/>
                  </a:cubicBezTo>
                  <a:cubicBezTo>
                    <a:pt x="610" y="50"/>
                    <a:pt x="610" y="50"/>
                    <a:pt x="610" y="50"/>
                  </a:cubicBezTo>
                  <a:close/>
                  <a:moveTo>
                    <a:pt x="1478" y="20"/>
                  </a:moveTo>
                  <a:cubicBezTo>
                    <a:pt x="1479" y="20"/>
                    <a:pt x="1479" y="20"/>
                    <a:pt x="1479" y="20"/>
                  </a:cubicBezTo>
                  <a:cubicBezTo>
                    <a:pt x="1479" y="20"/>
                    <a:pt x="1479" y="20"/>
                    <a:pt x="1478" y="20"/>
                  </a:cubicBezTo>
                  <a:close/>
                  <a:moveTo>
                    <a:pt x="1748" y="42"/>
                  </a:moveTo>
                  <a:cubicBezTo>
                    <a:pt x="1748" y="42"/>
                    <a:pt x="1748" y="42"/>
                    <a:pt x="1748" y="43"/>
                  </a:cubicBezTo>
                  <a:cubicBezTo>
                    <a:pt x="1749" y="42"/>
                    <a:pt x="1748" y="42"/>
                    <a:pt x="1748" y="42"/>
                  </a:cubicBezTo>
                  <a:close/>
                  <a:moveTo>
                    <a:pt x="601" y="57"/>
                  </a:moveTo>
                  <a:cubicBezTo>
                    <a:pt x="601" y="56"/>
                    <a:pt x="601" y="56"/>
                    <a:pt x="600" y="56"/>
                  </a:cubicBezTo>
                  <a:cubicBezTo>
                    <a:pt x="600" y="56"/>
                    <a:pt x="600" y="56"/>
                    <a:pt x="601" y="57"/>
                  </a:cubicBezTo>
                  <a:close/>
                  <a:moveTo>
                    <a:pt x="1245" y="33"/>
                  </a:moveTo>
                  <a:cubicBezTo>
                    <a:pt x="1246" y="34"/>
                    <a:pt x="1246" y="34"/>
                    <a:pt x="1246" y="34"/>
                  </a:cubicBezTo>
                  <a:cubicBezTo>
                    <a:pt x="1246" y="33"/>
                    <a:pt x="1246" y="33"/>
                    <a:pt x="1245" y="33"/>
                  </a:cubicBezTo>
                  <a:close/>
                  <a:moveTo>
                    <a:pt x="608" y="44"/>
                  </a:moveTo>
                  <a:cubicBezTo>
                    <a:pt x="608" y="44"/>
                    <a:pt x="608" y="45"/>
                    <a:pt x="608" y="45"/>
                  </a:cubicBezTo>
                  <a:cubicBezTo>
                    <a:pt x="608" y="44"/>
                    <a:pt x="608" y="44"/>
                    <a:pt x="608" y="44"/>
                  </a:cubicBezTo>
                  <a:close/>
                  <a:moveTo>
                    <a:pt x="641" y="43"/>
                  </a:moveTo>
                  <a:cubicBezTo>
                    <a:pt x="641" y="43"/>
                    <a:pt x="642" y="42"/>
                    <a:pt x="642" y="42"/>
                  </a:cubicBezTo>
                  <a:cubicBezTo>
                    <a:pt x="641" y="42"/>
                    <a:pt x="641" y="43"/>
                    <a:pt x="641" y="43"/>
                  </a:cubicBezTo>
                  <a:close/>
                  <a:moveTo>
                    <a:pt x="1466" y="24"/>
                  </a:moveTo>
                  <a:cubicBezTo>
                    <a:pt x="1466" y="24"/>
                    <a:pt x="1466" y="25"/>
                    <a:pt x="1467" y="25"/>
                  </a:cubicBezTo>
                  <a:cubicBezTo>
                    <a:pt x="1467" y="25"/>
                    <a:pt x="1467" y="24"/>
                    <a:pt x="1466" y="24"/>
                  </a:cubicBezTo>
                  <a:close/>
                  <a:moveTo>
                    <a:pt x="1301" y="34"/>
                  </a:moveTo>
                  <a:cubicBezTo>
                    <a:pt x="1302" y="34"/>
                    <a:pt x="1302" y="34"/>
                    <a:pt x="1302" y="33"/>
                  </a:cubicBezTo>
                  <a:cubicBezTo>
                    <a:pt x="1302" y="33"/>
                    <a:pt x="1301" y="33"/>
                    <a:pt x="1301" y="34"/>
                  </a:cubicBezTo>
                  <a:close/>
                  <a:moveTo>
                    <a:pt x="1310" y="33"/>
                  </a:moveTo>
                  <a:cubicBezTo>
                    <a:pt x="1310" y="34"/>
                    <a:pt x="1311" y="34"/>
                    <a:pt x="1311" y="34"/>
                  </a:cubicBezTo>
                  <a:cubicBezTo>
                    <a:pt x="1311" y="33"/>
                    <a:pt x="1310" y="33"/>
                    <a:pt x="1310" y="33"/>
                  </a:cubicBezTo>
                  <a:close/>
                  <a:moveTo>
                    <a:pt x="672" y="34"/>
                  </a:moveTo>
                  <a:cubicBezTo>
                    <a:pt x="673" y="34"/>
                    <a:pt x="673" y="34"/>
                    <a:pt x="674" y="34"/>
                  </a:cubicBezTo>
                  <a:cubicBezTo>
                    <a:pt x="673" y="34"/>
                    <a:pt x="673" y="34"/>
                    <a:pt x="672" y="34"/>
                  </a:cubicBezTo>
                  <a:close/>
                  <a:moveTo>
                    <a:pt x="691" y="34"/>
                  </a:moveTo>
                  <a:cubicBezTo>
                    <a:pt x="691" y="34"/>
                    <a:pt x="692" y="34"/>
                    <a:pt x="692" y="34"/>
                  </a:cubicBezTo>
                  <a:cubicBezTo>
                    <a:pt x="692" y="34"/>
                    <a:pt x="692" y="34"/>
                    <a:pt x="691" y="34"/>
                  </a:cubicBezTo>
                  <a:close/>
                  <a:moveTo>
                    <a:pt x="640" y="47"/>
                  </a:moveTo>
                  <a:cubicBezTo>
                    <a:pt x="640" y="47"/>
                    <a:pt x="640" y="46"/>
                    <a:pt x="640" y="46"/>
                  </a:cubicBezTo>
                  <a:cubicBezTo>
                    <a:pt x="640" y="46"/>
                    <a:pt x="640" y="46"/>
                    <a:pt x="640" y="47"/>
                  </a:cubicBezTo>
                  <a:close/>
                  <a:moveTo>
                    <a:pt x="632" y="67"/>
                  </a:moveTo>
                  <a:cubicBezTo>
                    <a:pt x="633" y="66"/>
                    <a:pt x="633" y="66"/>
                    <a:pt x="633" y="66"/>
                  </a:cubicBezTo>
                  <a:cubicBezTo>
                    <a:pt x="632" y="66"/>
                    <a:pt x="632" y="66"/>
                    <a:pt x="632" y="67"/>
                  </a:cubicBezTo>
                  <a:close/>
                  <a:moveTo>
                    <a:pt x="840" y="34"/>
                  </a:moveTo>
                  <a:cubicBezTo>
                    <a:pt x="841" y="34"/>
                    <a:pt x="841" y="34"/>
                    <a:pt x="841" y="34"/>
                  </a:cubicBezTo>
                  <a:cubicBezTo>
                    <a:pt x="841" y="34"/>
                    <a:pt x="841" y="34"/>
                    <a:pt x="840" y="34"/>
                  </a:cubicBezTo>
                  <a:close/>
                  <a:moveTo>
                    <a:pt x="1264" y="52"/>
                  </a:moveTo>
                  <a:cubicBezTo>
                    <a:pt x="1264" y="53"/>
                    <a:pt x="1264" y="53"/>
                    <a:pt x="1265" y="54"/>
                  </a:cubicBezTo>
                  <a:cubicBezTo>
                    <a:pt x="1265" y="53"/>
                    <a:pt x="1265" y="53"/>
                    <a:pt x="1264" y="52"/>
                  </a:cubicBezTo>
                  <a:close/>
                  <a:moveTo>
                    <a:pt x="632" y="68"/>
                  </a:moveTo>
                  <a:cubicBezTo>
                    <a:pt x="632" y="67"/>
                    <a:pt x="632" y="67"/>
                    <a:pt x="632" y="67"/>
                  </a:cubicBezTo>
                  <a:cubicBezTo>
                    <a:pt x="632" y="67"/>
                    <a:pt x="632" y="67"/>
                    <a:pt x="632" y="68"/>
                  </a:cubicBezTo>
                  <a:close/>
                  <a:moveTo>
                    <a:pt x="559" y="17"/>
                  </a:moveTo>
                  <a:cubicBezTo>
                    <a:pt x="559" y="17"/>
                    <a:pt x="558" y="17"/>
                    <a:pt x="558" y="17"/>
                  </a:cubicBezTo>
                  <a:cubicBezTo>
                    <a:pt x="558" y="17"/>
                    <a:pt x="559" y="17"/>
                    <a:pt x="559" y="17"/>
                  </a:cubicBezTo>
                  <a:close/>
                  <a:moveTo>
                    <a:pt x="576" y="17"/>
                  </a:moveTo>
                  <a:cubicBezTo>
                    <a:pt x="576" y="17"/>
                    <a:pt x="576" y="17"/>
                    <a:pt x="575" y="17"/>
                  </a:cubicBezTo>
                  <a:cubicBezTo>
                    <a:pt x="576" y="17"/>
                    <a:pt x="576" y="17"/>
                    <a:pt x="576" y="17"/>
                  </a:cubicBezTo>
                  <a:close/>
                  <a:moveTo>
                    <a:pt x="716" y="17"/>
                  </a:moveTo>
                  <a:cubicBezTo>
                    <a:pt x="716" y="17"/>
                    <a:pt x="717" y="17"/>
                    <a:pt x="717" y="17"/>
                  </a:cubicBezTo>
                  <a:cubicBezTo>
                    <a:pt x="717" y="17"/>
                    <a:pt x="716" y="17"/>
                    <a:pt x="716" y="17"/>
                  </a:cubicBezTo>
                  <a:close/>
                  <a:moveTo>
                    <a:pt x="989" y="17"/>
                  </a:moveTo>
                  <a:cubicBezTo>
                    <a:pt x="989" y="17"/>
                    <a:pt x="988" y="17"/>
                    <a:pt x="988" y="17"/>
                  </a:cubicBezTo>
                  <a:cubicBezTo>
                    <a:pt x="989" y="17"/>
                    <a:pt x="989" y="17"/>
                    <a:pt x="989" y="17"/>
                  </a:cubicBezTo>
                  <a:close/>
                  <a:moveTo>
                    <a:pt x="1010" y="17"/>
                  </a:moveTo>
                  <a:cubicBezTo>
                    <a:pt x="1010" y="17"/>
                    <a:pt x="1009" y="17"/>
                    <a:pt x="1009" y="17"/>
                  </a:cubicBezTo>
                  <a:cubicBezTo>
                    <a:pt x="1009" y="17"/>
                    <a:pt x="1010" y="17"/>
                    <a:pt x="1010" y="17"/>
                  </a:cubicBezTo>
                  <a:close/>
                  <a:moveTo>
                    <a:pt x="1477" y="21"/>
                  </a:moveTo>
                  <a:cubicBezTo>
                    <a:pt x="1478" y="20"/>
                    <a:pt x="1478" y="20"/>
                    <a:pt x="1478" y="20"/>
                  </a:cubicBezTo>
                  <a:cubicBezTo>
                    <a:pt x="1478" y="20"/>
                    <a:pt x="1477" y="20"/>
                    <a:pt x="1477" y="21"/>
                  </a:cubicBezTo>
                  <a:close/>
                  <a:moveTo>
                    <a:pt x="1030" y="58"/>
                  </a:moveTo>
                  <a:cubicBezTo>
                    <a:pt x="1031" y="57"/>
                    <a:pt x="1031" y="57"/>
                    <a:pt x="1031" y="57"/>
                  </a:cubicBezTo>
                  <a:cubicBezTo>
                    <a:pt x="1030" y="57"/>
                    <a:pt x="1030" y="57"/>
                    <a:pt x="1030" y="58"/>
                  </a:cubicBezTo>
                  <a:close/>
                  <a:moveTo>
                    <a:pt x="898" y="34"/>
                  </a:moveTo>
                  <a:cubicBezTo>
                    <a:pt x="899" y="34"/>
                    <a:pt x="899" y="34"/>
                    <a:pt x="899" y="34"/>
                  </a:cubicBezTo>
                  <a:cubicBezTo>
                    <a:pt x="899" y="34"/>
                    <a:pt x="899" y="34"/>
                    <a:pt x="898" y="34"/>
                  </a:cubicBezTo>
                  <a:close/>
                  <a:moveTo>
                    <a:pt x="911" y="47"/>
                  </a:moveTo>
                  <a:cubicBezTo>
                    <a:pt x="911" y="47"/>
                    <a:pt x="911" y="48"/>
                    <a:pt x="911" y="48"/>
                  </a:cubicBezTo>
                  <a:cubicBezTo>
                    <a:pt x="911" y="48"/>
                    <a:pt x="911" y="47"/>
                    <a:pt x="911" y="47"/>
                  </a:cubicBezTo>
                  <a:close/>
                  <a:moveTo>
                    <a:pt x="651" y="46"/>
                  </a:moveTo>
                  <a:cubicBezTo>
                    <a:pt x="651" y="46"/>
                    <a:pt x="651" y="46"/>
                    <a:pt x="651" y="47"/>
                  </a:cubicBezTo>
                  <a:cubicBezTo>
                    <a:pt x="651" y="47"/>
                    <a:pt x="651" y="46"/>
                    <a:pt x="651" y="46"/>
                  </a:cubicBezTo>
                  <a:close/>
                  <a:moveTo>
                    <a:pt x="1051" y="34"/>
                  </a:moveTo>
                  <a:cubicBezTo>
                    <a:pt x="1051" y="34"/>
                    <a:pt x="1052" y="34"/>
                    <a:pt x="1052" y="34"/>
                  </a:cubicBezTo>
                  <a:cubicBezTo>
                    <a:pt x="1052" y="34"/>
                    <a:pt x="1051" y="34"/>
                    <a:pt x="1051" y="34"/>
                  </a:cubicBezTo>
                  <a:close/>
                  <a:moveTo>
                    <a:pt x="804" y="50"/>
                  </a:moveTo>
                  <a:cubicBezTo>
                    <a:pt x="804" y="51"/>
                    <a:pt x="804" y="51"/>
                    <a:pt x="804" y="51"/>
                  </a:cubicBezTo>
                  <a:cubicBezTo>
                    <a:pt x="804" y="51"/>
                    <a:pt x="804" y="51"/>
                    <a:pt x="804" y="50"/>
                  </a:cubicBezTo>
                  <a:close/>
                  <a:moveTo>
                    <a:pt x="1683" y="25"/>
                  </a:moveTo>
                  <a:cubicBezTo>
                    <a:pt x="1683" y="25"/>
                    <a:pt x="1683" y="25"/>
                    <a:pt x="1684" y="26"/>
                  </a:cubicBezTo>
                  <a:cubicBezTo>
                    <a:pt x="1684" y="25"/>
                    <a:pt x="1684" y="25"/>
                    <a:pt x="1683" y="25"/>
                  </a:cubicBezTo>
                  <a:close/>
                  <a:moveTo>
                    <a:pt x="1069" y="34"/>
                  </a:moveTo>
                  <a:cubicBezTo>
                    <a:pt x="1069" y="34"/>
                    <a:pt x="1070" y="34"/>
                    <a:pt x="1070" y="34"/>
                  </a:cubicBezTo>
                  <a:cubicBezTo>
                    <a:pt x="1070" y="34"/>
                    <a:pt x="1069" y="34"/>
                    <a:pt x="1069" y="34"/>
                  </a:cubicBezTo>
                  <a:close/>
                  <a:moveTo>
                    <a:pt x="638" y="51"/>
                  </a:moveTo>
                  <a:cubicBezTo>
                    <a:pt x="639" y="50"/>
                    <a:pt x="639" y="50"/>
                    <a:pt x="639" y="50"/>
                  </a:cubicBezTo>
                  <a:cubicBezTo>
                    <a:pt x="638" y="50"/>
                    <a:pt x="638" y="50"/>
                    <a:pt x="638" y="51"/>
                  </a:cubicBezTo>
                  <a:close/>
                  <a:moveTo>
                    <a:pt x="1123" y="34"/>
                  </a:moveTo>
                  <a:cubicBezTo>
                    <a:pt x="1124" y="34"/>
                    <a:pt x="1124" y="34"/>
                    <a:pt x="1124" y="34"/>
                  </a:cubicBezTo>
                  <a:cubicBezTo>
                    <a:pt x="1124" y="34"/>
                    <a:pt x="1124" y="34"/>
                    <a:pt x="1123" y="34"/>
                  </a:cubicBezTo>
                  <a:close/>
                  <a:moveTo>
                    <a:pt x="1140" y="34"/>
                  </a:moveTo>
                  <a:cubicBezTo>
                    <a:pt x="1141" y="34"/>
                    <a:pt x="1141" y="34"/>
                    <a:pt x="1141" y="34"/>
                  </a:cubicBezTo>
                  <a:cubicBezTo>
                    <a:pt x="1141" y="34"/>
                    <a:pt x="1141" y="34"/>
                    <a:pt x="1140" y="34"/>
                  </a:cubicBezTo>
                  <a:close/>
                  <a:moveTo>
                    <a:pt x="1385" y="26"/>
                  </a:moveTo>
                  <a:cubicBezTo>
                    <a:pt x="1385" y="26"/>
                    <a:pt x="1385" y="25"/>
                    <a:pt x="1385" y="25"/>
                  </a:cubicBezTo>
                  <a:cubicBezTo>
                    <a:pt x="1385" y="25"/>
                    <a:pt x="1385" y="26"/>
                    <a:pt x="1385" y="26"/>
                  </a:cubicBezTo>
                  <a:close/>
                  <a:moveTo>
                    <a:pt x="1414" y="26"/>
                  </a:moveTo>
                  <a:cubicBezTo>
                    <a:pt x="1414" y="26"/>
                    <a:pt x="1414" y="25"/>
                    <a:pt x="1414" y="25"/>
                  </a:cubicBezTo>
                  <a:cubicBezTo>
                    <a:pt x="1414" y="25"/>
                    <a:pt x="1414" y="26"/>
                    <a:pt x="1414" y="26"/>
                  </a:cubicBezTo>
                  <a:close/>
                  <a:moveTo>
                    <a:pt x="952" y="43"/>
                  </a:moveTo>
                  <a:cubicBezTo>
                    <a:pt x="952" y="43"/>
                    <a:pt x="952" y="42"/>
                    <a:pt x="952" y="42"/>
                  </a:cubicBezTo>
                  <a:cubicBezTo>
                    <a:pt x="952" y="42"/>
                    <a:pt x="952" y="43"/>
                    <a:pt x="952" y="43"/>
                  </a:cubicBezTo>
                  <a:close/>
                  <a:moveTo>
                    <a:pt x="1467" y="25"/>
                  </a:moveTo>
                  <a:cubicBezTo>
                    <a:pt x="1467" y="25"/>
                    <a:pt x="1467" y="26"/>
                    <a:pt x="1467" y="26"/>
                  </a:cubicBezTo>
                  <a:cubicBezTo>
                    <a:pt x="1467" y="26"/>
                    <a:pt x="1467" y="25"/>
                    <a:pt x="1467" y="25"/>
                  </a:cubicBezTo>
                  <a:close/>
                  <a:moveTo>
                    <a:pt x="1229" y="34"/>
                  </a:moveTo>
                  <a:cubicBezTo>
                    <a:pt x="1229" y="34"/>
                    <a:pt x="1230" y="34"/>
                    <a:pt x="1230" y="34"/>
                  </a:cubicBezTo>
                  <a:cubicBezTo>
                    <a:pt x="1229" y="34"/>
                    <a:pt x="1229" y="34"/>
                    <a:pt x="1229" y="34"/>
                  </a:cubicBezTo>
                  <a:close/>
                  <a:moveTo>
                    <a:pt x="715" y="18"/>
                  </a:moveTo>
                  <a:cubicBezTo>
                    <a:pt x="715" y="18"/>
                    <a:pt x="716" y="18"/>
                    <a:pt x="716" y="17"/>
                  </a:cubicBezTo>
                  <a:cubicBezTo>
                    <a:pt x="716" y="17"/>
                    <a:pt x="715" y="17"/>
                    <a:pt x="715" y="18"/>
                  </a:cubicBezTo>
                  <a:close/>
                  <a:moveTo>
                    <a:pt x="988" y="17"/>
                  </a:moveTo>
                  <a:cubicBezTo>
                    <a:pt x="988" y="17"/>
                    <a:pt x="987" y="17"/>
                    <a:pt x="987" y="18"/>
                  </a:cubicBezTo>
                  <a:cubicBezTo>
                    <a:pt x="987" y="18"/>
                    <a:pt x="988" y="18"/>
                    <a:pt x="988" y="17"/>
                  </a:cubicBezTo>
                  <a:close/>
                  <a:moveTo>
                    <a:pt x="1011" y="18"/>
                  </a:moveTo>
                  <a:cubicBezTo>
                    <a:pt x="1011" y="17"/>
                    <a:pt x="1011" y="17"/>
                    <a:pt x="1010" y="17"/>
                  </a:cubicBezTo>
                  <a:cubicBezTo>
                    <a:pt x="1010" y="18"/>
                    <a:pt x="1011" y="18"/>
                    <a:pt x="1011" y="18"/>
                  </a:cubicBezTo>
                  <a:close/>
                  <a:moveTo>
                    <a:pt x="1247" y="34"/>
                  </a:moveTo>
                  <a:cubicBezTo>
                    <a:pt x="1247" y="34"/>
                    <a:pt x="1247" y="34"/>
                    <a:pt x="1248" y="34"/>
                  </a:cubicBezTo>
                  <a:cubicBezTo>
                    <a:pt x="1248" y="34"/>
                    <a:pt x="1247" y="34"/>
                    <a:pt x="1247" y="34"/>
                  </a:cubicBezTo>
                  <a:close/>
                  <a:moveTo>
                    <a:pt x="1209" y="56"/>
                  </a:moveTo>
                  <a:cubicBezTo>
                    <a:pt x="1209" y="56"/>
                    <a:pt x="1209" y="56"/>
                    <a:pt x="1209" y="55"/>
                  </a:cubicBezTo>
                  <a:cubicBezTo>
                    <a:pt x="1208" y="55"/>
                    <a:pt x="1209" y="56"/>
                    <a:pt x="1209" y="56"/>
                  </a:cubicBezTo>
                  <a:close/>
                  <a:moveTo>
                    <a:pt x="901" y="53"/>
                  </a:moveTo>
                  <a:cubicBezTo>
                    <a:pt x="901" y="53"/>
                    <a:pt x="901" y="53"/>
                    <a:pt x="901" y="52"/>
                  </a:cubicBezTo>
                  <a:cubicBezTo>
                    <a:pt x="901" y="53"/>
                    <a:pt x="900" y="53"/>
                    <a:pt x="901" y="53"/>
                  </a:cubicBezTo>
                  <a:close/>
                  <a:moveTo>
                    <a:pt x="549" y="34"/>
                  </a:moveTo>
                  <a:cubicBezTo>
                    <a:pt x="549" y="34"/>
                    <a:pt x="549" y="35"/>
                    <a:pt x="549" y="35"/>
                  </a:cubicBezTo>
                  <a:cubicBezTo>
                    <a:pt x="549" y="35"/>
                    <a:pt x="549" y="34"/>
                    <a:pt x="549" y="34"/>
                  </a:cubicBezTo>
                  <a:close/>
                  <a:moveTo>
                    <a:pt x="671" y="34"/>
                  </a:moveTo>
                  <a:cubicBezTo>
                    <a:pt x="672" y="34"/>
                    <a:pt x="672" y="34"/>
                    <a:pt x="673" y="34"/>
                  </a:cubicBezTo>
                  <a:cubicBezTo>
                    <a:pt x="672" y="34"/>
                    <a:pt x="672" y="34"/>
                    <a:pt x="671" y="34"/>
                  </a:cubicBezTo>
                  <a:close/>
                  <a:moveTo>
                    <a:pt x="692" y="34"/>
                  </a:moveTo>
                  <a:cubicBezTo>
                    <a:pt x="693" y="34"/>
                    <a:pt x="693" y="34"/>
                    <a:pt x="693" y="34"/>
                  </a:cubicBezTo>
                  <a:cubicBezTo>
                    <a:pt x="693" y="34"/>
                    <a:pt x="693" y="34"/>
                    <a:pt x="692" y="34"/>
                  </a:cubicBezTo>
                  <a:close/>
                  <a:moveTo>
                    <a:pt x="1581" y="40"/>
                  </a:moveTo>
                  <a:cubicBezTo>
                    <a:pt x="1580" y="41"/>
                    <a:pt x="1580" y="41"/>
                    <a:pt x="1580" y="42"/>
                  </a:cubicBezTo>
                  <a:cubicBezTo>
                    <a:pt x="1581" y="41"/>
                    <a:pt x="1581" y="41"/>
                    <a:pt x="1581" y="40"/>
                  </a:cubicBezTo>
                  <a:close/>
                  <a:moveTo>
                    <a:pt x="653" y="42"/>
                  </a:moveTo>
                  <a:cubicBezTo>
                    <a:pt x="652" y="43"/>
                    <a:pt x="652" y="43"/>
                    <a:pt x="652" y="43"/>
                  </a:cubicBezTo>
                  <a:cubicBezTo>
                    <a:pt x="653" y="43"/>
                    <a:pt x="653" y="43"/>
                    <a:pt x="653" y="42"/>
                  </a:cubicBezTo>
                  <a:close/>
                  <a:moveTo>
                    <a:pt x="678" y="42"/>
                  </a:moveTo>
                  <a:cubicBezTo>
                    <a:pt x="677" y="42"/>
                    <a:pt x="677" y="42"/>
                    <a:pt x="677" y="43"/>
                  </a:cubicBezTo>
                  <a:cubicBezTo>
                    <a:pt x="677" y="43"/>
                    <a:pt x="677" y="43"/>
                    <a:pt x="678" y="42"/>
                  </a:cubicBezTo>
                  <a:close/>
                  <a:moveTo>
                    <a:pt x="604" y="65"/>
                  </a:moveTo>
                  <a:cubicBezTo>
                    <a:pt x="604" y="64"/>
                    <a:pt x="604" y="64"/>
                    <a:pt x="604" y="64"/>
                  </a:cubicBezTo>
                  <a:cubicBezTo>
                    <a:pt x="604" y="64"/>
                    <a:pt x="603" y="64"/>
                    <a:pt x="604" y="65"/>
                  </a:cubicBezTo>
                  <a:close/>
                  <a:moveTo>
                    <a:pt x="610" y="51"/>
                  </a:moveTo>
                  <a:cubicBezTo>
                    <a:pt x="610" y="51"/>
                    <a:pt x="610" y="51"/>
                    <a:pt x="611" y="52"/>
                  </a:cubicBezTo>
                  <a:cubicBezTo>
                    <a:pt x="611" y="51"/>
                    <a:pt x="611" y="51"/>
                    <a:pt x="610" y="51"/>
                  </a:cubicBezTo>
                  <a:close/>
                  <a:moveTo>
                    <a:pt x="1153" y="47"/>
                  </a:moveTo>
                  <a:cubicBezTo>
                    <a:pt x="1153" y="47"/>
                    <a:pt x="1153" y="48"/>
                    <a:pt x="1154" y="48"/>
                  </a:cubicBezTo>
                  <a:cubicBezTo>
                    <a:pt x="1154" y="48"/>
                    <a:pt x="1154" y="47"/>
                    <a:pt x="1153" y="47"/>
                  </a:cubicBezTo>
                  <a:close/>
                  <a:moveTo>
                    <a:pt x="598" y="50"/>
                  </a:moveTo>
                  <a:cubicBezTo>
                    <a:pt x="598" y="50"/>
                    <a:pt x="598" y="50"/>
                    <a:pt x="598" y="49"/>
                  </a:cubicBezTo>
                  <a:cubicBezTo>
                    <a:pt x="598" y="50"/>
                    <a:pt x="598" y="50"/>
                    <a:pt x="598" y="50"/>
                  </a:cubicBezTo>
                  <a:close/>
                  <a:moveTo>
                    <a:pt x="829" y="55"/>
                  </a:moveTo>
                  <a:cubicBezTo>
                    <a:pt x="829" y="55"/>
                    <a:pt x="829" y="56"/>
                    <a:pt x="829" y="56"/>
                  </a:cubicBezTo>
                  <a:cubicBezTo>
                    <a:pt x="829" y="56"/>
                    <a:pt x="829" y="55"/>
                    <a:pt x="829" y="55"/>
                  </a:cubicBezTo>
                  <a:close/>
                  <a:moveTo>
                    <a:pt x="841" y="42"/>
                  </a:moveTo>
                  <a:cubicBezTo>
                    <a:pt x="841" y="42"/>
                    <a:pt x="840" y="42"/>
                    <a:pt x="840" y="43"/>
                  </a:cubicBezTo>
                  <a:cubicBezTo>
                    <a:pt x="840" y="43"/>
                    <a:pt x="841" y="43"/>
                    <a:pt x="841" y="42"/>
                  </a:cubicBezTo>
                  <a:close/>
                  <a:moveTo>
                    <a:pt x="849" y="43"/>
                  </a:moveTo>
                  <a:cubicBezTo>
                    <a:pt x="849" y="42"/>
                    <a:pt x="848" y="42"/>
                    <a:pt x="848" y="42"/>
                  </a:cubicBezTo>
                  <a:cubicBezTo>
                    <a:pt x="848" y="43"/>
                    <a:pt x="849" y="43"/>
                    <a:pt x="849" y="43"/>
                  </a:cubicBezTo>
                  <a:close/>
                  <a:moveTo>
                    <a:pt x="1385" y="39"/>
                  </a:moveTo>
                  <a:cubicBezTo>
                    <a:pt x="1386" y="39"/>
                    <a:pt x="1386" y="38"/>
                    <a:pt x="1386" y="38"/>
                  </a:cubicBezTo>
                  <a:cubicBezTo>
                    <a:pt x="1385" y="38"/>
                    <a:pt x="1385" y="39"/>
                    <a:pt x="1385" y="39"/>
                  </a:cubicBezTo>
                  <a:close/>
                  <a:moveTo>
                    <a:pt x="1570" y="27"/>
                  </a:moveTo>
                  <a:cubicBezTo>
                    <a:pt x="1570" y="26"/>
                    <a:pt x="1570" y="26"/>
                    <a:pt x="1570" y="26"/>
                  </a:cubicBezTo>
                  <a:cubicBezTo>
                    <a:pt x="1570" y="26"/>
                    <a:pt x="1569" y="26"/>
                    <a:pt x="1570" y="27"/>
                  </a:cubicBezTo>
                  <a:close/>
                  <a:moveTo>
                    <a:pt x="803" y="49"/>
                  </a:moveTo>
                  <a:cubicBezTo>
                    <a:pt x="803" y="50"/>
                    <a:pt x="803" y="50"/>
                    <a:pt x="804" y="50"/>
                  </a:cubicBezTo>
                  <a:cubicBezTo>
                    <a:pt x="804" y="50"/>
                    <a:pt x="804" y="50"/>
                    <a:pt x="803" y="49"/>
                  </a:cubicBezTo>
                  <a:close/>
                  <a:moveTo>
                    <a:pt x="1738" y="27"/>
                  </a:moveTo>
                  <a:cubicBezTo>
                    <a:pt x="1738" y="26"/>
                    <a:pt x="1738" y="26"/>
                    <a:pt x="1738" y="26"/>
                  </a:cubicBezTo>
                  <a:cubicBezTo>
                    <a:pt x="1738" y="26"/>
                    <a:pt x="1738" y="26"/>
                    <a:pt x="1738" y="27"/>
                  </a:cubicBezTo>
                  <a:close/>
                  <a:moveTo>
                    <a:pt x="892" y="43"/>
                  </a:moveTo>
                  <a:cubicBezTo>
                    <a:pt x="892" y="42"/>
                    <a:pt x="891" y="42"/>
                    <a:pt x="891" y="42"/>
                  </a:cubicBezTo>
                  <a:cubicBezTo>
                    <a:pt x="891" y="43"/>
                    <a:pt x="892" y="43"/>
                    <a:pt x="892" y="43"/>
                  </a:cubicBezTo>
                  <a:close/>
                  <a:moveTo>
                    <a:pt x="964" y="42"/>
                  </a:moveTo>
                  <a:cubicBezTo>
                    <a:pt x="964" y="43"/>
                    <a:pt x="964" y="43"/>
                    <a:pt x="964" y="43"/>
                  </a:cubicBezTo>
                  <a:cubicBezTo>
                    <a:pt x="964" y="43"/>
                    <a:pt x="964" y="43"/>
                    <a:pt x="964" y="42"/>
                  </a:cubicBezTo>
                  <a:close/>
                  <a:moveTo>
                    <a:pt x="1125" y="42"/>
                  </a:moveTo>
                  <a:cubicBezTo>
                    <a:pt x="1125" y="42"/>
                    <a:pt x="1124" y="42"/>
                    <a:pt x="1124" y="43"/>
                  </a:cubicBezTo>
                  <a:cubicBezTo>
                    <a:pt x="1124" y="43"/>
                    <a:pt x="1125" y="43"/>
                    <a:pt x="1125" y="42"/>
                  </a:cubicBezTo>
                  <a:close/>
                  <a:moveTo>
                    <a:pt x="549" y="26"/>
                  </a:moveTo>
                  <a:cubicBezTo>
                    <a:pt x="549" y="26"/>
                    <a:pt x="549" y="27"/>
                    <a:pt x="549" y="27"/>
                  </a:cubicBezTo>
                  <a:cubicBezTo>
                    <a:pt x="549" y="27"/>
                    <a:pt x="549" y="26"/>
                    <a:pt x="549" y="26"/>
                  </a:cubicBezTo>
                  <a:close/>
                  <a:moveTo>
                    <a:pt x="1737" y="42"/>
                  </a:moveTo>
                  <a:cubicBezTo>
                    <a:pt x="1737" y="41"/>
                    <a:pt x="1737" y="41"/>
                    <a:pt x="1737" y="41"/>
                  </a:cubicBezTo>
                  <a:cubicBezTo>
                    <a:pt x="1737" y="41"/>
                    <a:pt x="1737" y="41"/>
                    <a:pt x="1737" y="42"/>
                  </a:cubicBezTo>
                  <a:close/>
                  <a:moveTo>
                    <a:pt x="1396" y="21"/>
                  </a:moveTo>
                  <a:cubicBezTo>
                    <a:pt x="1396" y="22"/>
                    <a:pt x="1396" y="22"/>
                    <a:pt x="1396" y="22"/>
                  </a:cubicBezTo>
                  <a:cubicBezTo>
                    <a:pt x="1396" y="22"/>
                    <a:pt x="1396" y="21"/>
                    <a:pt x="1396" y="21"/>
                  </a:cubicBezTo>
                  <a:close/>
                  <a:moveTo>
                    <a:pt x="1013" y="18"/>
                  </a:moveTo>
                  <a:cubicBezTo>
                    <a:pt x="1012" y="18"/>
                    <a:pt x="1012" y="18"/>
                    <a:pt x="1012" y="18"/>
                  </a:cubicBezTo>
                  <a:cubicBezTo>
                    <a:pt x="1012" y="18"/>
                    <a:pt x="1012" y="18"/>
                    <a:pt x="1013" y="18"/>
                  </a:cubicBezTo>
                  <a:close/>
                  <a:moveTo>
                    <a:pt x="1386" y="27"/>
                  </a:moveTo>
                  <a:cubicBezTo>
                    <a:pt x="1386" y="27"/>
                    <a:pt x="1386" y="26"/>
                    <a:pt x="1385" y="26"/>
                  </a:cubicBezTo>
                  <a:cubicBezTo>
                    <a:pt x="1385" y="26"/>
                    <a:pt x="1385" y="27"/>
                    <a:pt x="1386" y="27"/>
                  </a:cubicBezTo>
                  <a:close/>
                  <a:moveTo>
                    <a:pt x="1050" y="34"/>
                  </a:moveTo>
                  <a:cubicBezTo>
                    <a:pt x="1050" y="34"/>
                    <a:pt x="1051" y="34"/>
                    <a:pt x="1051" y="34"/>
                  </a:cubicBezTo>
                  <a:cubicBezTo>
                    <a:pt x="1050" y="34"/>
                    <a:pt x="1050" y="34"/>
                    <a:pt x="1050" y="34"/>
                  </a:cubicBezTo>
                  <a:close/>
                  <a:moveTo>
                    <a:pt x="1467" y="26"/>
                  </a:moveTo>
                  <a:cubicBezTo>
                    <a:pt x="1467" y="26"/>
                    <a:pt x="1467" y="27"/>
                    <a:pt x="1468" y="27"/>
                  </a:cubicBezTo>
                  <a:cubicBezTo>
                    <a:pt x="1468" y="27"/>
                    <a:pt x="1468" y="26"/>
                    <a:pt x="1467" y="26"/>
                  </a:cubicBezTo>
                  <a:close/>
                  <a:moveTo>
                    <a:pt x="607" y="43"/>
                  </a:moveTo>
                  <a:cubicBezTo>
                    <a:pt x="607" y="43"/>
                    <a:pt x="607" y="43"/>
                    <a:pt x="608" y="44"/>
                  </a:cubicBezTo>
                  <a:cubicBezTo>
                    <a:pt x="608" y="43"/>
                    <a:pt x="608" y="43"/>
                    <a:pt x="607" y="43"/>
                  </a:cubicBezTo>
                  <a:close/>
                  <a:moveTo>
                    <a:pt x="1070" y="34"/>
                  </a:moveTo>
                  <a:cubicBezTo>
                    <a:pt x="1070" y="34"/>
                    <a:pt x="1071" y="34"/>
                    <a:pt x="1071" y="34"/>
                  </a:cubicBezTo>
                  <a:cubicBezTo>
                    <a:pt x="1071" y="34"/>
                    <a:pt x="1070" y="34"/>
                    <a:pt x="1070" y="34"/>
                  </a:cubicBezTo>
                  <a:close/>
                  <a:moveTo>
                    <a:pt x="643" y="68"/>
                  </a:moveTo>
                  <a:cubicBezTo>
                    <a:pt x="642" y="68"/>
                    <a:pt x="642" y="68"/>
                    <a:pt x="642" y="69"/>
                  </a:cubicBezTo>
                  <a:cubicBezTo>
                    <a:pt x="643" y="69"/>
                    <a:pt x="643" y="68"/>
                    <a:pt x="643" y="68"/>
                  </a:cubicBezTo>
                  <a:close/>
                  <a:moveTo>
                    <a:pt x="1031" y="54"/>
                  </a:moveTo>
                  <a:cubicBezTo>
                    <a:pt x="1032" y="54"/>
                    <a:pt x="1032" y="54"/>
                    <a:pt x="1032" y="53"/>
                  </a:cubicBezTo>
                  <a:cubicBezTo>
                    <a:pt x="1031" y="53"/>
                    <a:pt x="1031" y="54"/>
                    <a:pt x="1031" y="54"/>
                  </a:cubicBezTo>
                  <a:close/>
                  <a:moveTo>
                    <a:pt x="689" y="43"/>
                  </a:moveTo>
                  <a:cubicBezTo>
                    <a:pt x="688" y="43"/>
                    <a:pt x="688" y="43"/>
                    <a:pt x="687" y="43"/>
                  </a:cubicBezTo>
                  <a:cubicBezTo>
                    <a:pt x="688" y="43"/>
                    <a:pt x="688" y="43"/>
                    <a:pt x="689" y="43"/>
                  </a:cubicBezTo>
                  <a:close/>
                  <a:moveTo>
                    <a:pt x="748" y="58"/>
                  </a:moveTo>
                  <a:cubicBezTo>
                    <a:pt x="748" y="58"/>
                    <a:pt x="748" y="58"/>
                    <a:pt x="748" y="57"/>
                  </a:cubicBezTo>
                  <a:cubicBezTo>
                    <a:pt x="748" y="58"/>
                    <a:pt x="748" y="58"/>
                    <a:pt x="748" y="58"/>
                  </a:cubicBezTo>
                  <a:close/>
                  <a:moveTo>
                    <a:pt x="659" y="47"/>
                  </a:moveTo>
                  <a:cubicBezTo>
                    <a:pt x="659" y="47"/>
                    <a:pt x="659" y="47"/>
                    <a:pt x="659" y="46"/>
                  </a:cubicBezTo>
                  <a:cubicBezTo>
                    <a:pt x="659" y="46"/>
                    <a:pt x="659" y="47"/>
                    <a:pt x="659" y="47"/>
                  </a:cubicBezTo>
                  <a:close/>
                  <a:moveTo>
                    <a:pt x="1248" y="34"/>
                  </a:moveTo>
                  <a:cubicBezTo>
                    <a:pt x="1248" y="34"/>
                    <a:pt x="1249" y="34"/>
                    <a:pt x="1249" y="34"/>
                  </a:cubicBezTo>
                  <a:cubicBezTo>
                    <a:pt x="1249" y="34"/>
                    <a:pt x="1248" y="34"/>
                    <a:pt x="1248" y="34"/>
                  </a:cubicBezTo>
                  <a:close/>
                  <a:moveTo>
                    <a:pt x="602" y="58"/>
                  </a:moveTo>
                  <a:cubicBezTo>
                    <a:pt x="602" y="58"/>
                    <a:pt x="601" y="58"/>
                    <a:pt x="601" y="57"/>
                  </a:cubicBezTo>
                  <a:cubicBezTo>
                    <a:pt x="601" y="58"/>
                    <a:pt x="601" y="58"/>
                    <a:pt x="602" y="58"/>
                  </a:cubicBezTo>
                  <a:close/>
                  <a:moveTo>
                    <a:pt x="580" y="18"/>
                  </a:moveTo>
                  <a:cubicBezTo>
                    <a:pt x="579" y="18"/>
                    <a:pt x="579" y="18"/>
                    <a:pt x="579" y="18"/>
                  </a:cubicBezTo>
                  <a:cubicBezTo>
                    <a:pt x="579" y="18"/>
                    <a:pt x="579" y="18"/>
                    <a:pt x="580" y="18"/>
                  </a:cubicBezTo>
                  <a:close/>
                  <a:moveTo>
                    <a:pt x="850" y="43"/>
                  </a:moveTo>
                  <a:cubicBezTo>
                    <a:pt x="850" y="43"/>
                    <a:pt x="850" y="43"/>
                    <a:pt x="849" y="43"/>
                  </a:cubicBezTo>
                  <a:cubicBezTo>
                    <a:pt x="850" y="43"/>
                    <a:pt x="850" y="43"/>
                    <a:pt x="850" y="43"/>
                  </a:cubicBezTo>
                  <a:close/>
                  <a:moveTo>
                    <a:pt x="1468" y="27"/>
                  </a:moveTo>
                  <a:cubicBezTo>
                    <a:pt x="1467" y="27"/>
                    <a:pt x="1468" y="28"/>
                    <a:pt x="1468" y="28"/>
                  </a:cubicBezTo>
                  <a:cubicBezTo>
                    <a:pt x="1468" y="28"/>
                    <a:pt x="1468" y="27"/>
                    <a:pt x="1468" y="27"/>
                  </a:cubicBezTo>
                  <a:close/>
                  <a:moveTo>
                    <a:pt x="1014" y="18"/>
                  </a:moveTo>
                  <a:cubicBezTo>
                    <a:pt x="1013" y="18"/>
                    <a:pt x="1013" y="18"/>
                    <a:pt x="1013" y="18"/>
                  </a:cubicBezTo>
                  <a:cubicBezTo>
                    <a:pt x="1013" y="18"/>
                    <a:pt x="1013" y="18"/>
                    <a:pt x="1014" y="18"/>
                  </a:cubicBezTo>
                  <a:close/>
                  <a:moveTo>
                    <a:pt x="893" y="43"/>
                  </a:moveTo>
                  <a:cubicBezTo>
                    <a:pt x="893" y="43"/>
                    <a:pt x="893" y="43"/>
                    <a:pt x="892" y="43"/>
                  </a:cubicBezTo>
                  <a:cubicBezTo>
                    <a:pt x="892" y="43"/>
                    <a:pt x="893" y="43"/>
                    <a:pt x="893" y="43"/>
                  </a:cubicBezTo>
                  <a:close/>
                  <a:moveTo>
                    <a:pt x="954" y="37"/>
                  </a:moveTo>
                  <a:cubicBezTo>
                    <a:pt x="954" y="37"/>
                    <a:pt x="954" y="36"/>
                    <a:pt x="954" y="36"/>
                  </a:cubicBezTo>
                  <a:cubicBezTo>
                    <a:pt x="954" y="36"/>
                    <a:pt x="954" y="37"/>
                    <a:pt x="954" y="37"/>
                  </a:cubicBezTo>
                  <a:close/>
                  <a:moveTo>
                    <a:pt x="911" y="46"/>
                  </a:moveTo>
                  <a:cubicBezTo>
                    <a:pt x="911" y="46"/>
                    <a:pt x="911" y="47"/>
                    <a:pt x="911" y="47"/>
                  </a:cubicBezTo>
                  <a:cubicBezTo>
                    <a:pt x="911" y="47"/>
                    <a:pt x="911" y="46"/>
                    <a:pt x="911" y="46"/>
                  </a:cubicBezTo>
                  <a:close/>
                  <a:moveTo>
                    <a:pt x="1124" y="43"/>
                  </a:moveTo>
                  <a:cubicBezTo>
                    <a:pt x="1123" y="43"/>
                    <a:pt x="1123" y="43"/>
                    <a:pt x="1123" y="43"/>
                  </a:cubicBezTo>
                  <a:cubicBezTo>
                    <a:pt x="1123" y="43"/>
                    <a:pt x="1123" y="43"/>
                    <a:pt x="1124" y="43"/>
                  </a:cubicBezTo>
                  <a:close/>
                  <a:moveTo>
                    <a:pt x="1135" y="43"/>
                  </a:moveTo>
                  <a:cubicBezTo>
                    <a:pt x="1134" y="43"/>
                    <a:pt x="1134" y="43"/>
                    <a:pt x="1134" y="43"/>
                  </a:cubicBezTo>
                  <a:cubicBezTo>
                    <a:pt x="1134" y="43"/>
                    <a:pt x="1134" y="43"/>
                    <a:pt x="1135" y="43"/>
                  </a:cubicBezTo>
                  <a:close/>
                  <a:moveTo>
                    <a:pt x="608" y="45"/>
                  </a:moveTo>
                  <a:cubicBezTo>
                    <a:pt x="608" y="45"/>
                    <a:pt x="608" y="46"/>
                    <a:pt x="608" y="46"/>
                  </a:cubicBezTo>
                  <a:cubicBezTo>
                    <a:pt x="608" y="45"/>
                    <a:pt x="609" y="45"/>
                    <a:pt x="608" y="45"/>
                  </a:cubicBezTo>
                  <a:close/>
                  <a:moveTo>
                    <a:pt x="964" y="41"/>
                  </a:moveTo>
                  <a:cubicBezTo>
                    <a:pt x="964" y="41"/>
                    <a:pt x="964" y="42"/>
                    <a:pt x="964" y="42"/>
                  </a:cubicBezTo>
                  <a:cubicBezTo>
                    <a:pt x="965" y="42"/>
                    <a:pt x="965" y="42"/>
                    <a:pt x="964" y="41"/>
                  </a:cubicBezTo>
                  <a:close/>
                  <a:moveTo>
                    <a:pt x="804" y="51"/>
                  </a:moveTo>
                  <a:cubicBezTo>
                    <a:pt x="804" y="52"/>
                    <a:pt x="804" y="52"/>
                    <a:pt x="804" y="53"/>
                  </a:cubicBezTo>
                  <a:cubicBezTo>
                    <a:pt x="804" y="52"/>
                    <a:pt x="805" y="52"/>
                    <a:pt x="804" y="51"/>
                  </a:cubicBezTo>
                  <a:close/>
                  <a:moveTo>
                    <a:pt x="644" y="36"/>
                  </a:moveTo>
                  <a:cubicBezTo>
                    <a:pt x="644" y="36"/>
                    <a:pt x="644" y="36"/>
                    <a:pt x="644" y="35"/>
                  </a:cubicBezTo>
                  <a:cubicBezTo>
                    <a:pt x="644" y="36"/>
                    <a:pt x="644" y="36"/>
                    <a:pt x="644" y="36"/>
                  </a:cubicBezTo>
                  <a:close/>
                  <a:moveTo>
                    <a:pt x="643" y="66"/>
                  </a:moveTo>
                  <a:cubicBezTo>
                    <a:pt x="643" y="66"/>
                    <a:pt x="643" y="67"/>
                    <a:pt x="643" y="67"/>
                  </a:cubicBezTo>
                  <a:cubicBezTo>
                    <a:pt x="643" y="67"/>
                    <a:pt x="643" y="66"/>
                    <a:pt x="643" y="66"/>
                  </a:cubicBezTo>
                  <a:close/>
                  <a:moveTo>
                    <a:pt x="900" y="51"/>
                  </a:moveTo>
                  <a:cubicBezTo>
                    <a:pt x="900" y="51"/>
                    <a:pt x="900" y="50"/>
                    <a:pt x="900" y="50"/>
                  </a:cubicBezTo>
                  <a:cubicBezTo>
                    <a:pt x="900" y="50"/>
                    <a:pt x="900" y="51"/>
                    <a:pt x="900" y="51"/>
                  </a:cubicBezTo>
                  <a:close/>
                  <a:moveTo>
                    <a:pt x="1748" y="43"/>
                  </a:moveTo>
                  <a:cubicBezTo>
                    <a:pt x="1748" y="43"/>
                    <a:pt x="1748" y="43"/>
                    <a:pt x="1748" y="44"/>
                  </a:cubicBezTo>
                  <a:cubicBezTo>
                    <a:pt x="1748" y="43"/>
                    <a:pt x="1748" y="43"/>
                    <a:pt x="1748" y="43"/>
                  </a:cubicBezTo>
                  <a:close/>
                  <a:moveTo>
                    <a:pt x="964" y="67"/>
                  </a:moveTo>
                  <a:cubicBezTo>
                    <a:pt x="964" y="68"/>
                    <a:pt x="964" y="68"/>
                    <a:pt x="964" y="69"/>
                  </a:cubicBezTo>
                  <a:cubicBezTo>
                    <a:pt x="964" y="68"/>
                    <a:pt x="964" y="68"/>
                    <a:pt x="964" y="67"/>
                  </a:cubicBezTo>
                  <a:close/>
                  <a:moveTo>
                    <a:pt x="953" y="38"/>
                  </a:moveTo>
                  <a:cubicBezTo>
                    <a:pt x="954" y="38"/>
                    <a:pt x="954" y="38"/>
                    <a:pt x="954" y="37"/>
                  </a:cubicBezTo>
                  <a:cubicBezTo>
                    <a:pt x="953" y="37"/>
                    <a:pt x="953" y="38"/>
                    <a:pt x="953" y="38"/>
                  </a:cubicBezTo>
                  <a:close/>
                  <a:moveTo>
                    <a:pt x="1580" y="22"/>
                  </a:moveTo>
                  <a:cubicBezTo>
                    <a:pt x="1580" y="22"/>
                    <a:pt x="1580" y="23"/>
                    <a:pt x="1581" y="23"/>
                  </a:cubicBezTo>
                  <a:cubicBezTo>
                    <a:pt x="1581" y="23"/>
                    <a:pt x="1581" y="22"/>
                    <a:pt x="1580" y="22"/>
                  </a:cubicBezTo>
                  <a:close/>
                  <a:moveTo>
                    <a:pt x="1468" y="28"/>
                  </a:moveTo>
                  <a:cubicBezTo>
                    <a:pt x="1468" y="29"/>
                    <a:pt x="1468" y="29"/>
                    <a:pt x="1468" y="29"/>
                  </a:cubicBezTo>
                  <a:cubicBezTo>
                    <a:pt x="1468" y="29"/>
                    <a:pt x="1468" y="29"/>
                    <a:pt x="1468" y="28"/>
                  </a:cubicBezTo>
                  <a:close/>
                  <a:moveTo>
                    <a:pt x="690" y="43"/>
                  </a:moveTo>
                  <a:cubicBezTo>
                    <a:pt x="690" y="43"/>
                    <a:pt x="689" y="43"/>
                    <a:pt x="689" y="43"/>
                  </a:cubicBezTo>
                  <a:cubicBezTo>
                    <a:pt x="689" y="43"/>
                    <a:pt x="690" y="43"/>
                    <a:pt x="690" y="43"/>
                  </a:cubicBezTo>
                  <a:close/>
                  <a:moveTo>
                    <a:pt x="953" y="39"/>
                  </a:moveTo>
                  <a:cubicBezTo>
                    <a:pt x="953" y="39"/>
                    <a:pt x="953" y="39"/>
                    <a:pt x="953" y="38"/>
                  </a:cubicBezTo>
                  <a:cubicBezTo>
                    <a:pt x="953" y="38"/>
                    <a:pt x="953" y="39"/>
                    <a:pt x="953" y="39"/>
                  </a:cubicBezTo>
                  <a:close/>
                  <a:moveTo>
                    <a:pt x="985" y="18"/>
                  </a:moveTo>
                  <a:cubicBezTo>
                    <a:pt x="985" y="18"/>
                    <a:pt x="984" y="18"/>
                    <a:pt x="984" y="19"/>
                  </a:cubicBezTo>
                  <a:cubicBezTo>
                    <a:pt x="984" y="19"/>
                    <a:pt x="985" y="19"/>
                    <a:pt x="985" y="18"/>
                  </a:cubicBezTo>
                  <a:close/>
                  <a:moveTo>
                    <a:pt x="1748" y="22"/>
                  </a:moveTo>
                  <a:cubicBezTo>
                    <a:pt x="1748" y="22"/>
                    <a:pt x="1748" y="23"/>
                    <a:pt x="1749" y="23"/>
                  </a:cubicBezTo>
                  <a:cubicBezTo>
                    <a:pt x="1749" y="23"/>
                    <a:pt x="1749" y="22"/>
                    <a:pt x="1748" y="22"/>
                  </a:cubicBezTo>
                  <a:close/>
                  <a:moveTo>
                    <a:pt x="964" y="66"/>
                  </a:moveTo>
                  <a:cubicBezTo>
                    <a:pt x="963" y="66"/>
                    <a:pt x="963" y="67"/>
                    <a:pt x="964" y="67"/>
                  </a:cubicBezTo>
                  <a:cubicBezTo>
                    <a:pt x="964" y="67"/>
                    <a:pt x="964" y="66"/>
                    <a:pt x="964" y="66"/>
                  </a:cubicBezTo>
                  <a:close/>
                  <a:moveTo>
                    <a:pt x="659" y="59"/>
                  </a:moveTo>
                  <a:cubicBezTo>
                    <a:pt x="659" y="58"/>
                    <a:pt x="659" y="58"/>
                    <a:pt x="659" y="58"/>
                  </a:cubicBezTo>
                  <a:cubicBezTo>
                    <a:pt x="659" y="58"/>
                    <a:pt x="659" y="58"/>
                    <a:pt x="659" y="59"/>
                  </a:cubicBezTo>
                  <a:close/>
                  <a:moveTo>
                    <a:pt x="588" y="70"/>
                  </a:moveTo>
                  <a:cubicBezTo>
                    <a:pt x="588" y="70"/>
                    <a:pt x="588" y="70"/>
                    <a:pt x="588" y="71"/>
                  </a:cubicBezTo>
                  <a:cubicBezTo>
                    <a:pt x="588" y="70"/>
                    <a:pt x="588" y="70"/>
                    <a:pt x="588" y="70"/>
                  </a:cubicBezTo>
                  <a:close/>
                  <a:moveTo>
                    <a:pt x="631" y="71"/>
                  </a:moveTo>
                  <a:cubicBezTo>
                    <a:pt x="631" y="70"/>
                    <a:pt x="631" y="70"/>
                    <a:pt x="631" y="70"/>
                  </a:cubicBezTo>
                  <a:cubicBezTo>
                    <a:pt x="631" y="70"/>
                    <a:pt x="631" y="70"/>
                    <a:pt x="631" y="71"/>
                  </a:cubicBezTo>
                  <a:close/>
                  <a:moveTo>
                    <a:pt x="952" y="71"/>
                  </a:moveTo>
                  <a:cubicBezTo>
                    <a:pt x="952" y="70"/>
                    <a:pt x="952" y="70"/>
                    <a:pt x="952" y="69"/>
                  </a:cubicBezTo>
                  <a:cubicBezTo>
                    <a:pt x="952" y="70"/>
                    <a:pt x="952" y="70"/>
                    <a:pt x="952" y="71"/>
                  </a:cubicBezTo>
                  <a:close/>
                  <a:moveTo>
                    <a:pt x="588" y="71"/>
                  </a:moveTo>
                  <a:cubicBezTo>
                    <a:pt x="588" y="71"/>
                    <a:pt x="588" y="71"/>
                    <a:pt x="589" y="72"/>
                  </a:cubicBezTo>
                  <a:cubicBezTo>
                    <a:pt x="589" y="71"/>
                    <a:pt x="589" y="71"/>
                    <a:pt x="588" y="71"/>
                  </a:cubicBezTo>
                  <a:close/>
                  <a:moveTo>
                    <a:pt x="953" y="72"/>
                  </a:moveTo>
                  <a:cubicBezTo>
                    <a:pt x="953" y="71"/>
                    <a:pt x="953" y="71"/>
                    <a:pt x="952" y="71"/>
                  </a:cubicBezTo>
                  <a:cubicBezTo>
                    <a:pt x="952" y="71"/>
                    <a:pt x="952" y="72"/>
                    <a:pt x="953" y="72"/>
                  </a:cubicBezTo>
                  <a:close/>
                  <a:moveTo>
                    <a:pt x="952" y="42"/>
                  </a:moveTo>
                  <a:cubicBezTo>
                    <a:pt x="953" y="41"/>
                    <a:pt x="953" y="41"/>
                    <a:pt x="953" y="41"/>
                  </a:cubicBezTo>
                  <a:cubicBezTo>
                    <a:pt x="952" y="41"/>
                    <a:pt x="952" y="41"/>
                    <a:pt x="952" y="42"/>
                  </a:cubicBezTo>
                  <a:close/>
                  <a:moveTo>
                    <a:pt x="607" y="73"/>
                  </a:moveTo>
                  <a:cubicBezTo>
                    <a:pt x="607" y="72"/>
                    <a:pt x="607" y="72"/>
                    <a:pt x="607" y="72"/>
                  </a:cubicBezTo>
                  <a:cubicBezTo>
                    <a:pt x="607" y="72"/>
                    <a:pt x="607" y="72"/>
                    <a:pt x="607" y="73"/>
                  </a:cubicBezTo>
                  <a:close/>
                  <a:moveTo>
                    <a:pt x="617" y="72"/>
                  </a:moveTo>
                  <a:cubicBezTo>
                    <a:pt x="617" y="72"/>
                    <a:pt x="617" y="72"/>
                    <a:pt x="618" y="73"/>
                  </a:cubicBezTo>
                  <a:cubicBezTo>
                    <a:pt x="618" y="72"/>
                    <a:pt x="618" y="72"/>
                    <a:pt x="617" y="72"/>
                  </a:cubicBezTo>
                  <a:close/>
                  <a:moveTo>
                    <a:pt x="589" y="72"/>
                  </a:moveTo>
                  <a:cubicBezTo>
                    <a:pt x="589" y="72"/>
                    <a:pt x="589" y="73"/>
                    <a:pt x="589" y="73"/>
                  </a:cubicBezTo>
                  <a:cubicBezTo>
                    <a:pt x="589" y="73"/>
                    <a:pt x="589" y="72"/>
                    <a:pt x="589" y="72"/>
                  </a:cubicBezTo>
                  <a:close/>
                  <a:moveTo>
                    <a:pt x="953" y="73"/>
                  </a:moveTo>
                  <a:cubicBezTo>
                    <a:pt x="953" y="73"/>
                    <a:pt x="953" y="72"/>
                    <a:pt x="953" y="72"/>
                  </a:cubicBezTo>
                  <a:cubicBezTo>
                    <a:pt x="953" y="72"/>
                    <a:pt x="953" y="73"/>
                    <a:pt x="953" y="73"/>
                  </a:cubicBezTo>
                  <a:close/>
                  <a:moveTo>
                    <a:pt x="618" y="73"/>
                  </a:moveTo>
                  <a:cubicBezTo>
                    <a:pt x="618" y="73"/>
                    <a:pt x="618" y="73"/>
                    <a:pt x="618" y="74"/>
                  </a:cubicBezTo>
                  <a:cubicBezTo>
                    <a:pt x="618" y="73"/>
                    <a:pt x="618" y="73"/>
                    <a:pt x="618" y="73"/>
                  </a:cubicBezTo>
                  <a:close/>
                  <a:moveTo>
                    <a:pt x="637" y="53"/>
                  </a:moveTo>
                  <a:cubicBezTo>
                    <a:pt x="638" y="53"/>
                    <a:pt x="638" y="53"/>
                    <a:pt x="638" y="52"/>
                  </a:cubicBezTo>
                  <a:cubicBezTo>
                    <a:pt x="637" y="53"/>
                    <a:pt x="637" y="53"/>
                    <a:pt x="637" y="53"/>
                  </a:cubicBezTo>
                  <a:close/>
                  <a:moveTo>
                    <a:pt x="608" y="74"/>
                  </a:moveTo>
                  <a:cubicBezTo>
                    <a:pt x="608" y="74"/>
                    <a:pt x="608" y="74"/>
                    <a:pt x="607" y="73"/>
                  </a:cubicBezTo>
                  <a:cubicBezTo>
                    <a:pt x="607" y="74"/>
                    <a:pt x="607" y="74"/>
                    <a:pt x="608" y="74"/>
                  </a:cubicBezTo>
                  <a:close/>
                  <a:moveTo>
                    <a:pt x="630" y="74"/>
                  </a:moveTo>
                  <a:cubicBezTo>
                    <a:pt x="630" y="74"/>
                    <a:pt x="630" y="74"/>
                    <a:pt x="630" y="73"/>
                  </a:cubicBezTo>
                  <a:cubicBezTo>
                    <a:pt x="630" y="74"/>
                    <a:pt x="630" y="74"/>
                    <a:pt x="630" y="74"/>
                  </a:cubicBezTo>
                  <a:close/>
                  <a:moveTo>
                    <a:pt x="618" y="74"/>
                  </a:moveTo>
                  <a:cubicBezTo>
                    <a:pt x="618" y="74"/>
                    <a:pt x="618" y="74"/>
                    <a:pt x="619" y="75"/>
                  </a:cubicBezTo>
                  <a:cubicBezTo>
                    <a:pt x="619" y="74"/>
                    <a:pt x="619" y="74"/>
                    <a:pt x="618" y="74"/>
                  </a:cubicBezTo>
                  <a:close/>
                  <a:moveTo>
                    <a:pt x="653" y="41"/>
                  </a:moveTo>
                  <a:cubicBezTo>
                    <a:pt x="653" y="41"/>
                    <a:pt x="653" y="41"/>
                    <a:pt x="653" y="42"/>
                  </a:cubicBezTo>
                  <a:cubicBezTo>
                    <a:pt x="653" y="41"/>
                    <a:pt x="653" y="41"/>
                    <a:pt x="653" y="41"/>
                  </a:cubicBezTo>
                  <a:close/>
                  <a:moveTo>
                    <a:pt x="1030" y="59"/>
                  </a:moveTo>
                  <a:cubicBezTo>
                    <a:pt x="1030" y="59"/>
                    <a:pt x="1030" y="58"/>
                    <a:pt x="1030" y="58"/>
                  </a:cubicBezTo>
                  <a:cubicBezTo>
                    <a:pt x="1030" y="58"/>
                    <a:pt x="1030" y="59"/>
                    <a:pt x="1030" y="59"/>
                  </a:cubicBezTo>
                  <a:close/>
                  <a:moveTo>
                    <a:pt x="911" y="48"/>
                  </a:moveTo>
                  <a:cubicBezTo>
                    <a:pt x="911" y="49"/>
                    <a:pt x="911" y="49"/>
                    <a:pt x="912" y="49"/>
                  </a:cubicBezTo>
                  <a:cubicBezTo>
                    <a:pt x="912" y="49"/>
                    <a:pt x="912" y="49"/>
                    <a:pt x="911" y="48"/>
                  </a:cubicBezTo>
                  <a:close/>
                  <a:moveTo>
                    <a:pt x="1469" y="75"/>
                  </a:moveTo>
                  <a:cubicBezTo>
                    <a:pt x="1469" y="75"/>
                    <a:pt x="1469" y="75"/>
                    <a:pt x="1469" y="76"/>
                  </a:cubicBezTo>
                  <a:cubicBezTo>
                    <a:pt x="1469" y="75"/>
                    <a:pt x="1469" y="75"/>
                    <a:pt x="1469" y="75"/>
                  </a:cubicBezTo>
                  <a:close/>
                  <a:moveTo>
                    <a:pt x="1385" y="41"/>
                  </a:moveTo>
                  <a:cubicBezTo>
                    <a:pt x="1385" y="41"/>
                    <a:pt x="1385" y="41"/>
                    <a:pt x="1385" y="40"/>
                  </a:cubicBezTo>
                  <a:cubicBezTo>
                    <a:pt x="1385" y="41"/>
                    <a:pt x="1385" y="41"/>
                    <a:pt x="1385" y="41"/>
                  </a:cubicBezTo>
                  <a:close/>
                  <a:moveTo>
                    <a:pt x="1666" y="58"/>
                  </a:moveTo>
                  <a:cubicBezTo>
                    <a:pt x="1665" y="58"/>
                    <a:pt x="1665" y="58"/>
                    <a:pt x="1665" y="58"/>
                  </a:cubicBezTo>
                  <a:cubicBezTo>
                    <a:pt x="1665" y="58"/>
                    <a:pt x="1665" y="58"/>
                    <a:pt x="1666" y="58"/>
                  </a:cubicBezTo>
                  <a:close/>
                  <a:moveTo>
                    <a:pt x="629" y="77"/>
                  </a:moveTo>
                  <a:cubicBezTo>
                    <a:pt x="629" y="77"/>
                    <a:pt x="629" y="77"/>
                    <a:pt x="629" y="76"/>
                  </a:cubicBezTo>
                  <a:cubicBezTo>
                    <a:pt x="629" y="76"/>
                    <a:pt x="629" y="77"/>
                    <a:pt x="629" y="77"/>
                  </a:cubicBezTo>
                  <a:close/>
                  <a:moveTo>
                    <a:pt x="954" y="77"/>
                  </a:moveTo>
                  <a:cubicBezTo>
                    <a:pt x="954" y="77"/>
                    <a:pt x="954" y="76"/>
                    <a:pt x="954" y="76"/>
                  </a:cubicBezTo>
                  <a:cubicBezTo>
                    <a:pt x="954" y="76"/>
                    <a:pt x="954" y="77"/>
                    <a:pt x="954" y="77"/>
                  </a:cubicBezTo>
                  <a:close/>
                  <a:moveTo>
                    <a:pt x="1469" y="76"/>
                  </a:moveTo>
                  <a:cubicBezTo>
                    <a:pt x="1468" y="76"/>
                    <a:pt x="1468" y="77"/>
                    <a:pt x="1468" y="77"/>
                  </a:cubicBezTo>
                  <a:cubicBezTo>
                    <a:pt x="1469" y="77"/>
                    <a:pt x="1469" y="76"/>
                    <a:pt x="1469" y="76"/>
                  </a:cubicBezTo>
                  <a:close/>
                  <a:moveTo>
                    <a:pt x="699" y="77"/>
                  </a:moveTo>
                  <a:cubicBezTo>
                    <a:pt x="699" y="77"/>
                    <a:pt x="699" y="78"/>
                    <a:pt x="699" y="78"/>
                  </a:cubicBezTo>
                  <a:cubicBezTo>
                    <a:pt x="699" y="77"/>
                    <a:pt x="699" y="77"/>
                    <a:pt x="699" y="77"/>
                  </a:cubicBezTo>
                  <a:close/>
                  <a:moveTo>
                    <a:pt x="759" y="77"/>
                  </a:moveTo>
                  <a:cubicBezTo>
                    <a:pt x="759" y="78"/>
                    <a:pt x="759" y="78"/>
                    <a:pt x="759" y="79"/>
                  </a:cubicBezTo>
                  <a:cubicBezTo>
                    <a:pt x="759" y="78"/>
                    <a:pt x="760" y="78"/>
                    <a:pt x="759" y="77"/>
                  </a:cubicBezTo>
                  <a:close/>
                  <a:moveTo>
                    <a:pt x="1468" y="77"/>
                  </a:moveTo>
                  <a:cubicBezTo>
                    <a:pt x="1468" y="78"/>
                    <a:pt x="1468" y="78"/>
                    <a:pt x="1468" y="79"/>
                  </a:cubicBezTo>
                  <a:cubicBezTo>
                    <a:pt x="1468" y="78"/>
                    <a:pt x="1468" y="78"/>
                    <a:pt x="1468" y="77"/>
                  </a:cubicBezTo>
                  <a:close/>
                  <a:moveTo>
                    <a:pt x="699" y="78"/>
                  </a:moveTo>
                  <a:cubicBezTo>
                    <a:pt x="699" y="78"/>
                    <a:pt x="699" y="79"/>
                    <a:pt x="699" y="79"/>
                  </a:cubicBezTo>
                  <a:cubicBezTo>
                    <a:pt x="699" y="79"/>
                    <a:pt x="699" y="78"/>
                    <a:pt x="699" y="78"/>
                  </a:cubicBezTo>
                  <a:close/>
                  <a:moveTo>
                    <a:pt x="1041" y="78"/>
                  </a:moveTo>
                  <a:cubicBezTo>
                    <a:pt x="1041" y="79"/>
                    <a:pt x="1041" y="79"/>
                    <a:pt x="1042" y="79"/>
                  </a:cubicBezTo>
                  <a:cubicBezTo>
                    <a:pt x="1042" y="79"/>
                    <a:pt x="1042" y="78"/>
                    <a:pt x="1041" y="78"/>
                  </a:cubicBezTo>
                  <a:close/>
                  <a:moveTo>
                    <a:pt x="1219" y="78"/>
                  </a:moveTo>
                  <a:cubicBezTo>
                    <a:pt x="1219" y="79"/>
                    <a:pt x="1219" y="79"/>
                    <a:pt x="1220" y="79"/>
                  </a:cubicBezTo>
                  <a:cubicBezTo>
                    <a:pt x="1220" y="79"/>
                    <a:pt x="1220" y="78"/>
                    <a:pt x="1219" y="78"/>
                  </a:cubicBezTo>
                  <a:close/>
                  <a:moveTo>
                    <a:pt x="620" y="79"/>
                  </a:moveTo>
                  <a:cubicBezTo>
                    <a:pt x="620" y="79"/>
                    <a:pt x="620" y="79"/>
                    <a:pt x="620" y="80"/>
                  </a:cubicBezTo>
                  <a:cubicBezTo>
                    <a:pt x="620" y="79"/>
                    <a:pt x="620" y="79"/>
                    <a:pt x="620" y="79"/>
                  </a:cubicBezTo>
                  <a:close/>
                  <a:moveTo>
                    <a:pt x="1412" y="80"/>
                  </a:moveTo>
                  <a:cubicBezTo>
                    <a:pt x="1412" y="79"/>
                    <a:pt x="1412" y="79"/>
                    <a:pt x="1412" y="79"/>
                  </a:cubicBezTo>
                  <a:cubicBezTo>
                    <a:pt x="1412" y="79"/>
                    <a:pt x="1412" y="79"/>
                    <a:pt x="1412" y="80"/>
                  </a:cubicBezTo>
                  <a:close/>
                  <a:moveTo>
                    <a:pt x="1468" y="79"/>
                  </a:moveTo>
                  <a:cubicBezTo>
                    <a:pt x="1468" y="79"/>
                    <a:pt x="1468" y="79"/>
                    <a:pt x="1468" y="80"/>
                  </a:cubicBezTo>
                  <a:cubicBezTo>
                    <a:pt x="1468" y="79"/>
                    <a:pt x="1468" y="79"/>
                    <a:pt x="1468" y="79"/>
                  </a:cubicBezTo>
                  <a:close/>
                  <a:moveTo>
                    <a:pt x="760" y="79"/>
                  </a:moveTo>
                  <a:cubicBezTo>
                    <a:pt x="759" y="79"/>
                    <a:pt x="760" y="80"/>
                    <a:pt x="760" y="80"/>
                  </a:cubicBezTo>
                  <a:cubicBezTo>
                    <a:pt x="760" y="80"/>
                    <a:pt x="760" y="79"/>
                    <a:pt x="760" y="79"/>
                  </a:cubicBezTo>
                  <a:close/>
                  <a:moveTo>
                    <a:pt x="748" y="80"/>
                  </a:moveTo>
                  <a:cubicBezTo>
                    <a:pt x="748" y="80"/>
                    <a:pt x="748" y="79"/>
                    <a:pt x="748" y="79"/>
                  </a:cubicBezTo>
                  <a:cubicBezTo>
                    <a:pt x="748" y="80"/>
                    <a:pt x="748" y="80"/>
                    <a:pt x="748" y="80"/>
                  </a:cubicBezTo>
                  <a:close/>
                  <a:moveTo>
                    <a:pt x="1042" y="79"/>
                  </a:moveTo>
                  <a:cubicBezTo>
                    <a:pt x="1042" y="80"/>
                    <a:pt x="1042" y="80"/>
                    <a:pt x="1042" y="80"/>
                  </a:cubicBezTo>
                  <a:cubicBezTo>
                    <a:pt x="1042" y="80"/>
                    <a:pt x="1042" y="80"/>
                    <a:pt x="1042" y="79"/>
                  </a:cubicBezTo>
                  <a:close/>
                  <a:moveTo>
                    <a:pt x="613" y="59"/>
                  </a:moveTo>
                  <a:cubicBezTo>
                    <a:pt x="613" y="59"/>
                    <a:pt x="613" y="59"/>
                    <a:pt x="613" y="60"/>
                  </a:cubicBezTo>
                  <a:cubicBezTo>
                    <a:pt x="613" y="59"/>
                    <a:pt x="613" y="59"/>
                    <a:pt x="613" y="59"/>
                  </a:cubicBezTo>
                  <a:close/>
                  <a:moveTo>
                    <a:pt x="610" y="81"/>
                  </a:moveTo>
                  <a:cubicBezTo>
                    <a:pt x="610" y="80"/>
                    <a:pt x="610" y="80"/>
                    <a:pt x="610" y="80"/>
                  </a:cubicBezTo>
                  <a:cubicBezTo>
                    <a:pt x="610" y="80"/>
                    <a:pt x="610" y="80"/>
                    <a:pt x="610" y="81"/>
                  </a:cubicBezTo>
                  <a:close/>
                  <a:moveTo>
                    <a:pt x="620" y="80"/>
                  </a:moveTo>
                  <a:cubicBezTo>
                    <a:pt x="620" y="80"/>
                    <a:pt x="620" y="80"/>
                    <a:pt x="621" y="81"/>
                  </a:cubicBezTo>
                  <a:cubicBezTo>
                    <a:pt x="621" y="80"/>
                    <a:pt x="621" y="80"/>
                    <a:pt x="620" y="80"/>
                  </a:cubicBezTo>
                  <a:close/>
                  <a:moveTo>
                    <a:pt x="627" y="81"/>
                  </a:moveTo>
                  <a:cubicBezTo>
                    <a:pt x="628" y="81"/>
                    <a:pt x="628" y="80"/>
                    <a:pt x="628" y="80"/>
                  </a:cubicBezTo>
                  <a:cubicBezTo>
                    <a:pt x="627" y="80"/>
                    <a:pt x="627" y="81"/>
                    <a:pt x="627" y="81"/>
                  </a:cubicBezTo>
                  <a:close/>
                  <a:moveTo>
                    <a:pt x="760" y="80"/>
                  </a:moveTo>
                  <a:cubicBezTo>
                    <a:pt x="760" y="80"/>
                    <a:pt x="760" y="81"/>
                    <a:pt x="760" y="81"/>
                  </a:cubicBezTo>
                  <a:cubicBezTo>
                    <a:pt x="760" y="81"/>
                    <a:pt x="760" y="80"/>
                    <a:pt x="760" y="80"/>
                  </a:cubicBezTo>
                  <a:close/>
                  <a:moveTo>
                    <a:pt x="1031" y="81"/>
                  </a:moveTo>
                  <a:cubicBezTo>
                    <a:pt x="1031" y="81"/>
                    <a:pt x="1031" y="80"/>
                    <a:pt x="1030" y="80"/>
                  </a:cubicBezTo>
                  <a:cubicBezTo>
                    <a:pt x="1030" y="80"/>
                    <a:pt x="1030" y="81"/>
                    <a:pt x="1031" y="81"/>
                  </a:cubicBezTo>
                  <a:close/>
                  <a:moveTo>
                    <a:pt x="1413" y="81"/>
                  </a:moveTo>
                  <a:cubicBezTo>
                    <a:pt x="1413" y="81"/>
                    <a:pt x="1413" y="80"/>
                    <a:pt x="1412" y="80"/>
                  </a:cubicBezTo>
                  <a:cubicBezTo>
                    <a:pt x="1412" y="80"/>
                    <a:pt x="1412" y="81"/>
                    <a:pt x="1413" y="81"/>
                  </a:cubicBezTo>
                  <a:close/>
                  <a:moveTo>
                    <a:pt x="1086" y="52"/>
                  </a:moveTo>
                  <a:cubicBezTo>
                    <a:pt x="1086" y="53"/>
                    <a:pt x="1086" y="53"/>
                    <a:pt x="1087" y="53"/>
                  </a:cubicBezTo>
                  <a:cubicBezTo>
                    <a:pt x="1087" y="53"/>
                    <a:pt x="1087" y="52"/>
                    <a:pt x="1086" y="52"/>
                  </a:cubicBezTo>
                  <a:close/>
                  <a:moveTo>
                    <a:pt x="1209" y="81"/>
                  </a:moveTo>
                  <a:cubicBezTo>
                    <a:pt x="1209" y="81"/>
                    <a:pt x="1209" y="80"/>
                    <a:pt x="1208" y="80"/>
                  </a:cubicBezTo>
                  <a:cubicBezTo>
                    <a:pt x="1208" y="81"/>
                    <a:pt x="1208" y="81"/>
                    <a:pt x="1209" y="81"/>
                  </a:cubicBezTo>
                  <a:close/>
                  <a:moveTo>
                    <a:pt x="621" y="81"/>
                  </a:moveTo>
                  <a:cubicBezTo>
                    <a:pt x="621" y="81"/>
                    <a:pt x="621" y="81"/>
                    <a:pt x="621" y="82"/>
                  </a:cubicBezTo>
                  <a:cubicBezTo>
                    <a:pt x="621" y="81"/>
                    <a:pt x="621" y="81"/>
                    <a:pt x="621" y="81"/>
                  </a:cubicBezTo>
                  <a:close/>
                  <a:moveTo>
                    <a:pt x="749" y="82"/>
                  </a:moveTo>
                  <a:cubicBezTo>
                    <a:pt x="749" y="81"/>
                    <a:pt x="749" y="81"/>
                    <a:pt x="748" y="81"/>
                  </a:cubicBezTo>
                  <a:cubicBezTo>
                    <a:pt x="748" y="81"/>
                    <a:pt x="748" y="81"/>
                    <a:pt x="749" y="82"/>
                  </a:cubicBezTo>
                  <a:close/>
                  <a:moveTo>
                    <a:pt x="637" y="81"/>
                  </a:moveTo>
                  <a:cubicBezTo>
                    <a:pt x="637" y="81"/>
                    <a:pt x="637" y="82"/>
                    <a:pt x="637" y="82"/>
                  </a:cubicBezTo>
                  <a:cubicBezTo>
                    <a:pt x="637" y="82"/>
                    <a:pt x="637" y="81"/>
                    <a:pt x="637" y="81"/>
                  </a:cubicBezTo>
                  <a:close/>
                  <a:moveTo>
                    <a:pt x="1413" y="82"/>
                  </a:moveTo>
                  <a:cubicBezTo>
                    <a:pt x="1413" y="82"/>
                    <a:pt x="1413" y="81"/>
                    <a:pt x="1413" y="81"/>
                  </a:cubicBezTo>
                  <a:cubicBezTo>
                    <a:pt x="1413" y="81"/>
                    <a:pt x="1412" y="82"/>
                    <a:pt x="1413" y="82"/>
                  </a:cubicBezTo>
                  <a:close/>
                  <a:moveTo>
                    <a:pt x="611" y="82"/>
                  </a:moveTo>
                  <a:cubicBezTo>
                    <a:pt x="611" y="82"/>
                    <a:pt x="611" y="82"/>
                    <a:pt x="611" y="81"/>
                  </a:cubicBezTo>
                  <a:cubicBezTo>
                    <a:pt x="611" y="82"/>
                    <a:pt x="610" y="82"/>
                    <a:pt x="611" y="82"/>
                  </a:cubicBezTo>
                  <a:close/>
                  <a:moveTo>
                    <a:pt x="1031" y="82"/>
                  </a:moveTo>
                  <a:cubicBezTo>
                    <a:pt x="1031" y="82"/>
                    <a:pt x="1031" y="82"/>
                    <a:pt x="1031" y="81"/>
                  </a:cubicBezTo>
                  <a:cubicBezTo>
                    <a:pt x="1031" y="82"/>
                    <a:pt x="1031" y="82"/>
                    <a:pt x="1031" y="82"/>
                  </a:cubicBezTo>
                  <a:close/>
                  <a:moveTo>
                    <a:pt x="1467" y="82"/>
                  </a:moveTo>
                  <a:cubicBezTo>
                    <a:pt x="1467" y="82"/>
                    <a:pt x="1466" y="82"/>
                    <a:pt x="1466" y="83"/>
                  </a:cubicBezTo>
                  <a:cubicBezTo>
                    <a:pt x="1467" y="82"/>
                    <a:pt x="1467" y="82"/>
                    <a:pt x="1467" y="82"/>
                  </a:cubicBezTo>
                  <a:close/>
                  <a:moveTo>
                    <a:pt x="858" y="53"/>
                  </a:moveTo>
                  <a:cubicBezTo>
                    <a:pt x="858" y="53"/>
                    <a:pt x="858" y="52"/>
                    <a:pt x="858" y="52"/>
                  </a:cubicBezTo>
                  <a:cubicBezTo>
                    <a:pt x="858" y="52"/>
                    <a:pt x="858" y="53"/>
                    <a:pt x="858" y="53"/>
                  </a:cubicBezTo>
                  <a:close/>
                  <a:moveTo>
                    <a:pt x="749" y="83"/>
                  </a:moveTo>
                  <a:cubicBezTo>
                    <a:pt x="749" y="83"/>
                    <a:pt x="749" y="82"/>
                    <a:pt x="749" y="82"/>
                  </a:cubicBezTo>
                  <a:cubicBezTo>
                    <a:pt x="749" y="82"/>
                    <a:pt x="749" y="83"/>
                    <a:pt x="749" y="83"/>
                  </a:cubicBezTo>
                  <a:close/>
                  <a:moveTo>
                    <a:pt x="1413" y="83"/>
                  </a:moveTo>
                  <a:cubicBezTo>
                    <a:pt x="1413" y="83"/>
                    <a:pt x="1413" y="82"/>
                    <a:pt x="1413" y="82"/>
                  </a:cubicBezTo>
                  <a:cubicBezTo>
                    <a:pt x="1413" y="82"/>
                    <a:pt x="1413" y="83"/>
                    <a:pt x="1413" y="83"/>
                  </a:cubicBezTo>
                  <a:close/>
                  <a:moveTo>
                    <a:pt x="637" y="83"/>
                  </a:moveTo>
                  <a:cubicBezTo>
                    <a:pt x="636" y="83"/>
                    <a:pt x="636" y="83"/>
                    <a:pt x="636" y="84"/>
                  </a:cubicBezTo>
                  <a:cubicBezTo>
                    <a:pt x="637" y="84"/>
                    <a:pt x="637" y="83"/>
                    <a:pt x="637" y="83"/>
                  </a:cubicBezTo>
                  <a:close/>
                  <a:moveTo>
                    <a:pt x="1209" y="84"/>
                  </a:moveTo>
                  <a:cubicBezTo>
                    <a:pt x="1209" y="83"/>
                    <a:pt x="1209" y="83"/>
                    <a:pt x="1209" y="83"/>
                  </a:cubicBezTo>
                  <a:cubicBezTo>
                    <a:pt x="1209" y="83"/>
                    <a:pt x="1209" y="83"/>
                    <a:pt x="1209" y="84"/>
                  </a:cubicBezTo>
                  <a:close/>
                  <a:moveTo>
                    <a:pt x="1396" y="41"/>
                  </a:moveTo>
                  <a:cubicBezTo>
                    <a:pt x="1396" y="42"/>
                    <a:pt x="1396" y="42"/>
                    <a:pt x="1396" y="42"/>
                  </a:cubicBezTo>
                  <a:cubicBezTo>
                    <a:pt x="1396" y="42"/>
                    <a:pt x="1396" y="42"/>
                    <a:pt x="1396" y="41"/>
                  </a:cubicBezTo>
                  <a:close/>
                  <a:moveTo>
                    <a:pt x="749" y="84"/>
                  </a:moveTo>
                  <a:cubicBezTo>
                    <a:pt x="749" y="84"/>
                    <a:pt x="749" y="83"/>
                    <a:pt x="749" y="83"/>
                  </a:cubicBezTo>
                  <a:cubicBezTo>
                    <a:pt x="749" y="83"/>
                    <a:pt x="749" y="84"/>
                    <a:pt x="749" y="84"/>
                  </a:cubicBezTo>
                  <a:close/>
                  <a:moveTo>
                    <a:pt x="1667" y="84"/>
                  </a:moveTo>
                  <a:cubicBezTo>
                    <a:pt x="1667" y="84"/>
                    <a:pt x="1667" y="83"/>
                    <a:pt x="1667" y="83"/>
                  </a:cubicBezTo>
                  <a:cubicBezTo>
                    <a:pt x="1667" y="83"/>
                    <a:pt x="1667" y="84"/>
                    <a:pt x="1667" y="84"/>
                  </a:cubicBezTo>
                  <a:close/>
                  <a:moveTo>
                    <a:pt x="626" y="85"/>
                  </a:moveTo>
                  <a:cubicBezTo>
                    <a:pt x="626" y="85"/>
                    <a:pt x="626" y="84"/>
                    <a:pt x="626" y="84"/>
                  </a:cubicBezTo>
                  <a:cubicBezTo>
                    <a:pt x="626" y="84"/>
                    <a:pt x="626" y="84"/>
                    <a:pt x="626" y="85"/>
                  </a:cubicBezTo>
                  <a:close/>
                  <a:moveTo>
                    <a:pt x="589" y="84"/>
                  </a:moveTo>
                  <a:cubicBezTo>
                    <a:pt x="588" y="85"/>
                    <a:pt x="588" y="85"/>
                    <a:pt x="588" y="85"/>
                  </a:cubicBezTo>
                  <a:cubicBezTo>
                    <a:pt x="589" y="85"/>
                    <a:pt x="589" y="85"/>
                    <a:pt x="589" y="84"/>
                  </a:cubicBezTo>
                  <a:close/>
                  <a:moveTo>
                    <a:pt x="636" y="84"/>
                  </a:moveTo>
                  <a:cubicBezTo>
                    <a:pt x="636" y="85"/>
                    <a:pt x="636" y="85"/>
                    <a:pt x="636" y="85"/>
                  </a:cubicBezTo>
                  <a:cubicBezTo>
                    <a:pt x="636" y="85"/>
                    <a:pt x="636" y="85"/>
                    <a:pt x="636" y="84"/>
                  </a:cubicBezTo>
                  <a:close/>
                  <a:moveTo>
                    <a:pt x="1032" y="85"/>
                  </a:moveTo>
                  <a:cubicBezTo>
                    <a:pt x="1032" y="85"/>
                    <a:pt x="1032" y="85"/>
                    <a:pt x="1032" y="84"/>
                  </a:cubicBezTo>
                  <a:cubicBezTo>
                    <a:pt x="1032" y="85"/>
                    <a:pt x="1032" y="85"/>
                    <a:pt x="1032" y="85"/>
                  </a:cubicBezTo>
                  <a:close/>
                  <a:moveTo>
                    <a:pt x="595" y="42"/>
                  </a:moveTo>
                  <a:cubicBezTo>
                    <a:pt x="595" y="42"/>
                    <a:pt x="595" y="42"/>
                    <a:pt x="595" y="41"/>
                  </a:cubicBezTo>
                  <a:cubicBezTo>
                    <a:pt x="595" y="42"/>
                    <a:pt x="595" y="42"/>
                    <a:pt x="595" y="42"/>
                  </a:cubicBezTo>
                  <a:close/>
                  <a:moveTo>
                    <a:pt x="1344" y="87"/>
                  </a:moveTo>
                  <a:cubicBezTo>
                    <a:pt x="1344" y="86"/>
                    <a:pt x="1344" y="86"/>
                    <a:pt x="1344" y="86"/>
                  </a:cubicBezTo>
                  <a:cubicBezTo>
                    <a:pt x="1344" y="86"/>
                    <a:pt x="1344" y="86"/>
                    <a:pt x="1344" y="87"/>
                  </a:cubicBezTo>
                  <a:close/>
                  <a:moveTo>
                    <a:pt x="635" y="60"/>
                  </a:moveTo>
                  <a:cubicBezTo>
                    <a:pt x="635" y="60"/>
                    <a:pt x="635" y="59"/>
                    <a:pt x="635" y="59"/>
                  </a:cubicBezTo>
                  <a:cubicBezTo>
                    <a:pt x="635" y="59"/>
                    <a:pt x="635" y="60"/>
                    <a:pt x="635" y="60"/>
                  </a:cubicBezTo>
                  <a:close/>
                  <a:moveTo>
                    <a:pt x="1355" y="86"/>
                  </a:moveTo>
                  <a:cubicBezTo>
                    <a:pt x="1355" y="86"/>
                    <a:pt x="1355" y="86"/>
                    <a:pt x="1355" y="87"/>
                  </a:cubicBezTo>
                  <a:cubicBezTo>
                    <a:pt x="1355" y="87"/>
                    <a:pt x="1355" y="86"/>
                    <a:pt x="1355" y="86"/>
                  </a:cubicBezTo>
                  <a:close/>
                  <a:moveTo>
                    <a:pt x="1528" y="87"/>
                  </a:moveTo>
                  <a:cubicBezTo>
                    <a:pt x="1528" y="87"/>
                    <a:pt x="1528" y="86"/>
                    <a:pt x="1528" y="86"/>
                  </a:cubicBezTo>
                  <a:cubicBezTo>
                    <a:pt x="1528" y="86"/>
                    <a:pt x="1528" y="87"/>
                    <a:pt x="1528" y="87"/>
                  </a:cubicBezTo>
                  <a:close/>
                  <a:moveTo>
                    <a:pt x="1696" y="87"/>
                  </a:moveTo>
                  <a:cubicBezTo>
                    <a:pt x="1697" y="87"/>
                    <a:pt x="1697" y="86"/>
                    <a:pt x="1697" y="86"/>
                  </a:cubicBezTo>
                  <a:cubicBezTo>
                    <a:pt x="1696" y="86"/>
                    <a:pt x="1696" y="87"/>
                    <a:pt x="1696" y="87"/>
                  </a:cubicBezTo>
                  <a:close/>
                  <a:moveTo>
                    <a:pt x="635" y="86"/>
                  </a:moveTo>
                  <a:cubicBezTo>
                    <a:pt x="635" y="86"/>
                    <a:pt x="635" y="87"/>
                    <a:pt x="635" y="87"/>
                  </a:cubicBezTo>
                  <a:cubicBezTo>
                    <a:pt x="635" y="87"/>
                    <a:pt x="635" y="87"/>
                    <a:pt x="635" y="86"/>
                  </a:cubicBezTo>
                  <a:close/>
                  <a:moveTo>
                    <a:pt x="726" y="86"/>
                  </a:moveTo>
                  <a:cubicBezTo>
                    <a:pt x="726" y="87"/>
                    <a:pt x="726" y="87"/>
                    <a:pt x="726" y="87"/>
                  </a:cubicBezTo>
                  <a:cubicBezTo>
                    <a:pt x="726" y="87"/>
                    <a:pt x="726" y="87"/>
                    <a:pt x="726" y="86"/>
                  </a:cubicBezTo>
                  <a:close/>
                  <a:moveTo>
                    <a:pt x="1539" y="86"/>
                  </a:moveTo>
                  <a:cubicBezTo>
                    <a:pt x="1539" y="86"/>
                    <a:pt x="1539" y="87"/>
                    <a:pt x="1539" y="87"/>
                  </a:cubicBezTo>
                  <a:cubicBezTo>
                    <a:pt x="1539" y="87"/>
                    <a:pt x="1539" y="87"/>
                    <a:pt x="1539" y="86"/>
                  </a:cubicBezTo>
                  <a:close/>
                  <a:moveTo>
                    <a:pt x="1707" y="86"/>
                  </a:moveTo>
                  <a:cubicBezTo>
                    <a:pt x="1707" y="86"/>
                    <a:pt x="1707" y="87"/>
                    <a:pt x="1707" y="87"/>
                  </a:cubicBezTo>
                  <a:cubicBezTo>
                    <a:pt x="1707" y="87"/>
                    <a:pt x="1707" y="87"/>
                    <a:pt x="1707" y="86"/>
                  </a:cubicBezTo>
                  <a:close/>
                  <a:moveTo>
                    <a:pt x="623" y="87"/>
                  </a:moveTo>
                  <a:cubicBezTo>
                    <a:pt x="623" y="87"/>
                    <a:pt x="623" y="87"/>
                    <a:pt x="623" y="88"/>
                  </a:cubicBezTo>
                  <a:cubicBezTo>
                    <a:pt x="623" y="87"/>
                    <a:pt x="623" y="87"/>
                    <a:pt x="623" y="87"/>
                  </a:cubicBezTo>
                  <a:close/>
                  <a:moveTo>
                    <a:pt x="625" y="88"/>
                  </a:moveTo>
                  <a:cubicBezTo>
                    <a:pt x="625" y="87"/>
                    <a:pt x="625" y="87"/>
                    <a:pt x="625" y="87"/>
                  </a:cubicBezTo>
                  <a:cubicBezTo>
                    <a:pt x="625" y="87"/>
                    <a:pt x="625" y="87"/>
                    <a:pt x="625" y="88"/>
                  </a:cubicBezTo>
                  <a:close/>
                  <a:moveTo>
                    <a:pt x="1265" y="54"/>
                  </a:moveTo>
                  <a:cubicBezTo>
                    <a:pt x="1265" y="54"/>
                    <a:pt x="1265" y="55"/>
                    <a:pt x="1265" y="55"/>
                  </a:cubicBezTo>
                  <a:cubicBezTo>
                    <a:pt x="1265" y="55"/>
                    <a:pt x="1265" y="54"/>
                    <a:pt x="1265" y="54"/>
                  </a:cubicBezTo>
                  <a:close/>
                  <a:moveTo>
                    <a:pt x="829" y="54"/>
                  </a:moveTo>
                  <a:cubicBezTo>
                    <a:pt x="829" y="54"/>
                    <a:pt x="829" y="54"/>
                    <a:pt x="829" y="55"/>
                  </a:cubicBezTo>
                  <a:cubicBezTo>
                    <a:pt x="830" y="55"/>
                    <a:pt x="829" y="54"/>
                    <a:pt x="829" y="54"/>
                  </a:cubicBezTo>
                  <a:close/>
                  <a:moveTo>
                    <a:pt x="1528" y="88"/>
                  </a:moveTo>
                  <a:cubicBezTo>
                    <a:pt x="1528" y="88"/>
                    <a:pt x="1528" y="88"/>
                    <a:pt x="1528" y="87"/>
                  </a:cubicBezTo>
                  <a:cubicBezTo>
                    <a:pt x="1528" y="88"/>
                    <a:pt x="1528" y="88"/>
                    <a:pt x="1528" y="88"/>
                  </a:cubicBezTo>
                  <a:close/>
                  <a:moveTo>
                    <a:pt x="1696" y="88"/>
                  </a:moveTo>
                  <a:cubicBezTo>
                    <a:pt x="1696" y="88"/>
                    <a:pt x="1696" y="88"/>
                    <a:pt x="1696" y="87"/>
                  </a:cubicBezTo>
                  <a:cubicBezTo>
                    <a:pt x="1696" y="88"/>
                    <a:pt x="1696" y="88"/>
                    <a:pt x="1696" y="88"/>
                  </a:cubicBezTo>
                  <a:close/>
                  <a:moveTo>
                    <a:pt x="588" y="88"/>
                  </a:moveTo>
                  <a:cubicBezTo>
                    <a:pt x="587" y="88"/>
                    <a:pt x="587" y="88"/>
                    <a:pt x="587" y="89"/>
                  </a:cubicBezTo>
                  <a:cubicBezTo>
                    <a:pt x="588" y="88"/>
                    <a:pt x="588" y="88"/>
                    <a:pt x="588" y="88"/>
                  </a:cubicBezTo>
                  <a:close/>
                  <a:moveTo>
                    <a:pt x="613" y="89"/>
                  </a:moveTo>
                  <a:cubicBezTo>
                    <a:pt x="613" y="88"/>
                    <a:pt x="613" y="88"/>
                    <a:pt x="613" y="88"/>
                  </a:cubicBezTo>
                  <a:cubicBezTo>
                    <a:pt x="613" y="88"/>
                    <a:pt x="613" y="88"/>
                    <a:pt x="613" y="89"/>
                  </a:cubicBezTo>
                  <a:close/>
                  <a:moveTo>
                    <a:pt x="623" y="88"/>
                  </a:moveTo>
                  <a:cubicBezTo>
                    <a:pt x="623" y="88"/>
                    <a:pt x="623" y="88"/>
                    <a:pt x="623" y="89"/>
                  </a:cubicBezTo>
                  <a:cubicBezTo>
                    <a:pt x="623" y="88"/>
                    <a:pt x="623" y="88"/>
                    <a:pt x="623" y="88"/>
                  </a:cubicBezTo>
                  <a:close/>
                  <a:moveTo>
                    <a:pt x="726" y="88"/>
                  </a:moveTo>
                  <a:cubicBezTo>
                    <a:pt x="726" y="88"/>
                    <a:pt x="726" y="88"/>
                    <a:pt x="726" y="89"/>
                  </a:cubicBezTo>
                  <a:cubicBezTo>
                    <a:pt x="726" y="88"/>
                    <a:pt x="727" y="88"/>
                    <a:pt x="726" y="88"/>
                  </a:cubicBezTo>
                  <a:close/>
                  <a:moveTo>
                    <a:pt x="699" y="88"/>
                  </a:moveTo>
                  <a:cubicBezTo>
                    <a:pt x="699" y="88"/>
                    <a:pt x="699" y="89"/>
                    <a:pt x="699" y="89"/>
                  </a:cubicBezTo>
                  <a:cubicBezTo>
                    <a:pt x="699" y="89"/>
                    <a:pt x="699" y="88"/>
                    <a:pt x="699" y="88"/>
                  </a:cubicBezTo>
                  <a:close/>
                  <a:moveTo>
                    <a:pt x="1384" y="42"/>
                  </a:moveTo>
                  <a:cubicBezTo>
                    <a:pt x="1385" y="42"/>
                    <a:pt x="1385" y="42"/>
                    <a:pt x="1385" y="41"/>
                  </a:cubicBezTo>
                  <a:cubicBezTo>
                    <a:pt x="1384" y="42"/>
                    <a:pt x="1384" y="42"/>
                    <a:pt x="1384" y="42"/>
                  </a:cubicBezTo>
                  <a:close/>
                  <a:moveTo>
                    <a:pt x="614" y="90"/>
                  </a:moveTo>
                  <a:cubicBezTo>
                    <a:pt x="614" y="90"/>
                    <a:pt x="614" y="90"/>
                    <a:pt x="614" y="89"/>
                  </a:cubicBezTo>
                  <a:cubicBezTo>
                    <a:pt x="614" y="90"/>
                    <a:pt x="614" y="90"/>
                    <a:pt x="614" y="90"/>
                  </a:cubicBezTo>
                  <a:close/>
                  <a:moveTo>
                    <a:pt x="748" y="57"/>
                  </a:moveTo>
                  <a:cubicBezTo>
                    <a:pt x="749" y="57"/>
                    <a:pt x="749" y="56"/>
                    <a:pt x="749" y="56"/>
                  </a:cubicBezTo>
                  <a:cubicBezTo>
                    <a:pt x="748" y="56"/>
                    <a:pt x="748" y="57"/>
                    <a:pt x="748" y="57"/>
                  </a:cubicBezTo>
                  <a:close/>
                  <a:moveTo>
                    <a:pt x="1014" y="90"/>
                  </a:moveTo>
                  <a:cubicBezTo>
                    <a:pt x="1014" y="90"/>
                    <a:pt x="1015" y="90"/>
                    <a:pt x="1015" y="90"/>
                  </a:cubicBezTo>
                  <a:cubicBezTo>
                    <a:pt x="1015" y="90"/>
                    <a:pt x="1014" y="90"/>
                    <a:pt x="1014" y="90"/>
                  </a:cubicBezTo>
                  <a:close/>
                  <a:moveTo>
                    <a:pt x="715" y="91"/>
                  </a:moveTo>
                  <a:cubicBezTo>
                    <a:pt x="715" y="91"/>
                    <a:pt x="715" y="90"/>
                    <a:pt x="715" y="90"/>
                  </a:cubicBezTo>
                  <a:cubicBezTo>
                    <a:pt x="715" y="90"/>
                    <a:pt x="715" y="91"/>
                    <a:pt x="715" y="91"/>
                  </a:cubicBezTo>
                  <a:close/>
                  <a:moveTo>
                    <a:pt x="613" y="60"/>
                  </a:moveTo>
                  <a:cubicBezTo>
                    <a:pt x="613" y="60"/>
                    <a:pt x="613" y="61"/>
                    <a:pt x="614" y="61"/>
                  </a:cubicBezTo>
                  <a:cubicBezTo>
                    <a:pt x="614" y="60"/>
                    <a:pt x="614" y="60"/>
                    <a:pt x="613" y="60"/>
                  </a:cubicBezTo>
                  <a:close/>
                  <a:moveTo>
                    <a:pt x="1011" y="91"/>
                  </a:moveTo>
                  <a:cubicBezTo>
                    <a:pt x="1011" y="91"/>
                    <a:pt x="1012" y="91"/>
                    <a:pt x="1012" y="91"/>
                  </a:cubicBezTo>
                  <a:cubicBezTo>
                    <a:pt x="1012" y="91"/>
                    <a:pt x="1011" y="91"/>
                    <a:pt x="1011" y="91"/>
                  </a:cubicBezTo>
                  <a:close/>
                  <a:moveTo>
                    <a:pt x="1010" y="91"/>
                  </a:moveTo>
                  <a:cubicBezTo>
                    <a:pt x="1010" y="91"/>
                    <a:pt x="1011" y="91"/>
                    <a:pt x="1011" y="91"/>
                  </a:cubicBezTo>
                  <a:cubicBezTo>
                    <a:pt x="1010" y="91"/>
                    <a:pt x="1010" y="91"/>
                    <a:pt x="1010" y="91"/>
                  </a:cubicBezTo>
                  <a:close/>
                  <a:moveTo>
                    <a:pt x="1176" y="92"/>
                  </a:moveTo>
                  <a:cubicBezTo>
                    <a:pt x="1176" y="92"/>
                    <a:pt x="1175" y="91"/>
                    <a:pt x="1175" y="91"/>
                  </a:cubicBezTo>
                  <a:cubicBezTo>
                    <a:pt x="1175" y="91"/>
                    <a:pt x="1175" y="92"/>
                    <a:pt x="1176" y="92"/>
                  </a:cubicBezTo>
                  <a:close/>
                  <a:moveTo>
                    <a:pt x="1737" y="41"/>
                  </a:moveTo>
                  <a:cubicBezTo>
                    <a:pt x="1738" y="40"/>
                    <a:pt x="1738" y="40"/>
                    <a:pt x="1738" y="40"/>
                  </a:cubicBezTo>
                  <a:cubicBezTo>
                    <a:pt x="1737" y="40"/>
                    <a:pt x="1737" y="40"/>
                    <a:pt x="1737" y="41"/>
                  </a:cubicBezTo>
                  <a:close/>
                  <a:moveTo>
                    <a:pt x="716" y="92"/>
                  </a:moveTo>
                  <a:cubicBezTo>
                    <a:pt x="716" y="92"/>
                    <a:pt x="716" y="92"/>
                    <a:pt x="715" y="91"/>
                  </a:cubicBezTo>
                  <a:cubicBezTo>
                    <a:pt x="715" y="92"/>
                    <a:pt x="715" y="92"/>
                    <a:pt x="716" y="92"/>
                  </a:cubicBezTo>
                  <a:close/>
                  <a:moveTo>
                    <a:pt x="986" y="91"/>
                  </a:moveTo>
                  <a:cubicBezTo>
                    <a:pt x="986" y="92"/>
                    <a:pt x="986" y="92"/>
                    <a:pt x="987" y="92"/>
                  </a:cubicBezTo>
                  <a:cubicBezTo>
                    <a:pt x="987" y="91"/>
                    <a:pt x="986" y="91"/>
                    <a:pt x="986" y="91"/>
                  </a:cubicBezTo>
                  <a:close/>
                  <a:moveTo>
                    <a:pt x="1008" y="92"/>
                  </a:moveTo>
                  <a:cubicBezTo>
                    <a:pt x="1009" y="92"/>
                    <a:pt x="1009" y="92"/>
                    <a:pt x="1010" y="91"/>
                  </a:cubicBezTo>
                  <a:cubicBezTo>
                    <a:pt x="1009" y="91"/>
                    <a:pt x="1009" y="91"/>
                    <a:pt x="1008" y="92"/>
                  </a:cubicBezTo>
                  <a:close/>
                  <a:moveTo>
                    <a:pt x="1251" y="92"/>
                  </a:moveTo>
                  <a:cubicBezTo>
                    <a:pt x="1252" y="92"/>
                    <a:pt x="1252" y="92"/>
                    <a:pt x="1252" y="91"/>
                  </a:cubicBezTo>
                  <a:cubicBezTo>
                    <a:pt x="1252" y="91"/>
                    <a:pt x="1252" y="91"/>
                    <a:pt x="1251" y="92"/>
                  </a:cubicBezTo>
                  <a:close/>
                  <a:moveTo>
                    <a:pt x="791" y="92"/>
                  </a:moveTo>
                  <a:cubicBezTo>
                    <a:pt x="791" y="92"/>
                    <a:pt x="791" y="92"/>
                    <a:pt x="792" y="92"/>
                  </a:cubicBezTo>
                  <a:cubicBezTo>
                    <a:pt x="791" y="92"/>
                    <a:pt x="791" y="92"/>
                    <a:pt x="791" y="92"/>
                  </a:cubicBezTo>
                  <a:close/>
                  <a:moveTo>
                    <a:pt x="667" y="92"/>
                  </a:moveTo>
                  <a:cubicBezTo>
                    <a:pt x="667" y="92"/>
                    <a:pt x="667" y="93"/>
                    <a:pt x="668" y="92"/>
                  </a:cubicBezTo>
                  <a:cubicBezTo>
                    <a:pt x="667" y="92"/>
                    <a:pt x="667" y="92"/>
                    <a:pt x="667" y="92"/>
                  </a:cubicBezTo>
                  <a:close/>
                  <a:moveTo>
                    <a:pt x="789" y="92"/>
                  </a:moveTo>
                  <a:cubicBezTo>
                    <a:pt x="790" y="92"/>
                    <a:pt x="790" y="92"/>
                    <a:pt x="791" y="92"/>
                  </a:cubicBezTo>
                  <a:cubicBezTo>
                    <a:pt x="790" y="92"/>
                    <a:pt x="790" y="92"/>
                    <a:pt x="789" y="92"/>
                  </a:cubicBezTo>
                  <a:close/>
                  <a:moveTo>
                    <a:pt x="1569" y="41"/>
                  </a:moveTo>
                  <a:cubicBezTo>
                    <a:pt x="1570" y="40"/>
                    <a:pt x="1570" y="40"/>
                    <a:pt x="1570" y="40"/>
                  </a:cubicBezTo>
                  <a:cubicBezTo>
                    <a:pt x="1569" y="40"/>
                    <a:pt x="1569" y="40"/>
                    <a:pt x="1569" y="41"/>
                  </a:cubicBezTo>
                  <a:close/>
                  <a:moveTo>
                    <a:pt x="1176" y="93"/>
                  </a:moveTo>
                  <a:cubicBezTo>
                    <a:pt x="1176" y="93"/>
                    <a:pt x="1176" y="92"/>
                    <a:pt x="1175" y="92"/>
                  </a:cubicBezTo>
                  <a:cubicBezTo>
                    <a:pt x="1175" y="92"/>
                    <a:pt x="1175" y="93"/>
                    <a:pt x="1176" y="93"/>
                  </a:cubicBezTo>
                  <a:close/>
                  <a:moveTo>
                    <a:pt x="668" y="92"/>
                  </a:moveTo>
                  <a:cubicBezTo>
                    <a:pt x="668" y="93"/>
                    <a:pt x="668" y="93"/>
                    <a:pt x="669" y="93"/>
                  </a:cubicBezTo>
                  <a:cubicBezTo>
                    <a:pt x="668" y="92"/>
                    <a:pt x="668" y="92"/>
                    <a:pt x="668" y="92"/>
                  </a:cubicBezTo>
                  <a:close/>
                  <a:moveTo>
                    <a:pt x="716" y="93"/>
                  </a:moveTo>
                  <a:cubicBezTo>
                    <a:pt x="716" y="93"/>
                    <a:pt x="716" y="93"/>
                    <a:pt x="716" y="92"/>
                  </a:cubicBezTo>
                  <a:cubicBezTo>
                    <a:pt x="716" y="93"/>
                    <a:pt x="716" y="93"/>
                    <a:pt x="716" y="93"/>
                  </a:cubicBezTo>
                  <a:close/>
                  <a:moveTo>
                    <a:pt x="772" y="92"/>
                  </a:moveTo>
                  <a:cubicBezTo>
                    <a:pt x="772" y="93"/>
                    <a:pt x="772" y="93"/>
                    <a:pt x="773" y="93"/>
                  </a:cubicBezTo>
                  <a:cubicBezTo>
                    <a:pt x="772" y="92"/>
                    <a:pt x="772" y="92"/>
                    <a:pt x="772" y="92"/>
                  </a:cubicBezTo>
                  <a:close/>
                  <a:moveTo>
                    <a:pt x="788" y="93"/>
                  </a:moveTo>
                  <a:cubicBezTo>
                    <a:pt x="789" y="93"/>
                    <a:pt x="789" y="93"/>
                    <a:pt x="789" y="92"/>
                  </a:cubicBezTo>
                  <a:cubicBezTo>
                    <a:pt x="789" y="92"/>
                    <a:pt x="789" y="92"/>
                    <a:pt x="788" y="93"/>
                  </a:cubicBezTo>
                  <a:close/>
                  <a:moveTo>
                    <a:pt x="1070" y="93"/>
                  </a:moveTo>
                  <a:cubicBezTo>
                    <a:pt x="1071" y="93"/>
                    <a:pt x="1071" y="93"/>
                    <a:pt x="1071" y="92"/>
                  </a:cubicBezTo>
                  <a:cubicBezTo>
                    <a:pt x="1071" y="92"/>
                    <a:pt x="1071" y="92"/>
                    <a:pt x="1070" y="93"/>
                  </a:cubicBezTo>
                  <a:close/>
                  <a:moveTo>
                    <a:pt x="1248" y="93"/>
                  </a:moveTo>
                  <a:cubicBezTo>
                    <a:pt x="1249" y="93"/>
                    <a:pt x="1249" y="93"/>
                    <a:pt x="1249" y="92"/>
                  </a:cubicBezTo>
                  <a:cubicBezTo>
                    <a:pt x="1249" y="92"/>
                    <a:pt x="1249" y="92"/>
                    <a:pt x="1248" y="93"/>
                  </a:cubicBezTo>
                  <a:close/>
                  <a:moveTo>
                    <a:pt x="669" y="93"/>
                  </a:moveTo>
                  <a:cubicBezTo>
                    <a:pt x="669" y="93"/>
                    <a:pt x="670" y="93"/>
                    <a:pt x="670" y="93"/>
                  </a:cubicBezTo>
                  <a:cubicBezTo>
                    <a:pt x="670" y="93"/>
                    <a:pt x="669" y="93"/>
                    <a:pt x="669" y="93"/>
                  </a:cubicBezTo>
                  <a:close/>
                  <a:moveTo>
                    <a:pt x="682" y="93"/>
                  </a:moveTo>
                  <a:cubicBezTo>
                    <a:pt x="682" y="93"/>
                    <a:pt x="682" y="93"/>
                    <a:pt x="683" y="93"/>
                  </a:cubicBezTo>
                  <a:cubicBezTo>
                    <a:pt x="682" y="93"/>
                    <a:pt x="682" y="93"/>
                    <a:pt x="682" y="93"/>
                  </a:cubicBezTo>
                  <a:close/>
                  <a:moveTo>
                    <a:pt x="773" y="93"/>
                  </a:moveTo>
                  <a:cubicBezTo>
                    <a:pt x="773" y="93"/>
                    <a:pt x="774" y="93"/>
                    <a:pt x="774" y="93"/>
                  </a:cubicBezTo>
                  <a:cubicBezTo>
                    <a:pt x="774" y="93"/>
                    <a:pt x="773" y="93"/>
                    <a:pt x="773" y="93"/>
                  </a:cubicBezTo>
                  <a:close/>
                  <a:moveTo>
                    <a:pt x="1055" y="93"/>
                  </a:moveTo>
                  <a:cubicBezTo>
                    <a:pt x="1055" y="93"/>
                    <a:pt x="1056" y="93"/>
                    <a:pt x="1056" y="93"/>
                  </a:cubicBezTo>
                  <a:cubicBezTo>
                    <a:pt x="1056" y="93"/>
                    <a:pt x="1055" y="93"/>
                    <a:pt x="1055" y="93"/>
                  </a:cubicBezTo>
                  <a:close/>
                  <a:moveTo>
                    <a:pt x="1069" y="93"/>
                  </a:moveTo>
                  <a:cubicBezTo>
                    <a:pt x="1069" y="93"/>
                    <a:pt x="1070" y="93"/>
                    <a:pt x="1070" y="93"/>
                  </a:cubicBezTo>
                  <a:cubicBezTo>
                    <a:pt x="1070" y="93"/>
                    <a:pt x="1069" y="93"/>
                    <a:pt x="1069" y="93"/>
                  </a:cubicBezTo>
                  <a:close/>
                  <a:moveTo>
                    <a:pt x="1233" y="93"/>
                  </a:moveTo>
                  <a:cubicBezTo>
                    <a:pt x="1233" y="93"/>
                    <a:pt x="1234" y="93"/>
                    <a:pt x="1234" y="93"/>
                  </a:cubicBezTo>
                  <a:cubicBezTo>
                    <a:pt x="1234" y="93"/>
                    <a:pt x="1233" y="93"/>
                    <a:pt x="1233" y="93"/>
                  </a:cubicBezTo>
                  <a:close/>
                  <a:moveTo>
                    <a:pt x="1247" y="93"/>
                  </a:moveTo>
                  <a:cubicBezTo>
                    <a:pt x="1247" y="93"/>
                    <a:pt x="1248" y="93"/>
                    <a:pt x="1248" y="93"/>
                  </a:cubicBezTo>
                  <a:cubicBezTo>
                    <a:pt x="1248" y="93"/>
                    <a:pt x="1247" y="93"/>
                    <a:pt x="1247" y="93"/>
                  </a:cubicBezTo>
                  <a:close/>
                  <a:moveTo>
                    <a:pt x="636" y="57"/>
                  </a:moveTo>
                  <a:cubicBezTo>
                    <a:pt x="636" y="57"/>
                    <a:pt x="636" y="57"/>
                    <a:pt x="636" y="56"/>
                  </a:cubicBezTo>
                  <a:cubicBezTo>
                    <a:pt x="636" y="57"/>
                    <a:pt x="636" y="57"/>
                    <a:pt x="636" y="57"/>
                  </a:cubicBezTo>
                  <a:close/>
                  <a:moveTo>
                    <a:pt x="731" y="93"/>
                  </a:moveTo>
                  <a:cubicBezTo>
                    <a:pt x="732" y="94"/>
                    <a:pt x="732" y="94"/>
                    <a:pt x="733" y="93"/>
                  </a:cubicBezTo>
                  <a:cubicBezTo>
                    <a:pt x="732" y="93"/>
                    <a:pt x="732" y="93"/>
                    <a:pt x="731" y="93"/>
                  </a:cubicBezTo>
                  <a:close/>
                  <a:moveTo>
                    <a:pt x="645" y="61"/>
                  </a:moveTo>
                  <a:cubicBezTo>
                    <a:pt x="645" y="61"/>
                    <a:pt x="645" y="61"/>
                    <a:pt x="645" y="62"/>
                  </a:cubicBezTo>
                  <a:cubicBezTo>
                    <a:pt x="645" y="62"/>
                    <a:pt x="645" y="61"/>
                    <a:pt x="645" y="61"/>
                  </a:cubicBezTo>
                  <a:close/>
                  <a:moveTo>
                    <a:pt x="639" y="50"/>
                  </a:moveTo>
                  <a:cubicBezTo>
                    <a:pt x="639" y="49"/>
                    <a:pt x="639" y="49"/>
                    <a:pt x="639" y="49"/>
                  </a:cubicBezTo>
                  <a:cubicBezTo>
                    <a:pt x="639" y="49"/>
                    <a:pt x="639" y="49"/>
                    <a:pt x="639" y="50"/>
                  </a:cubicBezTo>
                  <a:close/>
                  <a:moveTo>
                    <a:pt x="1197" y="93"/>
                  </a:moveTo>
                  <a:cubicBezTo>
                    <a:pt x="1198" y="94"/>
                    <a:pt x="1198" y="94"/>
                    <a:pt x="1199" y="93"/>
                  </a:cubicBezTo>
                  <a:cubicBezTo>
                    <a:pt x="1198" y="93"/>
                    <a:pt x="1198" y="93"/>
                    <a:pt x="1197" y="93"/>
                  </a:cubicBezTo>
                  <a:close/>
                  <a:moveTo>
                    <a:pt x="595" y="41"/>
                  </a:moveTo>
                  <a:cubicBezTo>
                    <a:pt x="595" y="40"/>
                    <a:pt x="594" y="40"/>
                    <a:pt x="594" y="40"/>
                  </a:cubicBezTo>
                  <a:cubicBezTo>
                    <a:pt x="594" y="40"/>
                    <a:pt x="594" y="40"/>
                    <a:pt x="595" y="41"/>
                  </a:cubicBezTo>
                  <a:close/>
                  <a:moveTo>
                    <a:pt x="670" y="55"/>
                  </a:moveTo>
                  <a:cubicBezTo>
                    <a:pt x="670" y="55"/>
                    <a:pt x="670" y="55"/>
                    <a:pt x="670" y="56"/>
                  </a:cubicBezTo>
                  <a:cubicBezTo>
                    <a:pt x="670" y="55"/>
                    <a:pt x="670" y="55"/>
                    <a:pt x="670" y="55"/>
                  </a:cubicBezTo>
                  <a:close/>
                  <a:moveTo>
                    <a:pt x="871" y="56"/>
                  </a:moveTo>
                  <a:cubicBezTo>
                    <a:pt x="871" y="56"/>
                    <a:pt x="871" y="57"/>
                    <a:pt x="871" y="57"/>
                  </a:cubicBezTo>
                  <a:cubicBezTo>
                    <a:pt x="871" y="57"/>
                    <a:pt x="871" y="57"/>
                    <a:pt x="871" y="56"/>
                  </a:cubicBezTo>
                  <a:close/>
                  <a:moveTo>
                    <a:pt x="1111" y="56"/>
                  </a:moveTo>
                  <a:cubicBezTo>
                    <a:pt x="1111" y="56"/>
                    <a:pt x="1111" y="57"/>
                    <a:pt x="1111" y="57"/>
                  </a:cubicBezTo>
                  <a:cubicBezTo>
                    <a:pt x="1111" y="57"/>
                    <a:pt x="1111" y="57"/>
                    <a:pt x="1111" y="56"/>
                  </a:cubicBezTo>
                  <a:close/>
                  <a:moveTo>
                    <a:pt x="617" y="97"/>
                  </a:moveTo>
                  <a:cubicBezTo>
                    <a:pt x="616" y="96"/>
                    <a:pt x="616" y="96"/>
                    <a:pt x="616" y="96"/>
                  </a:cubicBezTo>
                  <a:cubicBezTo>
                    <a:pt x="616" y="96"/>
                    <a:pt x="616" y="96"/>
                    <a:pt x="617" y="97"/>
                  </a:cubicBezTo>
                  <a:close/>
                  <a:moveTo>
                    <a:pt x="1208" y="57"/>
                  </a:moveTo>
                  <a:cubicBezTo>
                    <a:pt x="1209" y="57"/>
                    <a:pt x="1209" y="57"/>
                    <a:pt x="1209" y="56"/>
                  </a:cubicBezTo>
                  <a:cubicBezTo>
                    <a:pt x="1208" y="57"/>
                    <a:pt x="1208" y="57"/>
                    <a:pt x="1208" y="57"/>
                  </a:cubicBezTo>
                  <a:close/>
                  <a:moveTo>
                    <a:pt x="1684" y="39"/>
                  </a:moveTo>
                  <a:cubicBezTo>
                    <a:pt x="1683" y="39"/>
                    <a:pt x="1683" y="40"/>
                    <a:pt x="1683" y="40"/>
                  </a:cubicBezTo>
                  <a:cubicBezTo>
                    <a:pt x="1684" y="40"/>
                    <a:pt x="1684" y="40"/>
                    <a:pt x="1684" y="39"/>
                  </a:cubicBezTo>
                  <a:close/>
                  <a:moveTo>
                    <a:pt x="617" y="98"/>
                  </a:moveTo>
                  <a:cubicBezTo>
                    <a:pt x="617" y="98"/>
                    <a:pt x="617" y="98"/>
                    <a:pt x="617" y="97"/>
                  </a:cubicBezTo>
                  <a:cubicBezTo>
                    <a:pt x="617" y="98"/>
                    <a:pt x="617" y="98"/>
                    <a:pt x="617" y="98"/>
                  </a:cubicBezTo>
                  <a:close/>
                  <a:moveTo>
                    <a:pt x="1385" y="40"/>
                  </a:moveTo>
                  <a:cubicBezTo>
                    <a:pt x="1385" y="40"/>
                    <a:pt x="1385" y="40"/>
                    <a:pt x="1385" y="39"/>
                  </a:cubicBezTo>
                  <a:cubicBezTo>
                    <a:pt x="1385" y="39"/>
                    <a:pt x="1385" y="40"/>
                    <a:pt x="1385" y="40"/>
                  </a:cubicBezTo>
                  <a:close/>
                  <a:moveTo>
                    <a:pt x="1017" y="99"/>
                  </a:moveTo>
                  <a:cubicBezTo>
                    <a:pt x="1017" y="99"/>
                    <a:pt x="1017" y="99"/>
                    <a:pt x="1016" y="100"/>
                  </a:cubicBezTo>
                  <a:cubicBezTo>
                    <a:pt x="1017" y="100"/>
                    <a:pt x="1017" y="100"/>
                    <a:pt x="1017" y="99"/>
                  </a:cubicBezTo>
                  <a:close/>
                  <a:moveTo>
                    <a:pt x="1255" y="100"/>
                  </a:moveTo>
                  <a:cubicBezTo>
                    <a:pt x="1255" y="100"/>
                    <a:pt x="1254" y="100"/>
                    <a:pt x="1254" y="100"/>
                  </a:cubicBezTo>
                  <a:cubicBezTo>
                    <a:pt x="1255" y="100"/>
                    <a:pt x="1255" y="101"/>
                    <a:pt x="1255" y="100"/>
                  </a:cubicBezTo>
                  <a:close/>
                  <a:moveTo>
                    <a:pt x="794" y="100"/>
                  </a:moveTo>
                  <a:cubicBezTo>
                    <a:pt x="794" y="100"/>
                    <a:pt x="794" y="101"/>
                    <a:pt x="793" y="101"/>
                  </a:cubicBezTo>
                  <a:cubicBezTo>
                    <a:pt x="794" y="101"/>
                    <a:pt x="794" y="101"/>
                    <a:pt x="794" y="100"/>
                  </a:cubicBezTo>
                  <a:close/>
                  <a:moveTo>
                    <a:pt x="573" y="101"/>
                  </a:moveTo>
                  <a:cubicBezTo>
                    <a:pt x="573" y="101"/>
                    <a:pt x="572" y="101"/>
                    <a:pt x="572" y="101"/>
                  </a:cubicBezTo>
                  <a:cubicBezTo>
                    <a:pt x="573" y="101"/>
                    <a:pt x="573" y="101"/>
                    <a:pt x="573" y="101"/>
                  </a:cubicBezTo>
                  <a:close/>
                  <a:moveTo>
                    <a:pt x="765" y="101"/>
                  </a:moveTo>
                  <a:cubicBezTo>
                    <a:pt x="765" y="101"/>
                    <a:pt x="765" y="101"/>
                    <a:pt x="764" y="101"/>
                  </a:cubicBezTo>
                  <a:cubicBezTo>
                    <a:pt x="765" y="101"/>
                    <a:pt x="765" y="101"/>
                    <a:pt x="765" y="101"/>
                  </a:cubicBezTo>
                  <a:close/>
                  <a:moveTo>
                    <a:pt x="1013" y="101"/>
                  </a:moveTo>
                  <a:cubicBezTo>
                    <a:pt x="1013" y="101"/>
                    <a:pt x="1012" y="101"/>
                    <a:pt x="1012" y="101"/>
                  </a:cubicBezTo>
                  <a:cubicBezTo>
                    <a:pt x="1013" y="101"/>
                    <a:pt x="1013" y="101"/>
                    <a:pt x="1013" y="101"/>
                  </a:cubicBezTo>
                  <a:close/>
                  <a:moveTo>
                    <a:pt x="1076" y="101"/>
                  </a:moveTo>
                  <a:cubicBezTo>
                    <a:pt x="1075" y="101"/>
                    <a:pt x="1075" y="101"/>
                    <a:pt x="1074" y="101"/>
                  </a:cubicBezTo>
                  <a:cubicBezTo>
                    <a:pt x="1075" y="101"/>
                    <a:pt x="1075" y="101"/>
                    <a:pt x="1076" y="101"/>
                  </a:cubicBezTo>
                  <a:close/>
                  <a:moveTo>
                    <a:pt x="572" y="101"/>
                  </a:moveTo>
                  <a:cubicBezTo>
                    <a:pt x="572" y="101"/>
                    <a:pt x="571" y="101"/>
                    <a:pt x="571" y="101"/>
                  </a:cubicBezTo>
                  <a:cubicBezTo>
                    <a:pt x="572" y="102"/>
                    <a:pt x="572" y="102"/>
                    <a:pt x="572" y="101"/>
                  </a:cubicBezTo>
                  <a:close/>
                  <a:moveTo>
                    <a:pt x="629" y="101"/>
                  </a:moveTo>
                  <a:cubicBezTo>
                    <a:pt x="629" y="101"/>
                    <a:pt x="629" y="102"/>
                    <a:pt x="629" y="102"/>
                  </a:cubicBezTo>
                  <a:cubicBezTo>
                    <a:pt x="629" y="102"/>
                    <a:pt x="629" y="102"/>
                    <a:pt x="629" y="101"/>
                  </a:cubicBezTo>
                  <a:close/>
                  <a:moveTo>
                    <a:pt x="792" y="101"/>
                  </a:moveTo>
                  <a:cubicBezTo>
                    <a:pt x="792" y="101"/>
                    <a:pt x="791" y="101"/>
                    <a:pt x="791" y="102"/>
                  </a:cubicBezTo>
                  <a:cubicBezTo>
                    <a:pt x="792" y="102"/>
                    <a:pt x="792" y="102"/>
                    <a:pt x="792" y="101"/>
                  </a:cubicBezTo>
                  <a:close/>
                  <a:moveTo>
                    <a:pt x="982" y="102"/>
                  </a:moveTo>
                  <a:cubicBezTo>
                    <a:pt x="981" y="101"/>
                    <a:pt x="981" y="101"/>
                    <a:pt x="981" y="101"/>
                  </a:cubicBezTo>
                  <a:cubicBezTo>
                    <a:pt x="981" y="102"/>
                    <a:pt x="981" y="102"/>
                    <a:pt x="982" y="102"/>
                  </a:cubicBezTo>
                  <a:close/>
                  <a:moveTo>
                    <a:pt x="1012" y="101"/>
                  </a:moveTo>
                  <a:cubicBezTo>
                    <a:pt x="1012" y="101"/>
                    <a:pt x="1011" y="101"/>
                    <a:pt x="1011" y="101"/>
                  </a:cubicBezTo>
                  <a:cubicBezTo>
                    <a:pt x="1011" y="101"/>
                    <a:pt x="1012" y="102"/>
                    <a:pt x="1012" y="101"/>
                  </a:cubicBezTo>
                  <a:close/>
                  <a:moveTo>
                    <a:pt x="1048" y="101"/>
                  </a:moveTo>
                  <a:cubicBezTo>
                    <a:pt x="1048" y="101"/>
                    <a:pt x="1048" y="101"/>
                    <a:pt x="1047" y="101"/>
                  </a:cubicBezTo>
                  <a:cubicBezTo>
                    <a:pt x="1048" y="102"/>
                    <a:pt x="1048" y="101"/>
                    <a:pt x="1048" y="101"/>
                  </a:cubicBezTo>
                  <a:close/>
                  <a:moveTo>
                    <a:pt x="1075" y="101"/>
                  </a:moveTo>
                  <a:cubicBezTo>
                    <a:pt x="1074" y="101"/>
                    <a:pt x="1074" y="101"/>
                    <a:pt x="1073" y="101"/>
                  </a:cubicBezTo>
                  <a:cubicBezTo>
                    <a:pt x="1074" y="101"/>
                    <a:pt x="1074" y="102"/>
                    <a:pt x="1075" y="101"/>
                  </a:cubicBezTo>
                  <a:close/>
                  <a:moveTo>
                    <a:pt x="1226" y="101"/>
                  </a:moveTo>
                  <a:cubicBezTo>
                    <a:pt x="1226" y="101"/>
                    <a:pt x="1226" y="101"/>
                    <a:pt x="1225" y="101"/>
                  </a:cubicBezTo>
                  <a:cubicBezTo>
                    <a:pt x="1225" y="102"/>
                    <a:pt x="1226" y="102"/>
                    <a:pt x="1226" y="101"/>
                  </a:cubicBezTo>
                  <a:close/>
                  <a:moveTo>
                    <a:pt x="571" y="101"/>
                  </a:moveTo>
                  <a:cubicBezTo>
                    <a:pt x="571" y="101"/>
                    <a:pt x="570" y="101"/>
                    <a:pt x="570" y="102"/>
                  </a:cubicBezTo>
                  <a:cubicBezTo>
                    <a:pt x="570" y="102"/>
                    <a:pt x="571" y="102"/>
                    <a:pt x="571" y="101"/>
                  </a:cubicBezTo>
                  <a:close/>
                  <a:moveTo>
                    <a:pt x="618" y="103"/>
                  </a:moveTo>
                  <a:cubicBezTo>
                    <a:pt x="618" y="102"/>
                    <a:pt x="618" y="102"/>
                    <a:pt x="618" y="102"/>
                  </a:cubicBezTo>
                  <a:cubicBezTo>
                    <a:pt x="618" y="102"/>
                    <a:pt x="618" y="102"/>
                    <a:pt x="618" y="103"/>
                  </a:cubicBezTo>
                  <a:close/>
                  <a:moveTo>
                    <a:pt x="665" y="102"/>
                  </a:moveTo>
                  <a:cubicBezTo>
                    <a:pt x="664" y="101"/>
                    <a:pt x="664" y="101"/>
                    <a:pt x="663" y="101"/>
                  </a:cubicBezTo>
                  <a:cubicBezTo>
                    <a:pt x="664" y="102"/>
                    <a:pt x="664" y="102"/>
                    <a:pt x="665" y="102"/>
                  </a:cubicBezTo>
                  <a:close/>
                  <a:moveTo>
                    <a:pt x="724" y="102"/>
                  </a:moveTo>
                  <a:cubicBezTo>
                    <a:pt x="724" y="102"/>
                    <a:pt x="724" y="101"/>
                    <a:pt x="723" y="101"/>
                  </a:cubicBezTo>
                  <a:cubicBezTo>
                    <a:pt x="724" y="102"/>
                    <a:pt x="724" y="102"/>
                    <a:pt x="724" y="102"/>
                  </a:cubicBezTo>
                  <a:close/>
                  <a:moveTo>
                    <a:pt x="791" y="101"/>
                  </a:moveTo>
                  <a:cubicBezTo>
                    <a:pt x="791" y="101"/>
                    <a:pt x="790" y="101"/>
                    <a:pt x="790" y="102"/>
                  </a:cubicBezTo>
                  <a:cubicBezTo>
                    <a:pt x="790" y="102"/>
                    <a:pt x="791" y="102"/>
                    <a:pt x="791" y="101"/>
                  </a:cubicBezTo>
                  <a:close/>
                  <a:moveTo>
                    <a:pt x="983" y="102"/>
                  </a:moveTo>
                  <a:cubicBezTo>
                    <a:pt x="982" y="101"/>
                    <a:pt x="982" y="101"/>
                    <a:pt x="982" y="101"/>
                  </a:cubicBezTo>
                  <a:cubicBezTo>
                    <a:pt x="982" y="102"/>
                    <a:pt x="982" y="102"/>
                    <a:pt x="983" y="102"/>
                  </a:cubicBezTo>
                  <a:close/>
                  <a:moveTo>
                    <a:pt x="1050" y="102"/>
                  </a:moveTo>
                  <a:cubicBezTo>
                    <a:pt x="1049" y="102"/>
                    <a:pt x="1049" y="101"/>
                    <a:pt x="1048" y="101"/>
                  </a:cubicBezTo>
                  <a:cubicBezTo>
                    <a:pt x="1049" y="102"/>
                    <a:pt x="1049" y="102"/>
                    <a:pt x="1050" y="102"/>
                  </a:cubicBezTo>
                  <a:close/>
                  <a:moveTo>
                    <a:pt x="1073" y="102"/>
                  </a:moveTo>
                  <a:cubicBezTo>
                    <a:pt x="1073" y="102"/>
                    <a:pt x="1072" y="102"/>
                    <a:pt x="1072" y="102"/>
                  </a:cubicBezTo>
                  <a:cubicBezTo>
                    <a:pt x="1072" y="102"/>
                    <a:pt x="1073" y="102"/>
                    <a:pt x="1073" y="102"/>
                  </a:cubicBezTo>
                  <a:close/>
                  <a:moveTo>
                    <a:pt x="1227" y="102"/>
                  </a:moveTo>
                  <a:cubicBezTo>
                    <a:pt x="1227" y="102"/>
                    <a:pt x="1227" y="101"/>
                    <a:pt x="1226" y="101"/>
                  </a:cubicBezTo>
                  <a:cubicBezTo>
                    <a:pt x="1227" y="102"/>
                    <a:pt x="1227" y="102"/>
                    <a:pt x="1227" y="102"/>
                  </a:cubicBezTo>
                  <a:close/>
                  <a:moveTo>
                    <a:pt x="1251" y="102"/>
                  </a:moveTo>
                  <a:cubicBezTo>
                    <a:pt x="1251" y="101"/>
                    <a:pt x="1250" y="102"/>
                    <a:pt x="1250" y="102"/>
                  </a:cubicBezTo>
                  <a:cubicBezTo>
                    <a:pt x="1250" y="102"/>
                    <a:pt x="1251" y="102"/>
                    <a:pt x="1251" y="102"/>
                  </a:cubicBezTo>
                  <a:close/>
                  <a:moveTo>
                    <a:pt x="1430" y="102"/>
                  </a:moveTo>
                  <a:cubicBezTo>
                    <a:pt x="1430" y="102"/>
                    <a:pt x="1430" y="101"/>
                    <a:pt x="1429" y="101"/>
                  </a:cubicBezTo>
                  <a:cubicBezTo>
                    <a:pt x="1429" y="102"/>
                    <a:pt x="1430" y="102"/>
                    <a:pt x="1430" y="102"/>
                  </a:cubicBezTo>
                  <a:close/>
                  <a:moveTo>
                    <a:pt x="570" y="102"/>
                  </a:moveTo>
                  <a:cubicBezTo>
                    <a:pt x="569" y="102"/>
                    <a:pt x="569" y="102"/>
                    <a:pt x="569" y="102"/>
                  </a:cubicBezTo>
                  <a:cubicBezTo>
                    <a:pt x="569" y="102"/>
                    <a:pt x="569" y="102"/>
                    <a:pt x="570" y="102"/>
                  </a:cubicBezTo>
                  <a:close/>
                  <a:moveTo>
                    <a:pt x="666" y="102"/>
                  </a:moveTo>
                  <a:cubicBezTo>
                    <a:pt x="666" y="102"/>
                    <a:pt x="665" y="102"/>
                    <a:pt x="665" y="102"/>
                  </a:cubicBezTo>
                  <a:cubicBezTo>
                    <a:pt x="665" y="102"/>
                    <a:pt x="666" y="102"/>
                    <a:pt x="666" y="102"/>
                  </a:cubicBezTo>
                  <a:close/>
                  <a:moveTo>
                    <a:pt x="685" y="102"/>
                  </a:moveTo>
                  <a:cubicBezTo>
                    <a:pt x="685" y="102"/>
                    <a:pt x="684" y="102"/>
                    <a:pt x="684" y="102"/>
                  </a:cubicBezTo>
                  <a:cubicBezTo>
                    <a:pt x="684" y="102"/>
                    <a:pt x="685" y="102"/>
                    <a:pt x="685" y="102"/>
                  </a:cubicBezTo>
                  <a:close/>
                  <a:moveTo>
                    <a:pt x="740" y="102"/>
                  </a:moveTo>
                  <a:cubicBezTo>
                    <a:pt x="740" y="102"/>
                    <a:pt x="740" y="102"/>
                    <a:pt x="739" y="102"/>
                  </a:cubicBezTo>
                  <a:cubicBezTo>
                    <a:pt x="740" y="102"/>
                    <a:pt x="740" y="102"/>
                    <a:pt x="740" y="102"/>
                  </a:cubicBezTo>
                  <a:close/>
                  <a:moveTo>
                    <a:pt x="769" y="102"/>
                  </a:moveTo>
                  <a:cubicBezTo>
                    <a:pt x="768" y="102"/>
                    <a:pt x="768" y="102"/>
                    <a:pt x="768" y="102"/>
                  </a:cubicBezTo>
                  <a:cubicBezTo>
                    <a:pt x="768" y="102"/>
                    <a:pt x="768" y="102"/>
                    <a:pt x="769" y="102"/>
                  </a:cubicBezTo>
                  <a:close/>
                  <a:moveTo>
                    <a:pt x="790" y="102"/>
                  </a:moveTo>
                  <a:cubicBezTo>
                    <a:pt x="789" y="102"/>
                    <a:pt x="789" y="102"/>
                    <a:pt x="789" y="102"/>
                  </a:cubicBezTo>
                  <a:cubicBezTo>
                    <a:pt x="789" y="102"/>
                    <a:pt x="789" y="102"/>
                    <a:pt x="790" y="102"/>
                  </a:cubicBezTo>
                  <a:close/>
                  <a:moveTo>
                    <a:pt x="1031" y="55"/>
                  </a:moveTo>
                  <a:cubicBezTo>
                    <a:pt x="1031" y="55"/>
                    <a:pt x="1031" y="55"/>
                    <a:pt x="1031" y="54"/>
                  </a:cubicBezTo>
                  <a:cubicBezTo>
                    <a:pt x="1031" y="54"/>
                    <a:pt x="1031" y="55"/>
                    <a:pt x="1031" y="55"/>
                  </a:cubicBezTo>
                  <a:close/>
                  <a:moveTo>
                    <a:pt x="1051" y="102"/>
                  </a:moveTo>
                  <a:cubicBezTo>
                    <a:pt x="1050" y="102"/>
                    <a:pt x="1050" y="102"/>
                    <a:pt x="1049" y="102"/>
                  </a:cubicBezTo>
                  <a:cubicBezTo>
                    <a:pt x="1050" y="102"/>
                    <a:pt x="1050" y="102"/>
                    <a:pt x="1051" y="102"/>
                  </a:cubicBezTo>
                  <a:close/>
                  <a:moveTo>
                    <a:pt x="1072" y="102"/>
                  </a:moveTo>
                  <a:cubicBezTo>
                    <a:pt x="1071" y="102"/>
                    <a:pt x="1071" y="102"/>
                    <a:pt x="1071" y="102"/>
                  </a:cubicBezTo>
                  <a:cubicBezTo>
                    <a:pt x="1071" y="102"/>
                    <a:pt x="1071" y="102"/>
                    <a:pt x="1072" y="102"/>
                  </a:cubicBezTo>
                  <a:close/>
                  <a:moveTo>
                    <a:pt x="1185" y="102"/>
                  </a:moveTo>
                  <a:cubicBezTo>
                    <a:pt x="1185" y="102"/>
                    <a:pt x="1185" y="102"/>
                    <a:pt x="1184" y="102"/>
                  </a:cubicBezTo>
                  <a:cubicBezTo>
                    <a:pt x="1184" y="102"/>
                    <a:pt x="1185" y="102"/>
                    <a:pt x="1185" y="102"/>
                  </a:cubicBezTo>
                  <a:close/>
                  <a:moveTo>
                    <a:pt x="1200" y="102"/>
                  </a:moveTo>
                  <a:cubicBezTo>
                    <a:pt x="1200" y="102"/>
                    <a:pt x="1199" y="102"/>
                    <a:pt x="1199" y="102"/>
                  </a:cubicBezTo>
                  <a:cubicBezTo>
                    <a:pt x="1200" y="102"/>
                    <a:pt x="1200" y="102"/>
                    <a:pt x="1200" y="102"/>
                  </a:cubicBezTo>
                  <a:close/>
                  <a:moveTo>
                    <a:pt x="1229" y="102"/>
                  </a:moveTo>
                  <a:cubicBezTo>
                    <a:pt x="1228" y="102"/>
                    <a:pt x="1228" y="102"/>
                    <a:pt x="1227" y="102"/>
                  </a:cubicBezTo>
                  <a:cubicBezTo>
                    <a:pt x="1228" y="102"/>
                    <a:pt x="1228" y="102"/>
                    <a:pt x="1229" y="102"/>
                  </a:cubicBezTo>
                  <a:close/>
                  <a:moveTo>
                    <a:pt x="1250" y="102"/>
                  </a:moveTo>
                  <a:cubicBezTo>
                    <a:pt x="1249" y="102"/>
                    <a:pt x="1249" y="102"/>
                    <a:pt x="1248" y="102"/>
                  </a:cubicBezTo>
                  <a:cubicBezTo>
                    <a:pt x="1249" y="102"/>
                    <a:pt x="1249" y="102"/>
                    <a:pt x="1250" y="102"/>
                  </a:cubicBezTo>
                  <a:close/>
                  <a:moveTo>
                    <a:pt x="1431" y="102"/>
                  </a:moveTo>
                  <a:cubicBezTo>
                    <a:pt x="1431" y="102"/>
                    <a:pt x="1431" y="102"/>
                    <a:pt x="1430" y="102"/>
                  </a:cubicBezTo>
                  <a:cubicBezTo>
                    <a:pt x="1431" y="102"/>
                    <a:pt x="1431" y="102"/>
                    <a:pt x="1431" y="102"/>
                  </a:cubicBezTo>
                  <a:close/>
                  <a:moveTo>
                    <a:pt x="1448" y="102"/>
                  </a:moveTo>
                  <a:cubicBezTo>
                    <a:pt x="1448" y="102"/>
                    <a:pt x="1448" y="102"/>
                    <a:pt x="1447" y="102"/>
                  </a:cubicBezTo>
                  <a:cubicBezTo>
                    <a:pt x="1448" y="102"/>
                    <a:pt x="1448" y="102"/>
                    <a:pt x="1448" y="102"/>
                  </a:cubicBezTo>
                  <a:close/>
                  <a:moveTo>
                    <a:pt x="1652" y="62"/>
                  </a:moveTo>
                  <a:cubicBezTo>
                    <a:pt x="1651" y="62"/>
                    <a:pt x="1651" y="62"/>
                    <a:pt x="1651" y="62"/>
                  </a:cubicBezTo>
                  <a:cubicBezTo>
                    <a:pt x="1651" y="62"/>
                    <a:pt x="1651" y="62"/>
                    <a:pt x="1652" y="62"/>
                  </a:cubicBezTo>
                  <a:close/>
                  <a:moveTo>
                    <a:pt x="667" y="103"/>
                  </a:moveTo>
                  <a:cubicBezTo>
                    <a:pt x="667" y="102"/>
                    <a:pt x="667" y="102"/>
                    <a:pt x="666" y="102"/>
                  </a:cubicBezTo>
                  <a:cubicBezTo>
                    <a:pt x="667" y="103"/>
                    <a:pt x="667" y="103"/>
                    <a:pt x="667" y="103"/>
                  </a:cubicBezTo>
                  <a:close/>
                  <a:moveTo>
                    <a:pt x="727" y="103"/>
                  </a:moveTo>
                  <a:cubicBezTo>
                    <a:pt x="726" y="102"/>
                    <a:pt x="726" y="102"/>
                    <a:pt x="725" y="102"/>
                  </a:cubicBezTo>
                  <a:cubicBezTo>
                    <a:pt x="726" y="103"/>
                    <a:pt x="726" y="103"/>
                    <a:pt x="727" y="103"/>
                  </a:cubicBezTo>
                  <a:close/>
                  <a:moveTo>
                    <a:pt x="739" y="102"/>
                  </a:moveTo>
                  <a:cubicBezTo>
                    <a:pt x="739" y="102"/>
                    <a:pt x="738" y="102"/>
                    <a:pt x="738" y="103"/>
                  </a:cubicBezTo>
                  <a:cubicBezTo>
                    <a:pt x="738" y="103"/>
                    <a:pt x="739" y="103"/>
                    <a:pt x="739" y="102"/>
                  </a:cubicBezTo>
                  <a:close/>
                  <a:moveTo>
                    <a:pt x="770" y="103"/>
                  </a:moveTo>
                  <a:cubicBezTo>
                    <a:pt x="770" y="102"/>
                    <a:pt x="769" y="102"/>
                    <a:pt x="769" y="102"/>
                  </a:cubicBezTo>
                  <a:cubicBezTo>
                    <a:pt x="769" y="103"/>
                    <a:pt x="770" y="103"/>
                    <a:pt x="770" y="103"/>
                  </a:cubicBezTo>
                  <a:close/>
                  <a:moveTo>
                    <a:pt x="1186" y="103"/>
                  </a:moveTo>
                  <a:cubicBezTo>
                    <a:pt x="1186" y="102"/>
                    <a:pt x="1186" y="102"/>
                    <a:pt x="1185" y="102"/>
                  </a:cubicBezTo>
                  <a:cubicBezTo>
                    <a:pt x="1186" y="103"/>
                    <a:pt x="1186" y="103"/>
                    <a:pt x="1186" y="103"/>
                  </a:cubicBezTo>
                  <a:close/>
                  <a:moveTo>
                    <a:pt x="1199" y="102"/>
                  </a:moveTo>
                  <a:cubicBezTo>
                    <a:pt x="1199" y="102"/>
                    <a:pt x="1198" y="102"/>
                    <a:pt x="1198" y="103"/>
                  </a:cubicBezTo>
                  <a:cubicBezTo>
                    <a:pt x="1198" y="103"/>
                    <a:pt x="1199" y="103"/>
                    <a:pt x="1199" y="102"/>
                  </a:cubicBezTo>
                  <a:close/>
                  <a:moveTo>
                    <a:pt x="953" y="40"/>
                  </a:moveTo>
                  <a:cubicBezTo>
                    <a:pt x="953" y="40"/>
                    <a:pt x="953" y="40"/>
                    <a:pt x="953" y="39"/>
                  </a:cubicBezTo>
                  <a:cubicBezTo>
                    <a:pt x="953" y="39"/>
                    <a:pt x="953" y="40"/>
                    <a:pt x="953" y="40"/>
                  </a:cubicBezTo>
                  <a:close/>
                  <a:moveTo>
                    <a:pt x="645" y="63"/>
                  </a:moveTo>
                  <a:cubicBezTo>
                    <a:pt x="644" y="63"/>
                    <a:pt x="644" y="63"/>
                    <a:pt x="644" y="64"/>
                  </a:cubicBezTo>
                  <a:cubicBezTo>
                    <a:pt x="645" y="63"/>
                    <a:pt x="645" y="63"/>
                    <a:pt x="645" y="63"/>
                  </a:cubicBezTo>
                  <a:close/>
                  <a:moveTo>
                    <a:pt x="611" y="52"/>
                  </a:moveTo>
                  <a:cubicBezTo>
                    <a:pt x="610" y="52"/>
                    <a:pt x="611" y="53"/>
                    <a:pt x="611" y="53"/>
                  </a:cubicBezTo>
                  <a:cubicBezTo>
                    <a:pt x="611" y="52"/>
                    <a:pt x="611" y="52"/>
                    <a:pt x="611" y="52"/>
                  </a:cubicBezTo>
                  <a:close/>
                  <a:moveTo>
                    <a:pt x="642" y="40"/>
                  </a:moveTo>
                  <a:cubicBezTo>
                    <a:pt x="643" y="40"/>
                    <a:pt x="643" y="40"/>
                    <a:pt x="643" y="39"/>
                  </a:cubicBezTo>
                  <a:cubicBezTo>
                    <a:pt x="642" y="39"/>
                    <a:pt x="642" y="40"/>
                    <a:pt x="642" y="40"/>
                  </a:cubicBezTo>
                  <a:close/>
                  <a:moveTo>
                    <a:pt x="803" y="48"/>
                  </a:moveTo>
                  <a:cubicBezTo>
                    <a:pt x="803" y="48"/>
                    <a:pt x="803" y="48"/>
                    <a:pt x="803" y="49"/>
                  </a:cubicBezTo>
                  <a:cubicBezTo>
                    <a:pt x="803" y="48"/>
                    <a:pt x="803" y="48"/>
                    <a:pt x="803" y="48"/>
                  </a:cubicBezTo>
                  <a:close/>
                  <a:moveTo>
                    <a:pt x="670" y="48"/>
                  </a:moveTo>
                  <a:cubicBezTo>
                    <a:pt x="670" y="48"/>
                    <a:pt x="670" y="48"/>
                    <a:pt x="670" y="49"/>
                  </a:cubicBezTo>
                  <a:cubicBezTo>
                    <a:pt x="670" y="48"/>
                    <a:pt x="670" y="48"/>
                    <a:pt x="670" y="48"/>
                  </a:cubicBezTo>
                  <a:close/>
                  <a:moveTo>
                    <a:pt x="651" y="48"/>
                  </a:moveTo>
                  <a:cubicBezTo>
                    <a:pt x="650" y="48"/>
                    <a:pt x="650" y="48"/>
                    <a:pt x="650" y="49"/>
                  </a:cubicBezTo>
                  <a:cubicBezTo>
                    <a:pt x="651" y="48"/>
                    <a:pt x="651" y="48"/>
                    <a:pt x="651" y="48"/>
                  </a:cubicBezTo>
                  <a:close/>
                  <a:moveTo>
                    <a:pt x="598" y="49"/>
                  </a:moveTo>
                  <a:cubicBezTo>
                    <a:pt x="598" y="48"/>
                    <a:pt x="598" y="48"/>
                    <a:pt x="597" y="48"/>
                  </a:cubicBezTo>
                  <a:cubicBezTo>
                    <a:pt x="597" y="48"/>
                    <a:pt x="597" y="48"/>
                    <a:pt x="598" y="49"/>
                  </a:cubicBezTo>
                  <a:close/>
                  <a:moveTo>
                    <a:pt x="629" y="103"/>
                  </a:moveTo>
                  <a:cubicBezTo>
                    <a:pt x="628" y="103"/>
                    <a:pt x="628" y="104"/>
                    <a:pt x="628" y="104"/>
                  </a:cubicBezTo>
                  <a:cubicBezTo>
                    <a:pt x="629" y="104"/>
                    <a:pt x="629" y="103"/>
                    <a:pt x="629" y="103"/>
                  </a:cubicBezTo>
                  <a:close/>
                  <a:moveTo>
                    <a:pt x="628" y="105"/>
                  </a:moveTo>
                  <a:cubicBezTo>
                    <a:pt x="628" y="105"/>
                    <a:pt x="628" y="105"/>
                    <a:pt x="628" y="106"/>
                  </a:cubicBezTo>
                  <a:cubicBezTo>
                    <a:pt x="628" y="105"/>
                    <a:pt x="628" y="105"/>
                    <a:pt x="628" y="105"/>
                  </a:cubicBezTo>
                  <a:close/>
                  <a:moveTo>
                    <a:pt x="627" y="106"/>
                  </a:moveTo>
                  <a:cubicBezTo>
                    <a:pt x="627" y="107"/>
                    <a:pt x="627" y="107"/>
                    <a:pt x="627" y="107"/>
                  </a:cubicBezTo>
                  <a:cubicBezTo>
                    <a:pt x="627" y="107"/>
                    <a:pt x="627" y="107"/>
                    <a:pt x="627" y="106"/>
                  </a:cubicBezTo>
                  <a:close/>
                  <a:moveTo>
                    <a:pt x="596" y="123"/>
                  </a:moveTo>
                  <a:cubicBezTo>
                    <a:pt x="596" y="123"/>
                    <a:pt x="596" y="123"/>
                    <a:pt x="597" y="123"/>
                  </a:cubicBezTo>
                  <a:cubicBezTo>
                    <a:pt x="596" y="123"/>
                    <a:pt x="596" y="123"/>
                    <a:pt x="596" y="123"/>
                  </a:cubicBezTo>
                  <a:close/>
                  <a:moveTo>
                    <a:pt x="634" y="64"/>
                  </a:moveTo>
                  <a:cubicBezTo>
                    <a:pt x="634" y="64"/>
                    <a:pt x="634" y="63"/>
                    <a:pt x="634" y="63"/>
                  </a:cubicBezTo>
                  <a:cubicBezTo>
                    <a:pt x="633" y="63"/>
                    <a:pt x="634" y="64"/>
                    <a:pt x="634" y="64"/>
                  </a:cubicBezTo>
                  <a:close/>
                  <a:moveTo>
                    <a:pt x="603" y="123"/>
                  </a:moveTo>
                  <a:cubicBezTo>
                    <a:pt x="604" y="123"/>
                    <a:pt x="604" y="123"/>
                    <a:pt x="604" y="123"/>
                  </a:cubicBezTo>
                  <a:cubicBezTo>
                    <a:pt x="604" y="123"/>
                    <a:pt x="604" y="123"/>
                    <a:pt x="603" y="123"/>
                  </a:cubicBezTo>
                  <a:close/>
                  <a:moveTo>
                    <a:pt x="1032" y="52"/>
                  </a:moveTo>
                  <a:cubicBezTo>
                    <a:pt x="1032" y="52"/>
                    <a:pt x="1032" y="52"/>
                    <a:pt x="1032" y="51"/>
                  </a:cubicBezTo>
                  <a:cubicBezTo>
                    <a:pt x="1032" y="52"/>
                    <a:pt x="1032" y="52"/>
                    <a:pt x="1032" y="52"/>
                  </a:cubicBezTo>
                  <a:close/>
                  <a:moveTo>
                    <a:pt x="608" y="132"/>
                  </a:moveTo>
                  <a:cubicBezTo>
                    <a:pt x="607" y="132"/>
                    <a:pt x="607" y="132"/>
                    <a:pt x="607" y="132"/>
                  </a:cubicBezTo>
                  <a:cubicBezTo>
                    <a:pt x="607" y="132"/>
                    <a:pt x="607" y="133"/>
                    <a:pt x="608" y="132"/>
                  </a:cubicBezTo>
                  <a:close/>
                  <a:moveTo>
                    <a:pt x="1179" y="16"/>
                  </a:moveTo>
                  <a:cubicBezTo>
                    <a:pt x="1180" y="16"/>
                    <a:pt x="1180" y="16"/>
                    <a:pt x="1180" y="16"/>
                  </a:cubicBezTo>
                  <a:cubicBezTo>
                    <a:pt x="1180" y="16"/>
                    <a:pt x="1180" y="16"/>
                    <a:pt x="1179" y="16"/>
                  </a:cubicBezTo>
                  <a:close/>
                  <a:moveTo>
                    <a:pt x="1393" y="16"/>
                  </a:moveTo>
                  <a:cubicBezTo>
                    <a:pt x="1393" y="16"/>
                    <a:pt x="1393" y="16"/>
                    <a:pt x="1393" y="17"/>
                  </a:cubicBezTo>
                  <a:cubicBezTo>
                    <a:pt x="1393" y="16"/>
                    <a:pt x="1393" y="16"/>
                    <a:pt x="1393" y="16"/>
                  </a:cubicBezTo>
                  <a:close/>
                  <a:moveTo>
                    <a:pt x="1462" y="16"/>
                  </a:moveTo>
                  <a:cubicBezTo>
                    <a:pt x="1462" y="16"/>
                    <a:pt x="1462" y="16"/>
                    <a:pt x="1463" y="17"/>
                  </a:cubicBezTo>
                  <a:cubicBezTo>
                    <a:pt x="1463" y="16"/>
                    <a:pt x="1463" y="16"/>
                    <a:pt x="1462" y="16"/>
                  </a:cubicBezTo>
                  <a:close/>
                  <a:moveTo>
                    <a:pt x="1488" y="16"/>
                  </a:moveTo>
                  <a:cubicBezTo>
                    <a:pt x="1488" y="16"/>
                    <a:pt x="1489" y="16"/>
                    <a:pt x="1489" y="16"/>
                  </a:cubicBezTo>
                  <a:cubicBezTo>
                    <a:pt x="1489" y="16"/>
                    <a:pt x="1488" y="16"/>
                    <a:pt x="1488" y="16"/>
                  </a:cubicBezTo>
                  <a:close/>
                  <a:moveTo>
                    <a:pt x="1560" y="16"/>
                  </a:moveTo>
                  <a:cubicBezTo>
                    <a:pt x="1560" y="16"/>
                    <a:pt x="1560" y="16"/>
                    <a:pt x="1559" y="16"/>
                  </a:cubicBezTo>
                  <a:cubicBezTo>
                    <a:pt x="1560" y="16"/>
                    <a:pt x="1560" y="16"/>
                    <a:pt x="1560" y="16"/>
                  </a:cubicBezTo>
                  <a:close/>
                  <a:moveTo>
                    <a:pt x="1728" y="16"/>
                  </a:moveTo>
                  <a:cubicBezTo>
                    <a:pt x="1728" y="16"/>
                    <a:pt x="1728" y="16"/>
                    <a:pt x="1728" y="16"/>
                  </a:cubicBezTo>
                  <a:cubicBezTo>
                    <a:pt x="1728" y="16"/>
                    <a:pt x="1728" y="16"/>
                    <a:pt x="1728" y="16"/>
                  </a:cubicBezTo>
                  <a:close/>
                  <a:moveTo>
                    <a:pt x="541" y="17"/>
                  </a:moveTo>
                  <a:cubicBezTo>
                    <a:pt x="542" y="17"/>
                    <a:pt x="542" y="17"/>
                    <a:pt x="542" y="16"/>
                  </a:cubicBezTo>
                  <a:cubicBezTo>
                    <a:pt x="541" y="16"/>
                    <a:pt x="541" y="17"/>
                    <a:pt x="541" y="17"/>
                  </a:cubicBezTo>
                  <a:close/>
                  <a:moveTo>
                    <a:pt x="1568" y="44"/>
                  </a:moveTo>
                  <a:cubicBezTo>
                    <a:pt x="1568" y="44"/>
                    <a:pt x="1568" y="44"/>
                    <a:pt x="1568" y="43"/>
                  </a:cubicBezTo>
                  <a:cubicBezTo>
                    <a:pt x="1568" y="44"/>
                    <a:pt x="1568" y="44"/>
                    <a:pt x="1568" y="44"/>
                  </a:cubicBezTo>
                  <a:close/>
                  <a:moveTo>
                    <a:pt x="1178" y="17"/>
                  </a:moveTo>
                  <a:cubicBezTo>
                    <a:pt x="1179" y="17"/>
                    <a:pt x="1179" y="17"/>
                    <a:pt x="1179" y="16"/>
                  </a:cubicBezTo>
                  <a:cubicBezTo>
                    <a:pt x="1179" y="16"/>
                    <a:pt x="1178" y="16"/>
                    <a:pt x="1178" y="17"/>
                  </a:cubicBezTo>
                  <a:close/>
                  <a:moveTo>
                    <a:pt x="1682" y="43"/>
                  </a:moveTo>
                  <a:cubicBezTo>
                    <a:pt x="1682" y="44"/>
                    <a:pt x="1682" y="44"/>
                    <a:pt x="1682" y="44"/>
                  </a:cubicBezTo>
                  <a:cubicBezTo>
                    <a:pt x="1682" y="44"/>
                    <a:pt x="1682" y="44"/>
                    <a:pt x="1682" y="43"/>
                  </a:cubicBezTo>
                  <a:close/>
                  <a:moveTo>
                    <a:pt x="1487" y="17"/>
                  </a:moveTo>
                  <a:cubicBezTo>
                    <a:pt x="1488" y="17"/>
                    <a:pt x="1488" y="17"/>
                    <a:pt x="1488" y="16"/>
                  </a:cubicBezTo>
                  <a:cubicBezTo>
                    <a:pt x="1488" y="16"/>
                    <a:pt x="1488" y="16"/>
                    <a:pt x="1487" y="17"/>
                  </a:cubicBezTo>
                  <a:close/>
                  <a:moveTo>
                    <a:pt x="1546" y="16"/>
                  </a:moveTo>
                  <a:cubicBezTo>
                    <a:pt x="1546" y="16"/>
                    <a:pt x="1546" y="16"/>
                    <a:pt x="1545" y="17"/>
                  </a:cubicBezTo>
                  <a:cubicBezTo>
                    <a:pt x="1546" y="17"/>
                    <a:pt x="1546" y="17"/>
                    <a:pt x="1546" y="16"/>
                  </a:cubicBezTo>
                  <a:close/>
                  <a:moveTo>
                    <a:pt x="1561" y="17"/>
                  </a:moveTo>
                  <a:cubicBezTo>
                    <a:pt x="1561" y="16"/>
                    <a:pt x="1561" y="16"/>
                    <a:pt x="1560" y="16"/>
                  </a:cubicBezTo>
                  <a:cubicBezTo>
                    <a:pt x="1561" y="17"/>
                    <a:pt x="1561" y="17"/>
                    <a:pt x="1561" y="17"/>
                  </a:cubicBezTo>
                  <a:close/>
                  <a:moveTo>
                    <a:pt x="1577" y="16"/>
                  </a:moveTo>
                  <a:cubicBezTo>
                    <a:pt x="1577" y="17"/>
                    <a:pt x="1578" y="17"/>
                    <a:pt x="1578" y="17"/>
                  </a:cubicBezTo>
                  <a:cubicBezTo>
                    <a:pt x="1578" y="17"/>
                    <a:pt x="1578" y="16"/>
                    <a:pt x="1577" y="16"/>
                  </a:cubicBezTo>
                  <a:close/>
                  <a:moveTo>
                    <a:pt x="1736" y="44"/>
                  </a:moveTo>
                  <a:cubicBezTo>
                    <a:pt x="1736" y="44"/>
                    <a:pt x="1736" y="44"/>
                    <a:pt x="1736" y="43"/>
                  </a:cubicBezTo>
                  <a:cubicBezTo>
                    <a:pt x="1736" y="44"/>
                    <a:pt x="1736" y="44"/>
                    <a:pt x="1736" y="44"/>
                  </a:cubicBezTo>
                  <a:close/>
                  <a:moveTo>
                    <a:pt x="1714" y="16"/>
                  </a:moveTo>
                  <a:cubicBezTo>
                    <a:pt x="1714" y="16"/>
                    <a:pt x="1714" y="16"/>
                    <a:pt x="1713" y="17"/>
                  </a:cubicBezTo>
                  <a:cubicBezTo>
                    <a:pt x="1714" y="17"/>
                    <a:pt x="1714" y="17"/>
                    <a:pt x="1714" y="16"/>
                  </a:cubicBezTo>
                  <a:close/>
                  <a:moveTo>
                    <a:pt x="1729" y="17"/>
                  </a:moveTo>
                  <a:cubicBezTo>
                    <a:pt x="1729" y="16"/>
                    <a:pt x="1729" y="16"/>
                    <a:pt x="1729" y="16"/>
                  </a:cubicBezTo>
                  <a:cubicBezTo>
                    <a:pt x="1729" y="17"/>
                    <a:pt x="1729" y="17"/>
                    <a:pt x="1729" y="17"/>
                  </a:cubicBezTo>
                  <a:close/>
                  <a:moveTo>
                    <a:pt x="1746" y="16"/>
                  </a:moveTo>
                  <a:cubicBezTo>
                    <a:pt x="1746" y="17"/>
                    <a:pt x="1746" y="17"/>
                    <a:pt x="1746" y="17"/>
                  </a:cubicBezTo>
                  <a:cubicBezTo>
                    <a:pt x="1746" y="17"/>
                    <a:pt x="1746" y="16"/>
                    <a:pt x="1746" y="16"/>
                  </a:cubicBezTo>
                  <a:close/>
                  <a:moveTo>
                    <a:pt x="1177" y="17"/>
                  </a:moveTo>
                  <a:cubicBezTo>
                    <a:pt x="1178" y="17"/>
                    <a:pt x="1178" y="17"/>
                    <a:pt x="1178" y="17"/>
                  </a:cubicBezTo>
                  <a:cubicBezTo>
                    <a:pt x="1178" y="17"/>
                    <a:pt x="1177" y="17"/>
                    <a:pt x="1177" y="17"/>
                  </a:cubicBezTo>
                  <a:close/>
                  <a:moveTo>
                    <a:pt x="1361" y="17"/>
                  </a:moveTo>
                  <a:cubicBezTo>
                    <a:pt x="1361" y="17"/>
                    <a:pt x="1360" y="17"/>
                    <a:pt x="1360" y="17"/>
                  </a:cubicBezTo>
                  <a:cubicBezTo>
                    <a:pt x="1361" y="17"/>
                    <a:pt x="1361" y="17"/>
                    <a:pt x="1361" y="17"/>
                  </a:cubicBezTo>
                  <a:close/>
                  <a:moveTo>
                    <a:pt x="1378" y="17"/>
                  </a:moveTo>
                  <a:cubicBezTo>
                    <a:pt x="1378" y="17"/>
                    <a:pt x="1377" y="17"/>
                    <a:pt x="1377" y="17"/>
                  </a:cubicBezTo>
                  <a:cubicBezTo>
                    <a:pt x="1377" y="17"/>
                    <a:pt x="1377" y="17"/>
                    <a:pt x="1378" y="17"/>
                  </a:cubicBezTo>
                  <a:close/>
                  <a:moveTo>
                    <a:pt x="1418" y="17"/>
                  </a:moveTo>
                  <a:cubicBezTo>
                    <a:pt x="1419" y="17"/>
                    <a:pt x="1419" y="17"/>
                    <a:pt x="1419" y="17"/>
                  </a:cubicBezTo>
                  <a:cubicBezTo>
                    <a:pt x="1419" y="17"/>
                    <a:pt x="1418" y="17"/>
                    <a:pt x="1418" y="17"/>
                  </a:cubicBezTo>
                  <a:close/>
                  <a:moveTo>
                    <a:pt x="660" y="44"/>
                  </a:moveTo>
                  <a:cubicBezTo>
                    <a:pt x="660" y="44"/>
                    <a:pt x="660" y="44"/>
                    <a:pt x="660" y="44"/>
                  </a:cubicBezTo>
                  <a:cubicBezTo>
                    <a:pt x="660" y="44"/>
                    <a:pt x="660" y="44"/>
                    <a:pt x="660" y="44"/>
                  </a:cubicBezTo>
                  <a:close/>
                  <a:moveTo>
                    <a:pt x="1487" y="17"/>
                  </a:moveTo>
                  <a:cubicBezTo>
                    <a:pt x="1487" y="17"/>
                    <a:pt x="1487" y="17"/>
                    <a:pt x="1487" y="17"/>
                  </a:cubicBezTo>
                  <a:cubicBezTo>
                    <a:pt x="1487" y="17"/>
                    <a:pt x="1487" y="17"/>
                    <a:pt x="1487" y="17"/>
                  </a:cubicBezTo>
                  <a:close/>
                  <a:moveTo>
                    <a:pt x="1545" y="17"/>
                  </a:moveTo>
                  <a:cubicBezTo>
                    <a:pt x="1545" y="17"/>
                    <a:pt x="1545" y="17"/>
                    <a:pt x="1544" y="17"/>
                  </a:cubicBezTo>
                  <a:cubicBezTo>
                    <a:pt x="1545" y="17"/>
                    <a:pt x="1545" y="17"/>
                    <a:pt x="1545" y="17"/>
                  </a:cubicBezTo>
                  <a:close/>
                  <a:moveTo>
                    <a:pt x="1562" y="17"/>
                  </a:moveTo>
                  <a:cubicBezTo>
                    <a:pt x="1562" y="17"/>
                    <a:pt x="1561" y="17"/>
                    <a:pt x="1561" y="17"/>
                  </a:cubicBezTo>
                  <a:cubicBezTo>
                    <a:pt x="1561" y="17"/>
                    <a:pt x="1562" y="17"/>
                    <a:pt x="1562" y="17"/>
                  </a:cubicBezTo>
                  <a:close/>
                  <a:moveTo>
                    <a:pt x="674" y="44"/>
                  </a:moveTo>
                  <a:cubicBezTo>
                    <a:pt x="674" y="44"/>
                    <a:pt x="674" y="44"/>
                    <a:pt x="674" y="44"/>
                  </a:cubicBezTo>
                  <a:cubicBezTo>
                    <a:pt x="674" y="44"/>
                    <a:pt x="674" y="44"/>
                    <a:pt x="674" y="44"/>
                  </a:cubicBezTo>
                  <a:close/>
                  <a:moveTo>
                    <a:pt x="1713" y="17"/>
                  </a:moveTo>
                  <a:cubicBezTo>
                    <a:pt x="1713" y="17"/>
                    <a:pt x="1713" y="17"/>
                    <a:pt x="1713" y="17"/>
                  </a:cubicBezTo>
                  <a:cubicBezTo>
                    <a:pt x="1713" y="17"/>
                    <a:pt x="1713" y="17"/>
                    <a:pt x="1713" y="17"/>
                  </a:cubicBezTo>
                  <a:close/>
                  <a:moveTo>
                    <a:pt x="1730" y="17"/>
                  </a:moveTo>
                  <a:cubicBezTo>
                    <a:pt x="1730" y="17"/>
                    <a:pt x="1730" y="17"/>
                    <a:pt x="1729" y="17"/>
                  </a:cubicBezTo>
                  <a:cubicBezTo>
                    <a:pt x="1729" y="17"/>
                    <a:pt x="1730" y="17"/>
                    <a:pt x="1730" y="17"/>
                  </a:cubicBezTo>
                  <a:close/>
                  <a:moveTo>
                    <a:pt x="692" y="44"/>
                  </a:moveTo>
                  <a:cubicBezTo>
                    <a:pt x="692" y="44"/>
                    <a:pt x="691" y="44"/>
                    <a:pt x="691" y="44"/>
                  </a:cubicBezTo>
                  <a:cubicBezTo>
                    <a:pt x="691" y="44"/>
                    <a:pt x="691" y="44"/>
                    <a:pt x="692" y="44"/>
                  </a:cubicBezTo>
                  <a:close/>
                  <a:moveTo>
                    <a:pt x="1176" y="17"/>
                  </a:moveTo>
                  <a:cubicBezTo>
                    <a:pt x="1176" y="17"/>
                    <a:pt x="1177" y="17"/>
                    <a:pt x="1177" y="17"/>
                  </a:cubicBezTo>
                  <a:cubicBezTo>
                    <a:pt x="1177" y="17"/>
                    <a:pt x="1176" y="17"/>
                    <a:pt x="1176" y="17"/>
                  </a:cubicBezTo>
                  <a:close/>
                  <a:moveTo>
                    <a:pt x="1360" y="17"/>
                  </a:moveTo>
                  <a:cubicBezTo>
                    <a:pt x="1360" y="17"/>
                    <a:pt x="1359" y="17"/>
                    <a:pt x="1359" y="17"/>
                  </a:cubicBezTo>
                  <a:cubicBezTo>
                    <a:pt x="1360" y="17"/>
                    <a:pt x="1360" y="17"/>
                    <a:pt x="1360" y="17"/>
                  </a:cubicBezTo>
                  <a:close/>
                  <a:moveTo>
                    <a:pt x="1378" y="17"/>
                  </a:moveTo>
                  <a:cubicBezTo>
                    <a:pt x="1378" y="17"/>
                    <a:pt x="1378" y="17"/>
                    <a:pt x="1378" y="17"/>
                  </a:cubicBezTo>
                  <a:cubicBezTo>
                    <a:pt x="1378" y="17"/>
                    <a:pt x="1378" y="17"/>
                    <a:pt x="1378" y="17"/>
                  </a:cubicBezTo>
                  <a:close/>
                  <a:moveTo>
                    <a:pt x="1394" y="17"/>
                  </a:moveTo>
                  <a:cubicBezTo>
                    <a:pt x="1394" y="17"/>
                    <a:pt x="1394" y="17"/>
                    <a:pt x="1394" y="18"/>
                  </a:cubicBezTo>
                  <a:cubicBezTo>
                    <a:pt x="1394" y="17"/>
                    <a:pt x="1394" y="17"/>
                    <a:pt x="1394" y="17"/>
                  </a:cubicBezTo>
                  <a:close/>
                  <a:moveTo>
                    <a:pt x="1463" y="17"/>
                  </a:moveTo>
                  <a:cubicBezTo>
                    <a:pt x="1463" y="17"/>
                    <a:pt x="1463" y="18"/>
                    <a:pt x="1463" y="18"/>
                  </a:cubicBezTo>
                  <a:cubicBezTo>
                    <a:pt x="1463" y="17"/>
                    <a:pt x="1463" y="17"/>
                    <a:pt x="1463" y="17"/>
                  </a:cubicBezTo>
                  <a:close/>
                  <a:moveTo>
                    <a:pt x="1486" y="17"/>
                  </a:moveTo>
                  <a:cubicBezTo>
                    <a:pt x="1486" y="17"/>
                    <a:pt x="1487" y="17"/>
                    <a:pt x="1487" y="17"/>
                  </a:cubicBezTo>
                  <a:cubicBezTo>
                    <a:pt x="1486" y="17"/>
                    <a:pt x="1486" y="17"/>
                    <a:pt x="1486" y="17"/>
                  </a:cubicBezTo>
                  <a:close/>
                  <a:moveTo>
                    <a:pt x="1544" y="17"/>
                  </a:moveTo>
                  <a:cubicBezTo>
                    <a:pt x="1544" y="17"/>
                    <a:pt x="1544" y="17"/>
                    <a:pt x="1544" y="17"/>
                  </a:cubicBezTo>
                  <a:cubicBezTo>
                    <a:pt x="1544" y="17"/>
                    <a:pt x="1544" y="17"/>
                    <a:pt x="1544" y="17"/>
                  </a:cubicBezTo>
                  <a:close/>
                  <a:moveTo>
                    <a:pt x="1563" y="17"/>
                  </a:moveTo>
                  <a:cubicBezTo>
                    <a:pt x="1562" y="17"/>
                    <a:pt x="1562" y="17"/>
                    <a:pt x="1562" y="17"/>
                  </a:cubicBezTo>
                  <a:cubicBezTo>
                    <a:pt x="1562" y="17"/>
                    <a:pt x="1562" y="17"/>
                    <a:pt x="1563" y="17"/>
                  </a:cubicBezTo>
                  <a:close/>
                  <a:moveTo>
                    <a:pt x="801" y="44"/>
                  </a:moveTo>
                  <a:cubicBezTo>
                    <a:pt x="801" y="44"/>
                    <a:pt x="801" y="44"/>
                    <a:pt x="801" y="44"/>
                  </a:cubicBezTo>
                  <a:cubicBezTo>
                    <a:pt x="801" y="44"/>
                    <a:pt x="801" y="44"/>
                    <a:pt x="801" y="44"/>
                  </a:cubicBezTo>
                  <a:close/>
                  <a:moveTo>
                    <a:pt x="1713" y="17"/>
                  </a:moveTo>
                  <a:cubicBezTo>
                    <a:pt x="1712" y="17"/>
                    <a:pt x="1712" y="17"/>
                    <a:pt x="1712" y="17"/>
                  </a:cubicBezTo>
                  <a:cubicBezTo>
                    <a:pt x="1712" y="17"/>
                    <a:pt x="1712" y="17"/>
                    <a:pt x="1713" y="17"/>
                  </a:cubicBezTo>
                  <a:close/>
                  <a:moveTo>
                    <a:pt x="1731" y="17"/>
                  </a:moveTo>
                  <a:cubicBezTo>
                    <a:pt x="1731" y="17"/>
                    <a:pt x="1730" y="17"/>
                    <a:pt x="1730" y="17"/>
                  </a:cubicBezTo>
                  <a:cubicBezTo>
                    <a:pt x="1730" y="17"/>
                    <a:pt x="1730" y="17"/>
                    <a:pt x="1731" y="17"/>
                  </a:cubicBezTo>
                  <a:close/>
                  <a:moveTo>
                    <a:pt x="837" y="44"/>
                  </a:moveTo>
                  <a:cubicBezTo>
                    <a:pt x="837" y="44"/>
                    <a:pt x="837" y="44"/>
                    <a:pt x="837" y="44"/>
                  </a:cubicBezTo>
                  <a:cubicBezTo>
                    <a:pt x="837" y="44"/>
                    <a:pt x="837" y="44"/>
                    <a:pt x="837" y="44"/>
                  </a:cubicBezTo>
                  <a:close/>
                  <a:moveTo>
                    <a:pt x="852" y="44"/>
                  </a:moveTo>
                  <a:cubicBezTo>
                    <a:pt x="852" y="44"/>
                    <a:pt x="852" y="44"/>
                    <a:pt x="852" y="44"/>
                  </a:cubicBezTo>
                  <a:cubicBezTo>
                    <a:pt x="852" y="44"/>
                    <a:pt x="852" y="44"/>
                    <a:pt x="852" y="44"/>
                  </a:cubicBezTo>
                  <a:close/>
                  <a:moveTo>
                    <a:pt x="558" y="17"/>
                  </a:moveTo>
                  <a:cubicBezTo>
                    <a:pt x="558" y="17"/>
                    <a:pt x="557" y="17"/>
                    <a:pt x="557" y="18"/>
                  </a:cubicBezTo>
                  <a:cubicBezTo>
                    <a:pt x="558" y="18"/>
                    <a:pt x="558" y="18"/>
                    <a:pt x="558" y="17"/>
                  </a:cubicBezTo>
                  <a:close/>
                  <a:moveTo>
                    <a:pt x="578" y="18"/>
                  </a:moveTo>
                  <a:cubicBezTo>
                    <a:pt x="577" y="17"/>
                    <a:pt x="577" y="17"/>
                    <a:pt x="577" y="17"/>
                  </a:cubicBezTo>
                  <a:cubicBezTo>
                    <a:pt x="577" y="18"/>
                    <a:pt x="577" y="18"/>
                    <a:pt x="578" y="18"/>
                  </a:cubicBezTo>
                  <a:close/>
                  <a:moveTo>
                    <a:pt x="1175" y="18"/>
                  </a:moveTo>
                  <a:cubicBezTo>
                    <a:pt x="1175" y="18"/>
                    <a:pt x="1176" y="18"/>
                    <a:pt x="1176" y="17"/>
                  </a:cubicBezTo>
                  <a:cubicBezTo>
                    <a:pt x="1176" y="17"/>
                    <a:pt x="1175" y="17"/>
                    <a:pt x="1175" y="18"/>
                  </a:cubicBezTo>
                  <a:close/>
                  <a:moveTo>
                    <a:pt x="1359" y="17"/>
                  </a:moveTo>
                  <a:cubicBezTo>
                    <a:pt x="1359" y="17"/>
                    <a:pt x="1359" y="17"/>
                    <a:pt x="1359" y="18"/>
                  </a:cubicBezTo>
                  <a:cubicBezTo>
                    <a:pt x="1359" y="18"/>
                    <a:pt x="1359" y="18"/>
                    <a:pt x="1359" y="17"/>
                  </a:cubicBezTo>
                  <a:close/>
                  <a:moveTo>
                    <a:pt x="1379" y="18"/>
                  </a:moveTo>
                  <a:cubicBezTo>
                    <a:pt x="1379" y="17"/>
                    <a:pt x="1379" y="17"/>
                    <a:pt x="1378" y="17"/>
                  </a:cubicBezTo>
                  <a:cubicBezTo>
                    <a:pt x="1379" y="18"/>
                    <a:pt x="1379" y="18"/>
                    <a:pt x="1379" y="18"/>
                  </a:cubicBezTo>
                  <a:close/>
                  <a:moveTo>
                    <a:pt x="867" y="44"/>
                  </a:moveTo>
                  <a:cubicBezTo>
                    <a:pt x="867" y="44"/>
                    <a:pt x="867" y="44"/>
                    <a:pt x="867" y="44"/>
                  </a:cubicBezTo>
                  <a:cubicBezTo>
                    <a:pt x="867" y="44"/>
                    <a:pt x="867" y="44"/>
                    <a:pt x="867" y="44"/>
                  </a:cubicBezTo>
                  <a:close/>
                  <a:moveTo>
                    <a:pt x="1485" y="18"/>
                  </a:moveTo>
                  <a:cubicBezTo>
                    <a:pt x="1485" y="18"/>
                    <a:pt x="1486" y="18"/>
                    <a:pt x="1486" y="17"/>
                  </a:cubicBezTo>
                  <a:cubicBezTo>
                    <a:pt x="1485" y="17"/>
                    <a:pt x="1485" y="17"/>
                    <a:pt x="1485" y="18"/>
                  </a:cubicBezTo>
                  <a:close/>
                  <a:moveTo>
                    <a:pt x="1543" y="17"/>
                  </a:moveTo>
                  <a:cubicBezTo>
                    <a:pt x="1543" y="17"/>
                    <a:pt x="1543" y="17"/>
                    <a:pt x="1543" y="18"/>
                  </a:cubicBezTo>
                  <a:cubicBezTo>
                    <a:pt x="1543" y="18"/>
                    <a:pt x="1543" y="18"/>
                    <a:pt x="1543" y="17"/>
                  </a:cubicBezTo>
                  <a:close/>
                  <a:moveTo>
                    <a:pt x="1563" y="18"/>
                  </a:moveTo>
                  <a:cubicBezTo>
                    <a:pt x="1563" y="17"/>
                    <a:pt x="1563" y="17"/>
                    <a:pt x="1563" y="17"/>
                  </a:cubicBezTo>
                  <a:cubicBezTo>
                    <a:pt x="1563" y="18"/>
                    <a:pt x="1563" y="18"/>
                    <a:pt x="1563" y="18"/>
                  </a:cubicBezTo>
                  <a:close/>
                  <a:moveTo>
                    <a:pt x="1578" y="17"/>
                  </a:moveTo>
                  <a:cubicBezTo>
                    <a:pt x="1578" y="18"/>
                    <a:pt x="1578" y="18"/>
                    <a:pt x="1579" y="18"/>
                  </a:cubicBezTo>
                  <a:cubicBezTo>
                    <a:pt x="1579" y="18"/>
                    <a:pt x="1579" y="17"/>
                    <a:pt x="1578" y="17"/>
                  </a:cubicBezTo>
                  <a:close/>
                  <a:moveTo>
                    <a:pt x="1680" y="17"/>
                  </a:moveTo>
                  <a:cubicBezTo>
                    <a:pt x="1680" y="18"/>
                    <a:pt x="1680" y="18"/>
                    <a:pt x="1680" y="18"/>
                  </a:cubicBezTo>
                  <a:cubicBezTo>
                    <a:pt x="1680" y="18"/>
                    <a:pt x="1680" y="17"/>
                    <a:pt x="1680" y="17"/>
                  </a:cubicBezTo>
                  <a:close/>
                  <a:moveTo>
                    <a:pt x="1712" y="17"/>
                  </a:moveTo>
                  <a:cubicBezTo>
                    <a:pt x="1711" y="17"/>
                    <a:pt x="1711" y="17"/>
                    <a:pt x="1711" y="18"/>
                  </a:cubicBezTo>
                  <a:cubicBezTo>
                    <a:pt x="1711" y="18"/>
                    <a:pt x="1711" y="18"/>
                    <a:pt x="1712" y="17"/>
                  </a:cubicBezTo>
                  <a:close/>
                  <a:moveTo>
                    <a:pt x="1731" y="18"/>
                  </a:moveTo>
                  <a:cubicBezTo>
                    <a:pt x="1731" y="17"/>
                    <a:pt x="1731" y="17"/>
                    <a:pt x="1731" y="17"/>
                  </a:cubicBezTo>
                  <a:cubicBezTo>
                    <a:pt x="1731" y="18"/>
                    <a:pt x="1731" y="18"/>
                    <a:pt x="1731" y="18"/>
                  </a:cubicBezTo>
                  <a:close/>
                  <a:moveTo>
                    <a:pt x="1746" y="17"/>
                  </a:moveTo>
                  <a:cubicBezTo>
                    <a:pt x="1746" y="18"/>
                    <a:pt x="1746" y="18"/>
                    <a:pt x="1747" y="18"/>
                  </a:cubicBezTo>
                  <a:cubicBezTo>
                    <a:pt x="1747" y="18"/>
                    <a:pt x="1747" y="17"/>
                    <a:pt x="1746" y="17"/>
                  </a:cubicBezTo>
                  <a:close/>
                  <a:moveTo>
                    <a:pt x="540" y="18"/>
                  </a:moveTo>
                  <a:cubicBezTo>
                    <a:pt x="541" y="18"/>
                    <a:pt x="541" y="18"/>
                    <a:pt x="541" y="18"/>
                  </a:cubicBezTo>
                  <a:cubicBezTo>
                    <a:pt x="540" y="18"/>
                    <a:pt x="540" y="18"/>
                    <a:pt x="540" y="18"/>
                  </a:cubicBezTo>
                  <a:close/>
                  <a:moveTo>
                    <a:pt x="557" y="18"/>
                  </a:moveTo>
                  <a:cubicBezTo>
                    <a:pt x="557" y="18"/>
                    <a:pt x="557" y="18"/>
                    <a:pt x="556" y="18"/>
                  </a:cubicBezTo>
                  <a:cubicBezTo>
                    <a:pt x="557" y="18"/>
                    <a:pt x="557" y="18"/>
                    <a:pt x="557" y="18"/>
                  </a:cubicBezTo>
                  <a:close/>
                  <a:moveTo>
                    <a:pt x="579" y="18"/>
                  </a:moveTo>
                  <a:cubicBezTo>
                    <a:pt x="578" y="18"/>
                    <a:pt x="578" y="18"/>
                    <a:pt x="578" y="18"/>
                  </a:cubicBezTo>
                  <a:cubicBezTo>
                    <a:pt x="578" y="18"/>
                    <a:pt x="578" y="18"/>
                    <a:pt x="579" y="18"/>
                  </a:cubicBezTo>
                  <a:close/>
                  <a:moveTo>
                    <a:pt x="869" y="44"/>
                  </a:moveTo>
                  <a:cubicBezTo>
                    <a:pt x="869" y="44"/>
                    <a:pt x="870" y="44"/>
                    <a:pt x="870" y="44"/>
                  </a:cubicBezTo>
                  <a:cubicBezTo>
                    <a:pt x="869" y="44"/>
                    <a:pt x="869" y="44"/>
                    <a:pt x="869" y="44"/>
                  </a:cubicBezTo>
                  <a:close/>
                  <a:moveTo>
                    <a:pt x="987" y="18"/>
                  </a:moveTo>
                  <a:cubicBezTo>
                    <a:pt x="986" y="18"/>
                    <a:pt x="986" y="18"/>
                    <a:pt x="986" y="18"/>
                  </a:cubicBezTo>
                  <a:cubicBezTo>
                    <a:pt x="986" y="18"/>
                    <a:pt x="987" y="18"/>
                    <a:pt x="987" y="18"/>
                  </a:cubicBezTo>
                  <a:close/>
                  <a:moveTo>
                    <a:pt x="1359" y="18"/>
                  </a:moveTo>
                  <a:cubicBezTo>
                    <a:pt x="1358" y="18"/>
                    <a:pt x="1358" y="18"/>
                    <a:pt x="1358" y="18"/>
                  </a:cubicBezTo>
                  <a:cubicBezTo>
                    <a:pt x="1358" y="18"/>
                    <a:pt x="1358" y="18"/>
                    <a:pt x="1359" y="18"/>
                  </a:cubicBezTo>
                  <a:close/>
                  <a:moveTo>
                    <a:pt x="880" y="44"/>
                  </a:moveTo>
                  <a:cubicBezTo>
                    <a:pt x="880" y="44"/>
                    <a:pt x="880" y="44"/>
                    <a:pt x="880" y="44"/>
                  </a:cubicBezTo>
                  <a:cubicBezTo>
                    <a:pt x="880" y="44"/>
                    <a:pt x="880" y="44"/>
                    <a:pt x="880" y="44"/>
                  </a:cubicBezTo>
                  <a:close/>
                  <a:moveTo>
                    <a:pt x="1394" y="18"/>
                  </a:moveTo>
                  <a:cubicBezTo>
                    <a:pt x="1394" y="18"/>
                    <a:pt x="1394" y="18"/>
                    <a:pt x="1394" y="18"/>
                  </a:cubicBezTo>
                  <a:cubicBezTo>
                    <a:pt x="1394" y="18"/>
                    <a:pt x="1394" y="18"/>
                    <a:pt x="1394" y="18"/>
                  </a:cubicBezTo>
                  <a:close/>
                  <a:moveTo>
                    <a:pt x="1418" y="18"/>
                  </a:moveTo>
                  <a:cubicBezTo>
                    <a:pt x="1418" y="18"/>
                    <a:pt x="1418" y="18"/>
                    <a:pt x="1418" y="18"/>
                  </a:cubicBezTo>
                  <a:cubicBezTo>
                    <a:pt x="1418" y="18"/>
                    <a:pt x="1418" y="18"/>
                    <a:pt x="1418" y="18"/>
                  </a:cubicBezTo>
                  <a:close/>
                  <a:moveTo>
                    <a:pt x="1463" y="18"/>
                  </a:moveTo>
                  <a:cubicBezTo>
                    <a:pt x="1463" y="18"/>
                    <a:pt x="1463" y="18"/>
                    <a:pt x="1464" y="18"/>
                  </a:cubicBezTo>
                  <a:cubicBezTo>
                    <a:pt x="1464" y="18"/>
                    <a:pt x="1464" y="18"/>
                    <a:pt x="1463" y="18"/>
                  </a:cubicBezTo>
                  <a:close/>
                  <a:moveTo>
                    <a:pt x="1484" y="18"/>
                  </a:moveTo>
                  <a:cubicBezTo>
                    <a:pt x="1485" y="18"/>
                    <a:pt x="1485" y="18"/>
                    <a:pt x="1485" y="18"/>
                  </a:cubicBezTo>
                  <a:cubicBezTo>
                    <a:pt x="1485" y="18"/>
                    <a:pt x="1484" y="18"/>
                    <a:pt x="1484" y="18"/>
                  </a:cubicBezTo>
                  <a:close/>
                  <a:moveTo>
                    <a:pt x="1543" y="18"/>
                  </a:moveTo>
                  <a:cubicBezTo>
                    <a:pt x="1542" y="18"/>
                    <a:pt x="1542" y="18"/>
                    <a:pt x="1542" y="18"/>
                  </a:cubicBezTo>
                  <a:cubicBezTo>
                    <a:pt x="1542" y="18"/>
                    <a:pt x="1543" y="18"/>
                    <a:pt x="1543" y="18"/>
                  </a:cubicBezTo>
                  <a:close/>
                  <a:moveTo>
                    <a:pt x="895" y="44"/>
                  </a:moveTo>
                  <a:cubicBezTo>
                    <a:pt x="895" y="44"/>
                    <a:pt x="895" y="44"/>
                    <a:pt x="895" y="44"/>
                  </a:cubicBezTo>
                  <a:cubicBezTo>
                    <a:pt x="895" y="44"/>
                    <a:pt x="895" y="44"/>
                    <a:pt x="895" y="44"/>
                  </a:cubicBezTo>
                  <a:close/>
                  <a:moveTo>
                    <a:pt x="1711" y="18"/>
                  </a:moveTo>
                  <a:cubicBezTo>
                    <a:pt x="1711" y="18"/>
                    <a:pt x="1710" y="18"/>
                    <a:pt x="1710" y="18"/>
                  </a:cubicBezTo>
                  <a:cubicBezTo>
                    <a:pt x="1710" y="18"/>
                    <a:pt x="1711" y="18"/>
                    <a:pt x="1711" y="18"/>
                  </a:cubicBezTo>
                  <a:close/>
                  <a:moveTo>
                    <a:pt x="557" y="18"/>
                  </a:moveTo>
                  <a:cubicBezTo>
                    <a:pt x="556" y="18"/>
                    <a:pt x="556" y="18"/>
                    <a:pt x="556" y="18"/>
                  </a:cubicBezTo>
                  <a:cubicBezTo>
                    <a:pt x="556" y="18"/>
                    <a:pt x="556" y="18"/>
                    <a:pt x="557" y="18"/>
                  </a:cubicBezTo>
                  <a:close/>
                  <a:moveTo>
                    <a:pt x="986" y="18"/>
                  </a:moveTo>
                  <a:cubicBezTo>
                    <a:pt x="985" y="18"/>
                    <a:pt x="985" y="18"/>
                    <a:pt x="985" y="18"/>
                  </a:cubicBezTo>
                  <a:cubicBezTo>
                    <a:pt x="985" y="18"/>
                    <a:pt x="986" y="18"/>
                    <a:pt x="986" y="18"/>
                  </a:cubicBezTo>
                  <a:close/>
                  <a:moveTo>
                    <a:pt x="1358" y="18"/>
                  </a:moveTo>
                  <a:cubicBezTo>
                    <a:pt x="1358" y="18"/>
                    <a:pt x="1357" y="18"/>
                    <a:pt x="1357" y="18"/>
                  </a:cubicBezTo>
                  <a:cubicBezTo>
                    <a:pt x="1357" y="18"/>
                    <a:pt x="1358" y="18"/>
                    <a:pt x="1358" y="18"/>
                  </a:cubicBezTo>
                  <a:close/>
                  <a:moveTo>
                    <a:pt x="1484" y="18"/>
                  </a:moveTo>
                  <a:cubicBezTo>
                    <a:pt x="1484" y="18"/>
                    <a:pt x="1484" y="18"/>
                    <a:pt x="1484" y="18"/>
                  </a:cubicBezTo>
                  <a:cubicBezTo>
                    <a:pt x="1484" y="18"/>
                    <a:pt x="1484" y="18"/>
                    <a:pt x="1484" y="18"/>
                  </a:cubicBezTo>
                  <a:close/>
                  <a:moveTo>
                    <a:pt x="1542" y="18"/>
                  </a:moveTo>
                  <a:cubicBezTo>
                    <a:pt x="1542" y="18"/>
                    <a:pt x="1541" y="18"/>
                    <a:pt x="1541" y="18"/>
                  </a:cubicBezTo>
                  <a:cubicBezTo>
                    <a:pt x="1542" y="18"/>
                    <a:pt x="1542" y="18"/>
                    <a:pt x="1542" y="18"/>
                  </a:cubicBezTo>
                  <a:close/>
                  <a:moveTo>
                    <a:pt x="1564" y="18"/>
                  </a:moveTo>
                  <a:cubicBezTo>
                    <a:pt x="1564" y="18"/>
                    <a:pt x="1564" y="18"/>
                    <a:pt x="1564" y="18"/>
                  </a:cubicBezTo>
                  <a:cubicBezTo>
                    <a:pt x="1564" y="18"/>
                    <a:pt x="1564" y="18"/>
                    <a:pt x="1564" y="18"/>
                  </a:cubicBezTo>
                  <a:close/>
                  <a:moveTo>
                    <a:pt x="1579" y="18"/>
                  </a:moveTo>
                  <a:cubicBezTo>
                    <a:pt x="1579" y="18"/>
                    <a:pt x="1579" y="19"/>
                    <a:pt x="1579" y="19"/>
                  </a:cubicBezTo>
                  <a:cubicBezTo>
                    <a:pt x="1579" y="18"/>
                    <a:pt x="1579" y="18"/>
                    <a:pt x="1579" y="18"/>
                  </a:cubicBezTo>
                  <a:close/>
                  <a:moveTo>
                    <a:pt x="1111" y="44"/>
                  </a:moveTo>
                  <a:cubicBezTo>
                    <a:pt x="1111" y="44"/>
                    <a:pt x="1111" y="44"/>
                    <a:pt x="1111" y="44"/>
                  </a:cubicBezTo>
                  <a:cubicBezTo>
                    <a:pt x="1111" y="44"/>
                    <a:pt x="1111" y="44"/>
                    <a:pt x="1111" y="44"/>
                  </a:cubicBezTo>
                  <a:close/>
                  <a:moveTo>
                    <a:pt x="1710" y="18"/>
                  </a:moveTo>
                  <a:cubicBezTo>
                    <a:pt x="1710" y="18"/>
                    <a:pt x="1710" y="18"/>
                    <a:pt x="1709" y="18"/>
                  </a:cubicBezTo>
                  <a:cubicBezTo>
                    <a:pt x="1710" y="18"/>
                    <a:pt x="1710" y="18"/>
                    <a:pt x="1710" y="18"/>
                  </a:cubicBezTo>
                  <a:close/>
                  <a:moveTo>
                    <a:pt x="1732" y="18"/>
                  </a:moveTo>
                  <a:cubicBezTo>
                    <a:pt x="1732" y="18"/>
                    <a:pt x="1732" y="18"/>
                    <a:pt x="1732" y="18"/>
                  </a:cubicBezTo>
                  <a:cubicBezTo>
                    <a:pt x="1732" y="18"/>
                    <a:pt x="1732" y="18"/>
                    <a:pt x="1732" y="18"/>
                  </a:cubicBezTo>
                  <a:close/>
                  <a:moveTo>
                    <a:pt x="1747" y="18"/>
                  </a:moveTo>
                  <a:cubicBezTo>
                    <a:pt x="1747" y="18"/>
                    <a:pt x="1747" y="19"/>
                    <a:pt x="1747" y="19"/>
                  </a:cubicBezTo>
                  <a:cubicBezTo>
                    <a:pt x="1747" y="18"/>
                    <a:pt x="1747" y="18"/>
                    <a:pt x="1747" y="18"/>
                  </a:cubicBezTo>
                  <a:close/>
                  <a:moveTo>
                    <a:pt x="540" y="19"/>
                  </a:moveTo>
                  <a:cubicBezTo>
                    <a:pt x="540" y="19"/>
                    <a:pt x="540" y="19"/>
                    <a:pt x="540" y="18"/>
                  </a:cubicBezTo>
                  <a:cubicBezTo>
                    <a:pt x="540" y="18"/>
                    <a:pt x="540" y="19"/>
                    <a:pt x="540" y="19"/>
                  </a:cubicBezTo>
                  <a:close/>
                  <a:moveTo>
                    <a:pt x="556" y="18"/>
                  </a:moveTo>
                  <a:cubicBezTo>
                    <a:pt x="556" y="18"/>
                    <a:pt x="555" y="18"/>
                    <a:pt x="555" y="19"/>
                  </a:cubicBezTo>
                  <a:cubicBezTo>
                    <a:pt x="555" y="19"/>
                    <a:pt x="556" y="19"/>
                    <a:pt x="556" y="18"/>
                  </a:cubicBezTo>
                  <a:close/>
                  <a:moveTo>
                    <a:pt x="580" y="19"/>
                  </a:moveTo>
                  <a:cubicBezTo>
                    <a:pt x="580" y="18"/>
                    <a:pt x="580" y="18"/>
                    <a:pt x="580" y="18"/>
                  </a:cubicBezTo>
                  <a:cubicBezTo>
                    <a:pt x="580" y="19"/>
                    <a:pt x="580" y="19"/>
                    <a:pt x="580" y="19"/>
                  </a:cubicBezTo>
                  <a:close/>
                  <a:moveTo>
                    <a:pt x="650" y="49"/>
                  </a:moveTo>
                  <a:cubicBezTo>
                    <a:pt x="650" y="50"/>
                    <a:pt x="649" y="50"/>
                    <a:pt x="649" y="50"/>
                  </a:cubicBezTo>
                  <a:cubicBezTo>
                    <a:pt x="650" y="50"/>
                    <a:pt x="650" y="50"/>
                    <a:pt x="650" y="49"/>
                  </a:cubicBezTo>
                  <a:close/>
                  <a:moveTo>
                    <a:pt x="1014" y="19"/>
                  </a:moveTo>
                  <a:cubicBezTo>
                    <a:pt x="1014" y="18"/>
                    <a:pt x="1014" y="18"/>
                    <a:pt x="1014" y="18"/>
                  </a:cubicBezTo>
                  <a:cubicBezTo>
                    <a:pt x="1014" y="19"/>
                    <a:pt x="1014" y="19"/>
                    <a:pt x="1014" y="19"/>
                  </a:cubicBezTo>
                  <a:close/>
                  <a:moveTo>
                    <a:pt x="1357" y="18"/>
                  </a:moveTo>
                  <a:cubicBezTo>
                    <a:pt x="1357" y="18"/>
                    <a:pt x="1357" y="18"/>
                    <a:pt x="1356" y="19"/>
                  </a:cubicBezTo>
                  <a:cubicBezTo>
                    <a:pt x="1357" y="19"/>
                    <a:pt x="1357" y="19"/>
                    <a:pt x="1357" y="18"/>
                  </a:cubicBezTo>
                  <a:close/>
                  <a:moveTo>
                    <a:pt x="1137" y="44"/>
                  </a:moveTo>
                  <a:cubicBezTo>
                    <a:pt x="1137" y="44"/>
                    <a:pt x="1136" y="44"/>
                    <a:pt x="1136" y="44"/>
                  </a:cubicBezTo>
                  <a:cubicBezTo>
                    <a:pt x="1136" y="44"/>
                    <a:pt x="1137" y="44"/>
                    <a:pt x="1137" y="44"/>
                  </a:cubicBezTo>
                  <a:close/>
                  <a:moveTo>
                    <a:pt x="1152" y="44"/>
                  </a:moveTo>
                  <a:cubicBezTo>
                    <a:pt x="1152" y="44"/>
                    <a:pt x="1152" y="44"/>
                    <a:pt x="1152" y="44"/>
                  </a:cubicBezTo>
                  <a:cubicBezTo>
                    <a:pt x="1152" y="44"/>
                    <a:pt x="1152" y="44"/>
                    <a:pt x="1152" y="44"/>
                  </a:cubicBezTo>
                  <a:close/>
                  <a:moveTo>
                    <a:pt x="751" y="50"/>
                  </a:moveTo>
                  <a:cubicBezTo>
                    <a:pt x="751" y="50"/>
                    <a:pt x="751" y="50"/>
                    <a:pt x="751" y="50"/>
                  </a:cubicBezTo>
                  <a:cubicBezTo>
                    <a:pt x="751" y="50"/>
                    <a:pt x="751" y="50"/>
                    <a:pt x="751" y="50"/>
                  </a:cubicBezTo>
                  <a:close/>
                  <a:moveTo>
                    <a:pt x="1482" y="19"/>
                  </a:moveTo>
                  <a:cubicBezTo>
                    <a:pt x="1483" y="19"/>
                    <a:pt x="1483" y="19"/>
                    <a:pt x="1483" y="18"/>
                  </a:cubicBezTo>
                  <a:cubicBezTo>
                    <a:pt x="1483" y="18"/>
                    <a:pt x="1483" y="18"/>
                    <a:pt x="1482" y="19"/>
                  </a:cubicBezTo>
                  <a:close/>
                  <a:moveTo>
                    <a:pt x="1541" y="18"/>
                  </a:moveTo>
                  <a:cubicBezTo>
                    <a:pt x="1541" y="18"/>
                    <a:pt x="1541" y="18"/>
                    <a:pt x="1541" y="19"/>
                  </a:cubicBezTo>
                  <a:cubicBezTo>
                    <a:pt x="1541" y="19"/>
                    <a:pt x="1541" y="19"/>
                    <a:pt x="1541" y="18"/>
                  </a:cubicBezTo>
                  <a:close/>
                  <a:moveTo>
                    <a:pt x="1680" y="18"/>
                  </a:moveTo>
                  <a:cubicBezTo>
                    <a:pt x="1681" y="19"/>
                    <a:pt x="1681" y="19"/>
                    <a:pt x="1681" y="19"/>
                  </a:cubicBezTo>
                  <a:cubicBezTo>
                    <a:pt x="1681" y="19"/>
                    <a:pt x="1681" y="18"/>
                    <a:pt x="1680" y="18"/>
                  </a:cubicBezTo>
                  <a:close/>
                  <a:moveTo>
                    <a:pt x="1709" y="18"/>
                  </a:moveTo>
                  <a:cubicBezTo>
                    <a:pt x="1709" y="18"/>
                    <a:pt x="1709" y="18"/>
                    <a:pt x="1709" y="19"/>
                  </a:cubicBezTo>
                  <a:cubicBezTo>
                    <a:pt x="1709" y="19"/>
                    <a:pt x="1709" y="19"/>
                    <a:pt x="1709" y="18"/>
                  </a:cubicBezTo>
                  <a:close/>
                  <a:moveTo>
                    <a:pt x="555" y="19"/>
                  </a:moveTo>
                  <a:cubicBezTo>
                    <a:pt x="555" y="19"/>
                    <a:pt x="555" y="19"/>
                    <a:pt x="555" y="19"/>
                  </a:cubicBezTo>
                  <a:cubicBezTo>
                    <a:pt x="555" y="19"/>
                    <a:pt x="555" y="19"/>
                    <a:pt x="555" y="19"/>
                  </a:cubicBezTo>
                  <a:close/>
                  <a:moveTo>
                    <a:pt x="581" y="19"/>
                  </a:moveTo>
                  <a:cubicBezTo>
                    <a:pt x="581" y="19"/>
                    <a:pt x="581" y="19"/>
                    <a:pt x="580" y="19"/>
                  </a:cubicBezTo>
                  <a:cubicBezTo>
                    <a:pt x="580" y="19"/>
                    <a:pt x="581" y="19"/>
                    <a:pt x="581" y="19"/>
                  </a:cubicBezTo>
                  <a:close/>
                  <a:moveTo>
                    <a:pt x="1310" y="44"/>
                  </a:moveTo>
                  <a:cubicBezTo>
                    <a:pt x="1309" y="44"/>
                    <a:pt x="1309" y="44"/>
                    <a:pt x="1309" y="44"/>
                  </a:cubicBezTo>
                  <a:cubicBezTo>
                    <a:pt x="1309" y="44"/>
                    <a:pt x="1309" y="44"/>
                    <a:pt x="1310" y="44"/>
                  </a:cubicBezTo>
                  <a:close/>
                  <a:moveTo>
                    <a:pt x="984" y="19"/>
                  </a:moveTo>
                  <a:cubicBezTo>
                    <a:pt x="984" y="19"/>
                    <a:pt x="983" y="19"/>
                    <a:pt x="983" y="19"/>
                  </a:cubicBezTo>
                  <a:cubicBezTo>
                    <a:pt x="984" y="19"/>
                    <a:pt x="984" y="19"/>
                    <a:pt x="984" y="19"/>
                  </a:cubicBezTo>
                  <a:close/>
                  <a:moveTo>
                    <a:pt x="1015" y="19"/>
                  </a:moveTo>
                  <a:cubicBezTo>
                    <a:pt x="1015" y="19"/>
                    <a:pt x="1015" y="19"/>
                    <a:pt x="1015" y="19"/>
                  </a:cubicBezTo>
                  <a:cubicBezTo>
                    <a:pt x="1015" y="19"/>
                    <a:pt x="1015" y="19"/>
                    <a:pt x="1015" y="19"/>
                  </a:cubicBezTo>
                  <a:close/>
                  <a:moveTo>
                    <a:pt x="1356" y="19"/>
                  </a:moveTo>
                  <a:cubicBezTo>
                    <a:pt x="1356" y="19"/>
                    <a:pt x="1356" y="19"/>
                    <a:pt x="1356" y="19"/>
                  </a:cubicBezTo>
                  <a:cubicBezTo>
                    <a:pt x="1356" y="19"/>
                    <a:pt x="1356" y="19"/>
                    <a:pt x="1356" y="19"/>
                  </a:cubicBezTo>
                  <a:close/>
                  <a:moveTo>
                    <a:pt x="1383" y="44"/>
                  </a:moveTo>
                  <a:cubicBezTo>
                    <a:pt x="1384" y="44"/>
                    <a:pt x="1384" y="44"/>
                    <a:pt x="1384" y="44"/>
                  </a:cubicBezTo>
                  <a:cubicBezTo>
                    <a:pt x="1383" y="44"/>
                    <a:pt x="1383" y="44"/>
                    <a:pt x="1383" y="44"/>
                  </a:cubicBezTo>
                  <a:close/>
                  <a:moveTo>
                    <a:pt x="1417" y="19"/>
                  </a:moveTo>
                  <a:cubicBezTo>
                    <a:pt x="1417" y="19"/>
                    <a:pt x="1417" y="19"/>
                    <a:pt x="1417" y="19"/>
                  </a:cubicBezTo>
                  <a:cubicBezTo>
                    <a:pt x="1417" y="19"/>
                    <a:pt x="1417" y="19"/>
                    <a:pt x="1417" y="19"/>
                  </a:cubicBezTo>
                  <a:close/>
                  <a:moveTo>
                    <a:pt x="1464" y="19"/>
                  </a:moveTo>
                  <a:cubicBezTo>
                    <a:pt x="1464" y="19"/>
                    <a:pt x="1464" y="19"/>
                    <a:pt x="1464" y="19"/>
                  </a:cubicBezTo>
                  <a:cubicBezTo>
                    <a:pt x="1464" y="19"/>
                    <a:pt x="1464" y="19"/>
                    <a:pt x="1464" y="19"/>
                  </a:cubicBezTo>
                  <a:close/>
                  <a:moveTo>
                    <a:pt x="1748" y="44"/>
                  </a:moveTo>
                  <a:cubicBezTo>
                    <a:pt x="1747" y="44"/>
                    <a:pt x="1747" y="44"/>
                    <a:pt x="1747" y="44"/>
                  </a:cubicBezTo>
                  <a:cubicBezTo>
                    <a:pt x="1748" y="44"/>
                    <a:pt x="1748" y="44"/>
                    <a:pt x="1748" y="44"/>
                  </a:cubicBezTo>
                  <a:close/>
                  <a:moveTo>
                    <a:pt x="1579" y="19"/>
                  </a:moveTo>
                  <a:cubicBezTo>
                    <a:pt x="1579" y="19"/>
                    <a:pt x="1579" y="19"/>
                    <a:pt x="1579" y="19"/>
                  </a:cubicBezTo>
                  <a:cubicBezTo>
                    <a:pt x="1579" y="19"/>
                    <a:pt x="1579" y="19"/>
                    <a:pt x="1579" y="19"/>
                  </a:cubicBezTo>
                  <a:close/>
                  <a:moveTo>
                    <a:pt x="557" y="44"/>
                  </a:moveTo>
                  <a:cubicBezTo>
                    <a:pt x="557" y="44"/>
                    <a:pt x="557" y="44"/>
                    <a:pt x="557" y="45"/>
                  </a:cubicBezTo>
                  <a:cubicBezTo>
                    <a:pt x="557" y="44"/>
                    <a:pt x="557" y="44"/>
                    <a:pt x="557" y="44"/>
                  </a:cubicBezTo>
                  <a:close/>
                  <a:moveTo>
                    <a:pt x="596" y="45"/>
                  </a:moveTo>
                  <a:cubicBezTo>
                    <a:pt x="596" y="44"/>
                    <a:pt x="596" y="44"/>
                    <a:pt x="596" y="44"/>
                  </a:cubicBezTo>
                  <a:cubicBezTo>
                    <a:pt x="596" y="44"/>
                    <a:pt x="596" y="45"/>
                    <a:pt x="596" y="45"/>
                  </a:cubicBezTo>
                  <a:close/>
                  <a:moveTo>
                    <a:pt x="1747" y="19"/>
                  </a:moveTo>
                  <a:cubicBezTo>
                    <a:pt x="1747" y="19"/>
                    <a:pt x="1747" y="19"/>
                    <a:pt x="1747" y="19"/>
                  </a:cubicBezTo>
                  <a:cubicBezTo>
                    <a:pt x="1747" y="19"/>
                    <a:pt x="1747" y="19"/>
                    <a:pt x="1747" y="19"/>
                  </a:cubicBezTo>
                  <a:close/>
                  <a:moveTo>
                    <a:pt x="640" y="45"/>
                  </a:moveTo>
                  <a:cubicBezTo>
                    <a:pt x="641" y="45"/>
                    <a:pt x="641" y="44"/>
                    <a:pt x="641" y="44"/>
                  </a:cubicBezTo>
                  <a:cubicBezTo>
                    <a:pt x="640" y="44"/>
                    <a:pt x="640" y="45"/>
                    <a:pt x="640" y="45"/>
                  </a:cubicBezTo>
                  <a:close/>
                  <a:moveTo>
                    <a:pt x="582" y="19"/>
                  </a:moveTo>
                  <a:cubicBezTo>
                    <a:pt x="582" y="19"/>
                    <a:pt x="581" y="19"/>
                    <a:pt x="581" y="19"/>
                  </a:cubicBezTo>
                  <a:cubicBezTo>
                    <a:pt x="581" y="19"/>
                    <a:pt x="581" y="19"/>
                    <a:pt x="582" y="19"/>
                  </a:cubicBezTo>
                  <a:close/>
                  <a:moveTo>
                    <a:pt x="983" y="19"/>
                  </a:moveTo>
                  <a:cubicBezTo>
                    <a:pt x="983" y="19"/>
                    <a:pt x="983" y="19"/>
                    <a:pt x="983" y="19"/>
                  </a:cubicBezTo>
                  <a:cubicBezTo>
                    <a:pt x="983" y="19"/>
                    <a:pt x="983" y="19"/>
                    <a:pt x="983" y="19"/>
                  </a:cubicBezTo>
                  <a:close/>
                  <a:moveTo>
                    <a:pt x="692" y="44"/>
                  </a:moveTo>
                  <a:cubicBezTo>
                    <a:pt x="692" y="44"/>
                    <a:pt x="692" y="44"/>
                    <a:pt x="692" y="44"/>
                  </a:cubicBezTo>
                  <a:cubicBezTo>
                    <a:pt x="692" y="44"/>
                    <a:pt x="692" y="44"/>
                    <a:pt x="692" y="44"/>
                  </a:cubicBezTo>
                  <a:close/>
                  <a:moveTo>
                    <a:pt x="837" y="44"/>
                  </a:moveTo>
                  <a:cubicBezTo>
                    <a:pt x="836" y="44"/>
                    <a:pt x="836" y="44"/>
                    <a:pt x="836" y="44"/>
                  </a:cubicBezTo>
                  <a:cubicBezTo>
                    <a:pt x="836" y="44"/>
                    <a:pt x="837" y="44"/>
                    <a:pt x="837" y="44"/>
                  </a:cubicBezTo>
                  <a:close/>
                  <a:moveTo>
                    <a:pt x="1540" y="19"/>
                  </a:moveTo>
                  <a:cubicBezTo>
                    <a:pt x="1540" y="19"/>
                    <a:pt x="1540" y="19"/>
                    <a:pt x="1540" y="19"/>
                  </a:cubicBezTo>
                  <a:cubicBezTo>
                    <a:pt x="1540" y="19"/>
                    <a:pt x="1540" y="19"/>
                    <a:pt x="1540" y="19"/>
                  </a:cubicBezTo>
                  <a:close/>
                  <a:moveTo>
                    <a:pt x="1681" y="19"/>
                  </a:moveTo>
                  <a:cubicBezTo>
                    <a:pt x="1681" y="19"/>
                    <a:pt x="1681" y="20"/>
                    <a:pt x="1681" y="20"/>
                  </a:cubicBezTo>
                  <a:cubicBezTo>
                    <a:pt x="1681" y="19"/>
                    <a:pt x="1681" y="19"/>
                    <a:pt x="1681" y="19"/>
                  </a:cubicBezTo>
                  <a:close/>
                  <a:moveTo>
                    <a:pt x="1708" y="19"/>
                  </a:moveTo>
                  <a:cubicBezTo>
                    <a:pt x="1708" y="19"/>
                    <a:pt x="1708" y="19"/>
                    <a:pt x="1708" y="19"/>
                  </a:cubicBezTo>
                  <a:cubicBezTo>
                    <a:pt x="1708" y="19"/>
                    <a:pt x="1708" y="19"/>
                    <a:pt x="1708" y="19"/>
                  </a:cubicBezTo>
                  <a:close/>
                  <a:moveTo>
                    <a:pt x="539" y="20"/>
                  </a:moveTo>
                  <a:cubicBezTo>
                    <a:pt x="540" y="20"/>
                    <a:pt x="540" y="20"/>
                    <a:pt x="540" y="19"/>
                  </a:cubicBezTo>
                  <a:cubicBezTo>
                    <a:pt x="539" y="20"/>
                    <a:pt x="539" y="20"/>
                    <a:pt x="539" y="20"/>
                  </a:cubicBezTo>
                  <a:close/>
                  <a:moveTo>
                    <a:pt x="1392" y="50"/>
                  </a:moveTo>
                  <a:cubicBezTo>
                    <a:pt x="1392" y="50"/>
                    <a:pt x="1392" y="50"/>
                    <a:pt x="1392" y="50"/>
                  </a:cubicBezTo>
                  <a:cubicBezTo>
                    <a:pt x="1392" y="50"/>
                    <a:pt x="1392" y="50"/>
                    <a:pt x="1392" y="50"/>
                  </a:cubicBezTo>
                  <a:close/>
                  <a:moveTo>
                    <a:pt x="582" y="20"/>
                  </a:moveTo>
                  <a:cubicBezTo>
                    <a:pt x="582" y="19"/>
                    <a:pt x="582" y="19"/>
                    <a:pt x="582" y="19"/>
                  </a:cubicBezTo>
                  <a:cubicBezTo>
                    <a:pt x="582" y="20"/>
                    <a:pt x="582" y="20"/>
                    <a:pt x="582" y="20"/>
                  </a:cubicBezTo>
                  <a:close/>
                  <a:moveTo>
                    <a:pt x="983" y="19"/>
                  </a:moveTo>
                  <a:cubicBezTo>
                    <a:pt x="982" y="19"/>
                    <a:pt x="982" y="19"/>
                    <a:pt x="982" y="20"/>
                  </a:cubicBezTo>
                  <a:cubicBezTo>
                    <a:pt x="982" y="20"/>
                    <a:pt x="982" y="20"/>
                    <a:pt x="983" y="19"/>
                  </a:cubicBezTo>
                  <a:close/>
                  <a:moveTo>
                    <a:pt x="1017" y="20"/>
                  </a:moveTo>
                  <a:cubicBezTo>
                    <a:pt x="1017" y="19"/>
                    <a:pt x="1017" y="19"/>
                    <a:pt x="1016" y="19"/>
                  </a:cubicBezTo>
                  <a:cubicBezTo>
                    <a:pt x="1017" y="20"/>
                    <a:pt x="1017" y="20"/>
                    <a:pt x="1017" y="20"/>
                  </a:cubicBezTo>
                  <a:close/>
                  <a:moveTo>
                    <a:pt x="1355" y="19"/>
                  </a:moveTo>
                  <a:cubicBezTo>
                    <a:pt x="1355" y="19"/>
                    <a:pt x="1355" y="19"/>
                    <a:pt x="1355" y="20"/>
                  </a:cubicBezTo>
                  <a:cubicBezTo>
                    <a:pt x="1355" y="20"/>
                    <a:pt x="1355" y="20"/>
                    <a:pt x="1355" y="19"/>
                  </a:cubicBezTo>
                  <a:close/>
                  <a:moveTo>
                    <a:pt x="1417" y="20"/>
                  </a:moveTo>
                  <a:cubicBezTo>
                    <a:pt x="1417" y="20"/>
                    <a:pt x="1417" y="20"/>
                    <a:pt x="1417" y="19"/>
                  </a:cubicBezTo>
                  <a:cubicBezTo>
                    <a:pt x="1417" y="20"/>
                    <a:pt x="1417" y="20"/>
                    <a:pt x="1417" y="20"/>
                  </a:cubicBezTo>
                  <a:close/>
                  <a:moveTo>
                    <a:pt x="1464" y="19"/>
                  </a:moveTo>
                  <a:cubicBezTo>
                    <a:pt x="1464" y="20"/>
                    <a:pt x="1464" y="20"/>
                    <a:pt x="1465" y="20"/>
                  </a:cubicBezTo>
                  <a:cubicBezTo>
                    <a:pt x="1465" y="20"/>
                    <a:pt x="1465" y="20"/>
                    <a:pt x="1464" y="19"/>
                  </a:cubicBezTo>
                  <a:close/>
                  <a:moveTo>
                    <a:pt x="1540" y="19"/>
                  </a:moveTo>
                  <a:cubicBezTo>
                    <a:pt x="1539" y="19"/>
                    <a:pt x="1539" y="19"/>
                    <a:pt x="1539" y="20"/>
                  </a:cubicBezTo>
                  <a:cubicBezTo>
                    <a:pt x="1539" y="20"/>
                    <a:pt x="1539" y="20"/>
                    <a:pt x="1540" y="19"/>
                  </a:cubicBezTo>
                  <a:close/>
                  <a:moveTo>
                    <a:pt x="1579" y="19"/>
                  </a:moveTo>
                  <a:cubicBezTo>
                    <a:pt x="1579" y="20"/>
                    <a:pt x="1579" y="20"/>
                    <a:pt x="1580" y="20"/>
                  </a:cubicBezTo>
                  <a:cubicBezTo>
                    <a:pt x="1580" y="20"/>
                    <a:pt x="1580" y="20"/>
                    <a:pt x="1579" y="19"/>
                  </a:cubicBezTo>
                  <a:close/>
                  <a:moveTo>
                    <a:pt x="1708" y="19"/>
                  </a:moveTo>
                  <a:cubicBezTo>
                    <a:pt x="1707" y="19"/>
                    <a:pt x="1707" y="19"/>
                    <a:pt x="1707" y="20"/>
                  </a:cubicBezTo>
                  <a:cubicBezTo>
                    <a:pt x="1707" y="20"/>
                    <a:pt x="1708" y="20"/>
                    <a:pt x="1708" y="19"/>
                  </a:cubicBezTo>
                  <a:close/>
                  <a:moveTo>
                    <a:pt x="1747" y="19"/>
                  </a:moveTo>
                  <a:cubicBezTo>
                    <a:pt x="1747" y="20"/>
                    <a:pt x="1747" y="20"/>
                    <a:pt x="1748" y="20"/>
                  </a:cubicBezTo>
                  <a:cubicBezTo>
                    <a:pt x="1748" y="20"/>
                    <a:pt x="1748" y="20"/>
                    <a:pt x="1747" y="19"/>
                  </a:cubicBezTo>
                  <a:close/>
                  <a:moveTo>
                    <a:pt x="910" y="44"/>
                  </a:moveTo>
                  <a:cubicBezTo>
                    <a:pt x="910" y="44"/>
                    <a:pt x="910" y="45"/>
                    <a:pt x="910" y="45"/>
                  </a:cubicBezTo>
                  <a:cubicBezTo>
                    <a:pt x="910" y="45"/>
                    <a:pt x="910" y="44"/>
                    <a:pt x="910" y="44"/>
                  </a:cubicBezTo>
                  <a:close/>
                  <a:moveTo>
                    <a:pt x="1083" y="44"/>
                  </a:moveTo>
                  <a:cubicBezTo>
                    <a:pt x="1083" y="44"/>
                    <a:pt x="1083" y="45"/>
                    <a:pt x="1083" y="45"/>
                  </a:cubicBezTo>
                  <a:cubicBezTo>
                    <a:pt x="1083" y="44"/>
                    <a:pt x="1083" y="44"/>
                    <a:pt x="1083" y="44"/>
                  </a:cubicBezTo>
                  <a:close/>
                  <a:moveTo>
                    <a:pt x="982" y="20"/>
                  </a:moveTo>
                  <a:cubicBezTo>
                    <a:pt x="982" y="20"/>
                    <a:pt x="981" y="20"/>
                    <a:pt x="981" y="20"/>
                  </a:cubicBezTo>
                  <a:cubicBezTo>
                    <a:pt x="982" y="20"/>
                    <a:pt x="982" y="20"/>
                    <a:pt x="982" y="20"/>
                  </a:cubicBezTo>
                  <a:close/>
                  <a:moveTo>
                    <a:pt x="1018" y="20"/>
                  </a:moveTo>
                  <a:cubicBezTo>
                    <a:pt x="1018" y="20"/>
                    <a:pt x="1017" y="20"/>
                    <a:pt x="1017" y="20"/>
                  </a:cubicBezTo>
                  <a:cubicBezTo>
                    <a:pt x="1017" y="20"/>
                    <a:pt x="1018" y="20"/>
                    <a:pt x="1018" y="20"/>
                  </a:cubicBezTo>
                  <a:close/>
                  <a:moveTo>
                    <a:pt x="1395" y="20"/>
                  </a:moveTo>
                  <a:cubicBezTo>
                    <a:pt x="1395" y="20"/>
                    <a:pt x="1395" y="20"/>
                    <a:pt x="1395" y="20"/>
                  </a:cubicBezTo>
                  <a:cubicBezTo>
                    <a:pt x="1395" y="20"/>
                    <a:pt x="1395" y="20"/>
                    <a:pt x="1395" y="20"/>
                  </a:cubicBezTo>
                  <a:close/>
                  <a:moveTo>
                    <a:pt x="1214" y="45"/>
                  </a:moveTo>
                  <a:cubicBezTo>
                    <a:pt x="1214" y="45"/>
                    <a:pt x="1215" y="44"/>
                    <a:pt x="1215" y="44"/>
                  </a:cubicBezTo>
                  <a:cubicBezTo>
                    <a:pt x="1214" y="44"/>
                    <a:pt x="1214" y="44"/>
                    <a:pt x="1214" y="45"/>
                  </a:cubicBezTo>
                  <a:close/>
                  <a:moveTo>
                    <a:pt x="1261" y="44"/>
                  </a:moveTo>
                  <a:cubicBezTo>
                    <a:pt x="1261" y="44"/>
                    <a:pt x="1261" y="45"/>
                    <a:pt x="1261" y="45"/>
                  </a:cubicBezTo>
                  <a:cubicBezTo>
                    <a:pt x="1261" y="44"/>
                    <a:pt x="1261" y="44"/>
                    <a:pt x="1261" y="44"/>
                  </a:cubicBezTo>
                  <a:close/>
                  <a:moveTo>
                    <a:pt x="539" y="21"/>
                  </a:moveTo>
                  <a:cubicBezTo>
                    <a:pt x="539" y="21"/>
                    <a:pt x="539" y="20"/>
                    <a:pt x="539" y="20"/>
                  </a:cubicBezTo>
                  <a:cubicBezTo>
                    <a:pt x="539" y="20"/>
                    <a:pt x="539" y="21"/>
                    <a:pt x="539" y="21"/>
                  </a:cubicBezTo>
                  <a:close/>
                  <a:moveTo>
                    <a:pt x="583" y="20"/>
                  </a:moveTo>
                  <a:cubicBezTo>
                    <a:pt x="583" y="20"/>
                    <a:pt x="583" y="20"/>
                    <a:pt x="583" y="20"/>
                  </a:cubicBezTo>
                  <a:cubicBezTo>
                    <a:pt x="583" y="20"/>
                    <a:pt x="583" y="20"/>
                    <a:pt x="583" y="20"/>
                  </a:cubicBezTo>
                  <a:close/>
                  <a:moveTo>
                    <a:pt x="1289" y="45"/>
                  </a:moveTo>
                  <a:cubicBezTo>
                    <a:pt x="1290" y="45"/>
                    <a:pt x="1290" y="44"/>
                    <a:pt x="1290" y="44"/>
                  </a:cubicBezTo>
                  <a:cubicBezTo>
                    <a:pt x="1289" y="44"/>
                    <a:pt x="1289" y="44"/>
                    <a:pt x="1289" y="45"/>
                  </a:cubicBezTo>
                  <a:close/>
                  <a:moveTo>
                    <a:pt x="981" y="20"/>
                  </a:moveTo>
                  <a:cubicBezTo>
                    <a:pt x="981" y="20"/>
                    <a:pt x="981" y="20"/>
                    <a:pt x="981" y="20"/>
                  </a:cubicBezTo>
                  <a:cubicBezTo>
                    <a:pt x="981" y="20"/>
                    <a:pt x="981" y="20"/>
                    <a:pt x="981" y="20"/>
                  </a:cubicBezTo>
                  <a:close/>
                  <a:moveTo>
                    <a:pt x="1019" y="20"/>
                  </a:moveTo>
                  <a:cubicBezTo>
                    <a:pt x="1018" y="20"/>
                    <a:pt x="1018" y="20"/>
                    <a:pt x="1018" y="20"/>
                  </a:cubicBezTo>
                  <a:cubicBezTo>
                    <a:pt x="1018" y="20"/>
                    <a:pt x="1018" y="20"/>
                    <a:pt x="1019" y="20"/>
                  </a:cubicBezTo>
                  <a:close/>
                  <a:moveTo>
                    <a:pt x="1299" y="44"/>
                  </a:moveTo>
                  <a:cubicBezTo>
                    <a:pt x="1299" y="44"/>
                    <a:pt x="1298" y="44"/>
                    <a:pt x="1298" y="44"/>
                  </a:cubicBezTo>
                  <a:cubicBezTo>
                    <a:pt x="1299" y="44"/>
                    <a:pt x="1299" y="44"/>
                    <a:pt x="1299" y="44"/>
                  </a:cubicBezTo>
                  <a:close/>
                  <a:moveTo>
                    <a:pt x="1311" y="44"/>
                  </a:moveTo>
                  <a:cubicBezTo>
                    <a:pt x="1310" y="44"/>
                    <a:pt x="1310" y="44"/>
                    <a:pt x="1310" y="44"/>
                  </a:cubicBezTo>
                  <a:cubicBezTo>
                    <a:pt x="1310" y="44"/>
                    <a:pt x="1310" y="44"/>
                    <a:pt x="1311" y="44"/>
                  </a:cubicBezTo>
                  <a:close/>
                  <a:moveTo>
                    <a:pt x="1465" y="20"/>
                  </a:moveTo>
                  <a:cubicBezTo>
                    <a:pt x="1465" y="20"/>
                    <a:pt x="1465" y="21"/>
                    <a:pt x="1465" y="21"/>
                  </a:cubicBezTo>
                  <a:cubicBezTo>
                    <a:pt x="1465" y="20"/>
                    <a:pt x="1465" y="20"/>
                    <a:pt x="1465" y="20"/>
                  </a:cubicBezTo>
                  <a:close/>
                  <a:moveTo>
                    <a:pt x="1539" y="20"/>
                  </a:moveTo>
                  <a:cubicBezTo>
                    <a:pt x="1538" y="20"/>
                    <a:pt x="1538" y="20"/>
                    <a:pt x="1538" y="20"/>
                  </a:cubicBezTo>
                  <a:cubicBezTo>
                    <a:pt x="1538" y="20"/>
                    <a:pt x="1538" y="20"/>
                    <a:pt x="1539" y="20"/>
                  </a:cubicBezTo>
                  <a:close/>
                  <a:moveTo>
                    <a:pt x="1580" y="20"/>
                  </a:moveTo>
                  <a:cubicBezTo>
                    <a:pt x="1580" y="20"/>
                    <a:pt x="1580" y="21"/>
                    <a:pt x="1580" y="21"/>
                  </a:cubicBezTo>
                  <a:cubicBezTo>
                    <a:pt x="1580" y="21"/>
                    <a:pt x="1580" y="20"/>
                    <a:pt x="1580" y="20"/>
                  </a:cubicBezTo>
                  <a:close/>
                  <a:moveTo>
                    <a:pt x="1682" y="20"/>
                  </a:moveTo>
                  <a:cubicBezTo>
                    <a:pt x="1682" y="20"/>
                    <a:pt x="1682" y="21"/>
                    <a:pt x="1682" y="21"/>
                  </a:cubicBezTo>
                  <a:cubicBezTo>
                    <a:pt x="1682" y="21"/>
                    <a:pt x="1682" y="20"/>
                    <a:pt x="1682" y="20"/>
                  </a:cubicBezTo>
                  <a:close/>
                  <a:moveTo>
                    <a:pt x="1707" y="20"/>
                  </a:moveTo>
                  <a:cubicBezTo>
                    <a:pt x="1706" y="20"/>
                    <a:pt x="1706" y="20"/>
                    <a:pt x="1706" y="20"/>
                  </a:cubicBezTo>
                  <a:cubicBezTo>
                    <a:pt x="1706" y="20"/>
                    <a:pt x="1707" y="20"/>
                    <a:pt x="1707" y="20"/>
                  </a:cubicBezTo>
                  <a:close/>
                  <a:moveTo>
                    <a:pt x="1748" y="20"/>
                  </a:moveTo>
                  <a:cubicBezTo>
                    <a:pt x="1748" y="20"/>
                    <a:pt x="1748" y="21"/>
                    <a:pt x="1748" y="21"/>
                  </a:cubicBezTo>
                  <a:cubicBezTo>
                    <a:pt x="1748" y="21"/>
                    <a:pt x="1748" y="20"/>
                    <a:pt x="1748" y="20"/>
                  </a:cubicBezTo>
                  <a:close/>
                  <a:moveTo>
                    <a:pt x="1567" y="45"/>
                  </a:moveTo>
                  <a:cubicBezTo>
                    <a:pt x="1568" y="45"/>
                    <a:pt x="1568" y="44"/>
                    <a:pt x="1568" y="44"/>
                  </a:cubicBezTo>
                  <a:cubicBezTo>
                    <a:pt x="1568" y="44"/>
                    <a:pt x="1567" y="44"/>
                    <a:pt x="1567" y="45"/>
                  </a:cubicBezTo>
                  <a:close/>
                  <a:moveTo>
                    <a:pt x="584" y="21"/>
                  </a:moveTo>
                  <a:cubicBezTo>
                    <a:pt x="584" y="21"/>
                    <a:pt x="584" y="20"/>
                    <a:pt x="583" y="20"/>
                  </a:cubicBezTo>
                  <a:cubicBezTo>
                    <a:pt x="583" y="21"/>
                    <a:pt x="584" y="21"/>
                    <a:pt x="584" y="21"/>
                  </a:cubicBezTo>
                  <a:close/>
                  <a:moveTo>
                    <a:pt x="981" y="20"/>
                  </a:moveTo>
                  <a:cubicBezTo>
                    <a:pt x="980" y="20"/>
                    <a:pt x="980" y="20"/>
                    <a:pt x="980" y="21"/>
                  </a:cubicBezTo>
                  <a:cubicBezTo>
                    <a:pt x="980" y="21"/>
                    <a:pt x="980" y="21"/>
                    <a:pt x="981" y="20"/>
                  </a:cubicBezTo>
                  <a:close/>
                  <a:moveTo>
                    <a:pt x="1019" y="21"/>
                  </a:moveTo>
                  <a:cubicBezTo>
                    <a:pt x="1019" y="20"/>
                    <a:pt x="1019" y="20"/>
                    <a:pt x="1019" y="20"/>
                  </a:cubicBezTo>
                  <a:cubicBezTo>
                    <a:pt x="1019" y="21"/>
                    <a:pt x="1019" y="21"/>
                    <a:pt x="1019" y="21"/>
                  </a:cubicBezTo>
                  <a:close/>
                  <a:moveTo>
                    <a:pt x="1682" y="44"/>
                  </a:moveTo>
                  <a:cubicBezTo>
                    <a:pt x="1682" y="44"/>
                    <a:pt x="1682" y="44"/>
                    <a:pt x="1682" y="45"/>
                  </a:cubicBezTo>
                  <a:cubicBezTo>
                    <a:pt x="1682" y="45"/>
                    <a:pt x="1682" y="44"/>
                    <a:pt x="1682" y="44"/>
                  </a:cubicBezTo>
                  <a:close/>
                  <a:moveTo>
                    <a:pt x="1736" y="45"/>
                  </a:moveTo>
                  <a:cubicBezTo>
                    <a:pt x="1736" y="45"/>
                    <a:pt x="1736" y="44"/>
                    <a:pt x="1736" y="44"/>
                  </a:cubicBezTo>
                  <a:cubicBezTo>
                    <a:pt x="1736" y="44"/>
                    <a:pt x="1736" y="44"/>
                    <a:pt x="1736" y="45"/>
                  </a:cubicBezTo>
                  <a:close/>
                  <a:moveTo>
                    <a:pt x="1395" y="20"/>
                  </a:moveTo>
                  <a:cubicBezTo>
                    <a:pt x="1395" y="21"/>
                    <a:pt x="1395" y="21"/>
                    <a:pt x="1396" y="21"/>
                  </a:cubicBezTo>
                  <a:cubicBezTo>
                    <a:pt x="1396" y="21"/>
                    <a:pt x="1396" y="21"/>
                    <a:pt x="1395" y="20"/>
                  </a:cubicBezTo>
                  <a:close/>
                  <a:moveTo>
                    <a:pt x="566" y="50"/>
                  </a:moveTo>
                  <a:cubicBezTo>
                    <a:pt x="566" y="50"/>
                    <a:pt x="567" y="50"/>
                    <a:pt x="567" y="50"/>
                  </a:cubicBezTo>
                  <a:cubicBezTo>
                    <a:pt x="567" y="50"/>
                    <a:pt x="567" y="50"/>
                    <a:pt x="566" y="50"/>
                  </a:cubicBezTo>
                  <a:close/>
                  <a:moveTo>
                    <a:pt x="660" y="45"/>
                  </a:moveTo>
                  <a:cubicBezTo>
                    <a:pt x="660" y="45"/>
                    <a:pt x="660" y="45"/>
                    <a:pt x="660" y="44"/>
                  </a:cubicBezTo>
                  <a:cubicBezTo>
                    <a:pt x="660" y="45"/>
                    <a:pt x="660" y="45"/>
                    <a:pt x="660" y="45"/>
                  </a:cubicBezTo>
                  <a:close/>
                  <a:moveTo>
                    <a:pt x="693" y="45"/>
                  </a:moveTo>
                  <a:cubicBezTo>
                    <a:pt x="693" y="44"/>
                    <a:pt x="693" y="44"/>
                    <a:pt x="692" y="44"/>
                  </a:cubicBezTo>
                  <a:cubicBezTo>
                    <a:pt x="692" y="45"/>
                    <a:pt x="693" y="45"/>
                    <a:pt x="693" y="45"/>
                  </a:cubicBezTo>
                  <a:close/>
                  <a:moveTo>
                    <a:pt x="1020" y="21"/>
                  </a:moveTo>
                  <a:cubicBezTo>
                    <a:pt x="1020" y="21"/>
                    <a:pt x="1020" y="21"/>
                    <a:pt x="1019" y="21"/>
                  </a:cubicBezTo>
                  <a:cubicBezTo>
                    <a:pt x="1019" y="21"/>
                    <a:pt x="1020" y="21"/>
                    <a:pt x="1020" y="21"/>
                  </a:cubicBezTo>
                  <a:close/>
                  <a:moveTo>
                    <a:pt x="1353" y="21"/>
                  </a:moveTo>
                  <a:cubicBezTo>
                    <a:pt x="1353" y="21"/>
                    <a:pt x="1353" y="21"/>
                    <a:pt x="1353" y="21"/>
                  </a:cubicBezTo>
                  <a:cubicBezTo>
                    <a:pt x="1353" y="21"/>
                    <a:pt x="1353" y="21"/>
                    <a:pt x="1353" y="21"/>
                  </a:cubicBezTo>
                  <a:close/>
                  <a:moveTo>
                    <a:pt x="831" y="50"/>
                  </a:moveTo>
                  <a:cubicBezTo>
                    <a:pt x="831" y="50"/>
                    <a:pt x="831" y="50"/>
                    <a:pt x="831" y="51"/>
                  </a:cubicBezTo>
                  <a:cubicBezTo>
                    <a:pt x="831" y="51"/>
                    <a:pt x="831" y="50"/>
                    <a:pt x="831" y="50"/>
                  </a:cubicBezTo>
                  <a:close/>
                  <a:moveTo>
                    <a:pt x="858" y="51"/>
                  </a:moveTo>
                  <a:cubicBezTo>
                    <a:pt x="858" y="50"/>
                    <a:pt x="858" y="50"/>
                    <a:pt x="857" y="50"/>
                  </a:cubicBezTo>
                  <a:cubicBezTo>
                    <a:pt x="857" y="50"/>
                    <a:pt x="857" y="51"/>
                    <a:pt x="858" y="51"/>
                  </a:cubicBezTo>
                  <a:close/>
                  <a:moveTo>
                    <a:pt x="1465" y="21"/>
                  </a:moveTo>
                  <a:cubicBezTo>
                    <a:pt x="1465" y="21"/>
                    <a:pt x="1465" y="21"/>
                    <a:pt x="1465" y="21"/>
                  </a:cubicBezTo>
                  <a:cubicBezTo>
                    <a:pt x="1465" y="21"/>
                    <a:pt x="1465" y="21"/>
                    <a:pt x="1465" y="21"/>
                  </a:cubicBezTo>
                  <a:close/>
                  <a:moveTo>
                    <a:pt x="853" y="45"/>
                  </a:moveTo>
                  <a:cubicBezTo>
                    <a:pt x="853" y="45"/>
                    <a:pt x="853" y="44"/>
                    <a:pt x="853" y="44"/>
                  </a:cubicBezTo>
                  <a:cubicBezTo>
                    <a:pt x="853" y="45"/>
                    <a:pt x="853" y="45"/>
                    <a:pt x="853" y="45"/>
                  </a:cubicBezTo>
                  <a:close/>
                  <a:moveTo>
                    <a:pt x="1682" y="21"/>
                  </a:moveTo>
                  <a:cubicBezTo>
                    <a:pt x="1682" y="21"/>
                    <a:pt x="1682" y="21"/>
                    <a:pt x="1682" y="22"/>
                  </a:cubicBezTo>
                  <a:cubicBezTo>
                    <a:pt x="1682" y="21"/>
                    <a:pt x="1682" y="21"/>
                    <a:pt x="1682" y="21"/>
                  </a:cubicBezTo>
                  <a:close/>
                  <a:moveTo>
                    <a:pt x="867" y="44"/>
                  </a:moveTo>
                  <a:cubicBezTo>
                    <a:pt x="867" y="45"/>
                    <a:pt x="867" y="45"/>
                    <a:pt x="868" y="45"/>
                  </a:cubicBezTo>
                  <a:cubicBezTo>
                    <a:pt x="868" y="45"/>
                    <a:pt x="868" y="45"/>
                    <a:pt x="867" y="44"/>
                  </a:cubicBezTo>
                  <a:close/>
                  <a:moveTo>
                    <a:pt x="538" y="22"/>
                  </a:moveTo>
                  <a:cubicBezTo>
                    <a:pt x="539" y="22"/>
                    <a:pt x="539" y="21"/>
                    <a:pt x="539" y="21"/>
                  </a:cubicBezTo>
                  <a:cubicBezTo>
                    <a:pt x="539" y="21"/>
                    <a:pt x="538" y="22"/>
                    <a:pt x="538" y="22"/>
                  </a:cubicBezTo>
                  <a:close/>
                  <a:moveTo>
                    <a:pt x="896" y="45"/>
                  </a:moveTo>
                  <a:cubicBezTo>
                    <a:pt x="896" y="44"/>
                    <a:pt x="896" y="44"/>
                    <a:pt x="896" y="44"/>
                  </a:cubicBezTo>
                  <a:cubicBezTo>
                    <a:pt x="896" y="45"/>
                    <a:pt x="896" y="45"/>
                    <a:pt x="896" y="45"/>
                  </a:cubicBezTo>
                  <a:close/>
                  <a:moveTo>
                    <a:pt x="979" y="21"/>
                  </a:moveTo>
                  <a:cubicBezTo>
                    <a:pt x="979" y="21"/>
                    <a:pt x="979" y="21"/>
                    <a:pt x="979" y="21"/>
                  </a:cubicBezTo>
                  <a:cubicBezTo>
                    <a:pt x="979" y="21"/>
                    <a:pt x="979" y="21"/>
                    <a:pt x="979" y="21"/>
                  </a:cubicBezTo>
                  <a:close/>
                  <a:moveTo>
                    <a:pt x="1021" y="21"/>
                  </a:moveTo>
                  <a:cubicBezTo>
                    <a:pt x="1020" y="21"/>
                    <a:pt x="1020" y="21"/>
                    <a:pt x="1020" y="21"/>
                  </a:cubicBezTo>
                  <a:cubicBezTo>
                    <a:pt x="1020" y="21"/>
                    <a:pt x="1020" y="21"/>
                    <a:pt x="1021" y="21"/>
                  </a:cubicBezTo>
                  <a:close/>
                  <a:moveTo>
                    <a:pt x="1120" y="44"/>
                  </a:moveTo>
                  <a:cubicBezTo>
                    <a:pt x="1119" y="44"/>
                    <a:pt x="1119" y="44"/>
                    <a:pt x="1119" y="45"/>
                  </a:cubicBezTo>
                  <a:cubicBezTo>
                    <a:pt x="1119" y="45"/>
                    <a:pt x="1120" y="45"/>
                    <a:pt x="1120" y="44"/>
                  </a:cubicBezTo>
                  <a:close/>
                  <a:moveTo>
                    <a:pt x="1383" y="22"/>
                  </a:moveTo>
                  <a:cubicBezTo>
                    <a:pt x="1383" y="21"/>
                    <a:pt x="1383" y="21"/>
                    <a:pt x="1383" y="21"/>
                  </a:cubicBezTo>
                  <a:cubicBezTo>
                    <a:pt x="1383" y="21"/>
                    <a:pt x="1383" y="22"/>
                    <a:pt x="1383" y="22"/>
                  </a:cubicBezTo>
                  <a:close/>
                  <a:moveTo>
                    <a:pt x="1416" y="22"/>
                  </a:moveTo>
                  <a:cubicBezTo>
                    <a:pt x="1416" y="22"/>
                    <a:pt x="1416" y="21"/>
                    <a:pt x="1416" y="21"/>
                  </a:cubicBezTo>
                  <a:cubicBezTo>
                    <a:pt x="1416" y="21"/>
                    <a:pt x="1416" y="22"/>
                    <a:pt x="1416" y="22"/>
                  </a:cubicBezTo>
                  <a:close/>
                  <a:moveTo>
                    <a:pt x="1138" y="45"/>
                  </a:moveTo>
                  <a:cubicBezTo>
                    <a:pt x="1138" y="45"/>
                    <a:pt x="1138" y="44"/>
                    <a:pt x="1137" y="44"/>
                  </a:cubicBezTo>
                  <a:cubicBezTo>
                    <a:pt x="1137" y="45"/>
                    <a:pt x="1138" y="45"/>
                    <a:pt x="1138" y="45"/>
                  </a:cubicBezTo>
                  <a:close/>
                  <a:moveTo>
                    <a:pt x="1152" y="44"/>
                  </a:moveTo>
                  <a:cubicBezTo>
                    <a:pt x="1152" y="45"/>
                    <a:pt x="1152" y="45"/>
                    <a:pt x="1152" y="45"/>
                  </a:cubicBezTo>
                  <a:cubicBezTo>
                    <a:pt x="1153" y="45"/>
                    <a:pt x="1152" y="45"/>
                    <a:pt x="1152" y="44"/>
                  </a:cubicBezTo>
                  <a:close/>
                  <a:moveTo>
                    <a:pt x="1580" y="21"/>
                  </a:moveTo>
                  <a:cubicBezTo>
                    <a:pt x="1580" y="21"/>
                    <a:pt x="1580" y="22"/>
                    <a:pt x="1580" y="22"/>
                  </a:cubicBezTo>
                  <a:cubicBezTo>
                    <a:pt x="1580" y="22"/>
                    <a:pt x="1580" y="21"/>
                    <a:pt x="1580" y="21"/>
                  </a:cubicBezTo>
                  <a:close/>
                  <a:moveTo>
                    <a:pt x="1298" y="44"/>
                  </a:moveTo>
                  <a:cubicBezTo>
                    <a:pt x="1298" y="44"/>
                    <a:pt x="1298" y="44"/>
                    <a:pt x="1298" y="45"/>
                  </a:cubicBezTo>
                  <a:cubicBezTo>
                    <a:pt x="1298" y="45"/>
                    <a:pt x="1298" y="45"/>
                    <a:pt x="1298" y="44"/>
                  </a:cubicBezTo>
                  <a:close/>
                  <a:moveTo>
                    <a:pt x="1748" y="21"/>
                  </a:moveTo>
                  <a:cubicBezTo>
                    <a:pt x="1748" y="21"/>
                    <a:pt x="1748" y="22"/>
                    <a:pt x="1748" y="22"/>
                  </a:cubicBezTo>
                  <a:cubicBezTo>
                    <a:pt x="1748" y="22"/>
                    <a:pt x="1748" y="21"/>
                    <a:pt x="1748" y="21"/>
                  </a:cubicBezTo>
                  <a:close/>
                  <a:moveTo>
                    <a:pt x="1311" y="45"/>
                  </a:moveTo>
                  <a:cubicBezTo>
                    <a:pt x="1311" y="45"/>
                    <a:pt x="1311" y="44"/>
                    <a:pt x="1311" y="44"/>
                  </a:cubicBezTo>
                  <a:cubicBezTo>
                    <a:pt x="1311" y="45"/>
                    <a:pt x="1311" y="45"/>
                    <a:pt x="1311" y="45"/>
                  </a:cubicBezTo>
                  <a:close/>
                  <a:moveTo>
                    <a:pt x="652" y="43"/>
                  </a:moveTo>
                  <a:cubicBezTo>
                    <a:pt x="652" y="43"/>
                    <a:pt x="652" y="44"/>
                    <a:pt x="652" y="44"/>
                  </a:cubicBezTo>
                  <a:cubicBezTo>
                    <a:pt x="652" y="44"/>
                    <a:pt x="652" y="44"/>
                    <a:pt x="652" y="43"/>
                  </a:cubicBezTo>
                  <a:close/>
                  <a:moveTo>
                    <a:pt x="1383" y="45"/>
                  </a:moveTo>
                  <a:cubicBezTo>
                    <a:pt x="1383" y="45"/>
                    <a:pt x="1383" y="45"/>
                    <a:pt x="1383" y="44"/>
                  </a:cubicBezTo>
                  <a:cubicBezTo>
                    <a:pt x="1383" y="45"/>
                    <a:pt x="1383" y="45"/>
                    <a:pt x="1383" y="45"/>
                  </a:cubicBezTo>
                  <a:close/>
                  <a:moveTo>
                    <a:pt x="1395" y="44"/>
                  </a:moveTo>
                  <a:cubicBezTo>
                    <a:pt x="1395" y="45"/>
                    <a:pt x="1395" y="45"/>
                    <a:pt x="1395" y="45"/>
                  </a:cubicBezTo>
                  <a:cubicBezTo>
                    <a:pt x="1395" y="45"/>
                    <a:pt x="1395" y="45"/>
                    <a:pt x="1395" y="44"/>
                  </a:cubicBezTo>
                  <a:close/>
                  <a:moveTo>
                    <a:pt x="1465" y="21"/>
                  </a:moveTo>
                  <a:cubicBezTo>
                    <a:pt x="1465" y="22"/>
                    <a:pt x="1465" y="22"/>
                    <a:pt x="1466" y="22"/>
                  </a:cubicBezTo>
                  <a:cubicBezTo>
                    <a:pt x="1466" y="22"/>
                    <a:pt x="1466" y="22"/>
                    <a:pt x="1465" y="21"/>
                  </a:cubicBezTo>
                  <a:close/>
                  <a:moveTo>
                    <a:pt x="558" y="45"/>
                  </a:moveTo>
                  <a:cubicBezTo>
                    <a:pt x="558" y="45"/>
                    <a:pt x="558" y="45"/>
                    <a:pt x="558" y="45"/>
                  </a:cubicBezTo>
                  <a:cubicBezTo>
                    <a:pt x="558" y="45"/>
                    <a:pt x="558" y="45"/>
                    <a:pt x="558" y="45"/>
                  </a:cubicBezTo>
                  <a:close/>
                  <a:moveTo>
                    <a:pt x="1568" y="22"/>
                  </a:moveTo>
                  <a:cubicBezTo>
                    <a:pt x="1568" y="22"/>
                    <a:pt x="1568" y="22"/>
                    <a:pt x="1567" y="21"/>
                  </a:cubicBezTo>
                  <a:cubicBezTo>
                    <a:pt x="1567" y="22"/>
                    <a:pt x="1568" y="22"/>
                    <a:pt x="1568" y="22"/>
                  </a:cubicBezTo>
                  <a:close/>
                  <a:moveTo>
                    <a:pt x="1736" y="22"/>
                  </a:moveTo>
                  <a:cubicBezTo>
                    <a:pt x="1736" y="22"/>
                    <a:pt x="1736" y="22"/>
                    <a:pt x="1736" y="21"/>
                  </a:cubicBezTo>
                  <a:cubicBezTo>
                    <a:pt x="1736" y="22"/>
                    <a:pt x="1736" y="22"/>
                    <a:pt x="1736" y="22"/>
                  </a:cubicBezTo>
                  <a:close/>
                  <a:moveTo>
                    <a:pt x="538" y="23"/>
                  </a:moveTo>
                  <a:cubicBezTo>
                    <a:pt x="538" y="22"/>
                    <a:pt x="538" y="22"/>
                    <a:pt x="538" y="22"/>
                  </a:cubicBezTo>
                  <a:cubicBezTo>
                    <a:pt x="538" y="22"/>
                    <a:pt x="538" y="22"/>
                    <a:pt x="538" y="23"/>
                  </a:cubicBezTo>
                  <a:close/>
                  <a:moveTo>
                    <a:pt x="694" y="45"/>
                  </a:moveTo>
                  <a:cubicBezTo>
                    <a:pt x="694" y="45"/>
                    <a:pt x="693" y="45"/>
                    <a:pt x="693" y="45"/>
                  </a:cubicBezTo>
                  <a:cubicBezTo>
                    <a:pt x="693" y="45"/>
                    <a:pt x="693" y="45"/>
                    <a:pt x="694" y="45"/>
                  </a:cubicBezTo>
                  <a:close/>
                  <a:moveTo>
                    <a:pt x="1352" y="22"/>
                  </a:moveTo>
                  <a:cubicBezTo>
                    <a:pt x="1352" y="22"/>
                    <a:pt x="1351" y="22"/>
                    <a:pt x="1351" y="22"/>
                  </a:cubicBezTo>
                  <a:cubicBezTo>
                    <a:pt x="1352" y="22"/>
                    <a:pt x="1352" y="22"/>
                    <a:pt x="1352" y="22"/>
                  </a:cubicBezTo>
                  <a:close/>
                  <a:moveTo>
                    <a:pt x="1415" y="23"/>
                  </a:moveTo>
                  <a:cubicBezTo>
                    <a:pt x="1416" y="22"/>
                    <a:pt x="1416" y="22"/>
                    <a:pt x="1416" y="22"/>
                  </a:cubicBezTo>
                  <a:cubicBezTo>
                    <a:pt x="1415" y="22"/>
                    <a:pt x="1415" y="22"/>
                    <a:pt x="1415" y="23"/>
                  </a:cubicBezTo>
                  <a:close/>
                  <a:moveTo>
                    <a:pt x="1033" y="51"/>
                  </a:moveTo>
                  <a:cubicBezTo>
                    <a:pt x="1033" y="51"/>
                    <a:pt x="1033" y="50"/>
                    <a:pt x="1033" y="50"/>
                  </a:cubicBezTo>
                  <a:cubicBezTo>
                    <a:pt x="1033" y="50"/>
                    <a:pt x="1033" y="50"/>
                    <a:pt x="1033" y="51"/>
                  </a:cubicBezTo>
                  <a:close/>
                  <a:moveTo>
                    <a:pt x="1682" y="22"/>
                  </a:moveTo>
                  <a:cubicBezTo>
                    <a:pt x="1682" y="22"/>
                    <a:pt x="1682" y="22"/>
                    <a:pt x="1683" y="23"/>
                  </a:cubicBezTo>
                  <a:cubicBezTo>
                    <a:pt x="1683" y="22"/>
                    <a:pt x="1683" y="22"/>
                    <a:pt x="1682" y="22"/>
                  </a:cubicBezTo>
                  <a:close/>
                  <a:moveTo>
                    <a:pt x="869" y="46"/>
                  </a:moveTo>
                  <a:cubicBezTo>
                    <a:pt x="869" y="45"/>
                    <a:pt x="869" y="45"/>
                    <a:pt x="869" y="45"/>
                  </a:cubicBezTo>
                  <a:cubicBezTo>
                    <a:pt x="869" y="45"/>
                    <a:pt x="868" y="45"/>
                    <a:pt x="869" y="46"/>
                  </a:cubicBezTo>
                  <a:close/>
                  <a:moveTo>
                    <a:pt x="1086" y="50"/>
                  </a:moveTo>
                  <a:cubicBezTo>
                    <a:pt x="1086" y="50"/>
                    <a:pt x="1086" y="51"/>
                    <a:pt x="1086" y="51"/>
                  </a:cubicBezTo>
                  <a:cubicBezTo>
                    <a:pt x="1086" y="51"/>
                    <a:pt x="1086" y="50"/>
                    <a:pt x="1086" y="50"/>
                  </a:cubicBezTo>
                  <a:close/>
                  <a:moveTo>
                    <a:pt x="1114" y="50"/>
                  </a:moveTo>
                  <a:cubicBezTo>
                    <a:pt x="1114" y="50"/>
                    <a:pt x="1113" y="50"/>
                    <a:pt x="1113" y="51"/>
                  </a:cubicBezTo>
                  <a:cubicBezTo>
                    <a:pt x="1114" y="51"/>
                    <a:pt x="1114" y="50"/>
                    <a:pt x="1114" y="50"/>
                  </a:cubicBezTo>
                  <a:close/>
                  <a:moveTo>
                    <a:pt x="1142" y="51"/>
                  </a:moveTo>
                  <a:cubicBezTo>
                    <a:pt x="1142" y="50"/>
                    <a:pt x="1142" y="50"/>
                    <a:pt x="1142" y="50"/>
                  </a:cubicBezTo>
                  <a:cubicBezTo>
                    <a:pt x="1142" y="50"/>
                    <a:pt x="1142" y="51"/>
                    <a:pt x="1142" y="51"/>
                  </a:cubicBezTo>
                  <a:close/>
                  <a:moveTo>
                    <a:pt x="1384" y="23"/>
                  </a:moveTo>
                  <a:cubicBezTo>
                    <a:pt x="1384" y="23"/>
                    <a:pt x="1384" y="22"/>
                    <a:pt x="1384" y="22"/>
                  </a:cubicBezTo>
                  <a:cubicBezTo>
                    <a:pt x="1384" y="22"/>
                    <a:pt x="1384" y="23"/>
                    <a:pt x="1384" y="23"/>
                  </a:cubicBezTo>
                  <a:close/>
                  <a:moveTo>
                    <a:pt x="1211" y="51"/>
                  </a:moveTo>
                  <a:cubicBezTo>
                    <a:pt x="1211" y="51"/>
                    <a:pt x="1211" y="50"/>
                    <a:pt x="1211" y="50"/>
                  </a:cubicBezTo>
                  <a:cubicBezTo>
                    <a:pt x="1211" y="50"/>
                    <a:pt x="1211" y="50"/>
                    <a:pt x="1211" y="51"/>
                  </a:cubicBezTo>
                  <a:close/>
                  <a:moveTo>
                    <a:pt x="1536" y="22"/>
                  </a:moveTo>
                  <a:cubicBezTo>
                    <a:pt x="1535" y="22"/>
                    <a:pt x="1535" y="22"/>
                    <a:pt x="1535" y="23"/>
                  </a:cubicBezTo>
                  <a:cubicBezTo>
                    <a:pt x="1535" y="22"/>
                    <a:pt x="1536" y="22"/>
                    <a:pt x="1536" y="22"/>
                  </a:cubicBezTo>
                  <a:close/>
                  <a:moveTo>
                    <a:pt x="1704" y="22"/>
                  </a:moveTo>
                  <a:cubicBezTo>
                    <a:pt x="1704" y="22"/>
                    <a:pt x="1703" y="22"/>
                    <a:pt x="1703" y="23"/>
                  </a:cubicBezTo>
                  <a:cubicBezTo>
                    <a:pt x="1704" y="22"/>
                    <a:pt x="1704" y="22"/>
                    <a:pt x="1704" y="22"/>
                  </a:cubicBezTo>
                  <a:close/>
                  <a:moveTo>
                    <a:pt x="872" y="55"/>
                  </a:moveTo>
                  <a:cubicBezTo>
                    <a:pt x="871" y="55"/>
                    <a:pt x="871" y="56"/>
                    <a:pt x="871" y="56"/>
                  </a:cubicBezTo>
                  <a:cubicBezTo>
                    <a:pt x="872" y="56"/>
                    <a:pt x="872" y="55"/>
                    <a:pt x="872" y="55"/>
                  </a:cubicBezTo>
                  <a:close/>
                  <a:moveTo>
                    <a:pt x="572" y="53"/>
                  </a:moveTo>
                  <a:cubicBezTo>
                    <a:pt x="572" y="53"/>
                    <a:pt x="572" y="53"/>
                    <a:pt x="572" y="54"/>
                  </a:cubicBezTo>
                  <a:cubicBezTo>
                    <a:pt x="572" y="53"/>
                    <a:pt x="572" y="53"/>
                    <a:pt x="572" y="53"/>
                  </a:cubicBezTo>
                  <a:close/>
                  <a:moveTo>
                    <a:pt x="977" y="22"/>
                  </a:moveTo>
                  <a:cubicBezTo>
                    <a:pt x="977" y="22"/>
                    <a:pt x="977" y="23"/>
                    <a:pt x="977" y="23"/>
                  </a:cubicBezTo>
                  <a:cubicBezTo>
                    <a:pt x="977" y="23"/>
                    <a:pt x="977" y="23"/>
                    <a:pt x="977" y="22"/>
                  </a:cubicBezTo>
                  <a:close/>
                  <a:moveTo>
                    <a:pt x="1261" y="45"/>
                  </a:moveTo>
                  <a:cubicBezTo>
                    <a:pt x="1261" y="45"/>
                    <a:pt x="1261" y="45"/>
                    <a:pt x="1261" y="45"/>
                  </a:cubicBezTo>
                  <a:cubicBezTo>
                    <a:pt x="1261" y="45"/>
                    <a:pt x="1261" y="45"/>
                    <a:pt x="1261" y="45"/>
                  </a:cubicBezTo>
                  <a:close/>
                  <a:moveTo>
                    <a:pt x="1415" y="23"/>
                  </a:moveTo>
                  <a:cubicBezTo>
                    <a:pt x="1415" y="23"/>
                    <a:pt x="1415" y="23"/>
                    <a:pt x="1415" y="23"/>
                  </a:cubicBezTo>
                  <a:cubicBezTo>
                    <a:pt x="1415" y="23"/>
                    <a:pt x="1415" y="23"/>
                    <a:pt x="1415" y="23"/>
                  </a:cubicBezTo>
                  <a:close/>
                  <a:moveTo>
                    <a:pt x="1497" y="22"/>
                  </a:moveTo>
                  <a:cubicBezTo>
                    <a:pt x="1496" y="22"/>
                    <a:pt x="1496" y="23"/>
                    <a:pt x="1496" y="23"/>
                  </a:cubicBezTo>
                  <a:cubicBezTo>
                    <a:pt x="1496" y="23"/>
                    <a:pt x="1497" y="23"/>
                    <a:pt x="1497" y="22"/>
                  </a:cubicBezTo>
                  <a:close/>
                  <a:moveTo>
                    <a:pt x="1289" y="45"/>
                  </a:moveTo>
                  <a:cubicBezTo>
                    <a:pt x="1289" y="45"/>
                    <a:pt x="1289" y="45"/>
                    <a:pt x="1289" y="45"/>
                  </a:cubicBezTo>
                  <a:cubicBezTo>
                    <a:pt x="1289" y="45"/>
                    <a:pt x="1289" y="45"/>
                    <a:pt x="1289" y="45"/>
                  </a:cubicBezTo>
                  <a:close/>
                  <a:moveTo>
                    <a:pt x="1568" y="23"/>
                  </a:moveTo>
                  <a:cubicBezTo>
                    <a:pt x="1568" y="23"/>
                    <a:pt x="1568" y="23"/>
                    <a:pt x="1568" y="23"/>
                  </a:cubicBezTo>
                  <a:cubicBezTo>
                    <a:pt x="1568" y="23"/>
                    <a:pt x="1568" y="23"/>
                    <a:pt x="1568" y="23"/>
                  </a:cubicBezTo>
                  <a:close/>
                  <a:moveTo>
                    <a:pt x="1683" y="23"/>
                  </a:moveTo>
                  <a:cubicBezTo>
                    <a:pt x="1683" y="23"/>
                    <a:pt x="1683" y="23"/>
                    <a:pt x="1683" y="23"/>
                  </a:cubicBezTo>
                  <a:cubicBezTo>
                    <a:pt x="1683" y="23"/>
                    <a:pt x="1683" y="23"/>
                    <a:pt x="1683" y="23"/>
                  </a:cubicBezTo>
                  <a:close/>
                  <a:moveTo>
                    <a:pt x="1298" y="45"/>
                  </a:moveTo>
                  <a:cubicBezTo>
                    <a:pt x="1297" y="45"/>
                    <a:pt x="1297" y="45"/>
                    <a:pt x="1297" y="45"/>
                  </a:cubicBezTo>
                  <a:cubicBezTo>
                    <a:pt x="1297" y="45"/>
                    <a:pt x="1298" y="45"/>
                    <a:pt x="1298" y="45"/>
                  </a:cubicBezTo>
                  <a:close/>
                  <a:moveTo>
                    <a:pt x="1737" y="23"/>
                  </a:moveTo>
                  <a:cubicBezTo>
                    <a:pt x="1737" y="23"/>
                    <a:pt x="1737" y="23"/>
                    <a:pt x="1736" y="23"/>
                  </a:cubicBezTo>
                  <a:cubicBezTo>
                    <a:pt x="1736" y="23"/>
                    <a:pt x="1736" y="23"/>
                    <a:pt x="1737" y="23"/>
                  </a:cubicBezTo>
                  <a:close/>
                  <a:moveTo>
                    <a:pt x="538" y="24"/>
                  </a:moveTo>
                  <a:cubicBezTo>
                    <a:pt x="538" y="23"/>
                    <a:pt x="538" y="23"/>
                    <a:pt x="538" y="23"/>
                  </a:cubicBezTo>
                  <a:cubicBezTo>
                    <a:pt x="538" y="23"/>
                    <a:pt x="538" y="23"/>
                    <a:pt x="538" y="24"/>
                  </a:cubicBezTo>
                  <a:close/>
                  <a:moveTo>
                    <a:pt x="551" y="23"/>
                  </a:moveTo>
                  <a:cubicBezTo>
                    <a:pt x="550" y="23"/>
                    <a:pt x="550" y="23"/>
                    <a:pt x="550" y="24"/>
                  </a:cubicBezTo>
                  <a:cubicBezTo>
                    <a:pt x="551" y="23"/>
                    <a:pt x="551" y="23"/>
                    <a:pt x="551" y="23"/>
                  </a:cubicBezTo>
                  <a:close/>
                  <a:moveTo>
                    <a:pt x="600" y="54"/>
                  </a:moveTo>
                  <a:cubicBezTo>
                    <a:pt x="600" y="53"/>
                    <a:pt x="600" y="53"/>
                    <a:pt x="599" y="53"/>
                  </a:cubicBezTo>
                  <a:cubicBezTo>
                    <a:pt x="599" y="53"/>
                    <a:pt x="599" y="54"/>
                    <a:pt x="600" y="54"/>
                  </a:cubicBezTo>
                  <a:close/>
                  <a:moveTo>
                    <a:pt x="648" y="53"/>
                  </a:moveTo>
                  <a:cubicBezTo>
                    <a:pt x="648" y="53"/>
                    <a:pt x="648" y="53"/>
                    <a:pt x="648" y="54"/>
                  </a:cubicBezTo>
                  <a:cubicBezTo>
                    <a:pt x="648" y="54"/>
                    <a:pt x="648" y="53"/>
                    <a:pt x="648" y="53"/>
                  </a:cubicBezTo>
                  <a:close/>
                  <a:moveTo>
                    <a:pt x="1384" y="24"/>
                  </a:moveTo>
                  <a:cubicBezTo>
                    <a:pt x="1384" y="23"/>
                    <a:pt x="1384" y="23"/>
                    <a:pt x="1384" y="23"/>
                  </a:cubicBezTo>
                  <a:cubicBezTo>
                    <a:pt x="1384" y="23"/>
                    <a:pt x="1384" y="23"/>
                    <a:pt x="1384" y="24"/>
                  </a:cubicBezTo>
                  <a:close/>
                  <a:moveTo>
                    <a:pt x="1579" y="45"/>
                  </a:moveTo>
                  <a:cubicBezTo>
                    <a:pt x="1579" y="45"/>
                    <a:pt x="1579" y="45"/>
                    <a:pt x="1579" y="45"/>
                  </a:cubicBezTo>
                  <a:cubicBezTo>
                    <a:pt x="1579" y="45"/>
                    <a:pt x="1579" y="45"/>
                    <a:pt x="1579" y="45"/>
                  </a:cubicBezTo>
                  <a:close/>
                  <a:moveTo>
                    <a:pt x="1682" y="45"/>
                  </a:moveTo>
                  <a:cubicBezTo>
                    <a:pt x="1681" y="45"/>
                    <a:pt x="1681" y="45"/>
                    <a:pt x="1681" y="45"/>
                  </a:cubicBezTo>
                  <a:cubicBezTo>
                    <a:pt x="1682" y="45"/>
                    <a:pt x="1682" y="45"/>
                    <a:pt x="1682" y="45"/>
                  </a:cubicBezTo>
                  <a:close/>
                  <a:moveTo>
                    <a:pt x="1747" y="45"/>
                  </a:moveTo>
                  <a:cubicBezTo>
                    <a:pt x="1747" y="45"/>
                    <a:pt x="1747" y="45"/>
                    <a:pt x="1747" y="45"/>
                  </a:cubicBezTo>
                  <a:cubicBezTo>
                    <a:pt x="1747" y="45"/>
                    <a:pt x="1747" y="45"/>
                    <a:pt x="1747" y="45"/>
                  </a:cubicBezTo>
                  <a:close/>
                  <a:moveTo>
                    <a:pt x="1466" y="23"/>
                  </a:moveTo>
                  <a:cubicBezTo>
                    <a:pt x="1466" y="23"/>
                    <a:pt x="1466" y="24"/>
                    <a:pt x="1466" y="24"/>
                  </a:cubicBezTo>
                  <a:cubicBezTo>
                    <a:pt x="1466" y="24"/>
                    <a:pt x="1466" y="23"/>
                    <a:pt x="1466" y="23"/>
                  </a:cubicBezTo>
                  <a:close/>
                  <a:moveTo>
                    <a:pt x="1496" y="23"/>
                  </a:moveTo>
                  <a:cubicBezTo>
                    <a:pt x="1495" y="23"/>
                    <a:pt x="1495" y="23"/>
                    <a:pt x="1495" y="24"/>
                  </a:cubicBezTo>
                  <a:cubicBezTo>
                    <a:pt x="1495" y="24"/>
                    <a:pt x="1496" y="23"/>
                    <a:pt x="1496" y="23"/>
                  </a:cubicBezTo>
                  <a:close/>
                  <a:moveTo>
                    <a:pt x="597" y="46"/>
                  </a:moveTo>
                  <a:cubicBezTo>
                    <a:pt x="597" y="45"/>
                    <a:pt x="597" y="45"/>
                    <a:pt x="596" y="45"/>
                  </a:cubicBezTo>
                  <a:cubicBezTo>
                    <a:pt x="596" y="45"/>
                    <a:pt x="596" y="46"/>
                    <a:pt x="597" y="46"/>
                  </a:cubicBezTo>
                  <a:close/>
                  <a:moveTo>
                    <a:pt x="1569" y="24"/>
                  </a:moveTo>
                  <a:cubicBezTo>
                    <a:pt x="1569" y="24"/>
                    <a:pt x="1569" y="23"/>
                    <a:pt x="1568" y="23"/>
                  </a:cubicBezTo>
                  <a:cubicBezTo>
                    <a:pt x="1568" y="23"/>
                    <a:pt x="1569" y="24"/>
                    <a:pt x="1569" y="24"/>
                  </a:cubicBezTo>
                  <a:close/>
                  <a:moveTo>
                    <a:pt x="640" y="46"/>
                  </a:moveTo>
                  <a:cubicBezTo>
                    <a:pt x="640" y="46"/>
                    <a:pt x="640" y="45"/>
                    <a:pt x="640" y="45"/>
                  </a:cubicBezTo>
                  <a:cubicBezTo>
                    <a:pt x="640" y="45"/>
                    <a:pt x="640" y="46"/>
                    <a:pt x="640" y="46"/>
                  </a:cubicBezTo>
                  <a:close/>
                  <a:moveTo>
                    <a:pt x="1737" y="24"/>
                  </a:moveTo>
                  <a:cubicBezTo>
                    <a:pt x="1737" y="24"/>
                    <a:pt x="1737" y="23"/>
                    <a:pt x="1737" y="23"/>
                  </a:cubicBezTo>
                  <a:cubicBezTo>
                    <a:pt x="1737" y="23"/>
                    <a:pt x="1737" y="24"/>
                    <a:pt x="1737" y="24"/>
                  </a:cubicBezTo>
                  <a:close/>
                  <a:moveTo>
                    <a:pt x="550" y="23"/>
                  </a:moveTo>
                  <a:cubicBezTo>
                    <a:pt x="550" y="24"/>
                    <a:pt x="550" y="24"/>
                    <a:pt x="550" y="24"/>
                  </a:cubicBezTo>
                  <a:cubicBezTo>
                    <a:pt x="550" y="24"/>
                    <a:pt x="550" y="24"/>
                    <a:pt x="550" y="23"/>
                  </a:cubicBezTo>
                  <a:close/>
                  <a:moveTo>
                    <a:pt x="652" y="45"/>
                  </a:moveTo>
                  <a:cubicBezTo>
                    <a:pt x="651" y="45"/>
                    <a:pt x="651" y="46"/>
                    <a:pt x="651" y="46"/>
                  </a:cubicBezTo>
                  <a:cubicBezTo>
                    <a:pt x="652" y="46"/>
                    <a:pt x="652" y="45"/>
                    <a:pt x="652" y="45"/>
                  </a:cubicBezTo>
                  <a:close/>
                  <a:moveTo>
                    <a:pt x="1385" y="24"/>
                  </a:moveTo>
                  <a:cubicBezTo>
                    <a:pt x="1385" y="24"/>
                    <a:pt x="1385" y="24"/>
                    <a:pt x="1384" y="23"/>
                  </a:cubicBezTo>
                  <a:cubicBezTo>
                    <a:pt x="1384" y="24"/>
                    <a:pt x="1384" y="24"/>
                    <a:pt x="1385" y="24"/>
                  </a:cubicBezTo>
                  <a:close/>
                  <a:moveTo>
                    <a:pt x="1415" y="24"/>
                  </a:moveTo>
                  <a:cubicBezTo>
                    <a:pt x="1415" y="24"/>
                    <a:pt x="1415" y="24"/>
                    <a:pt x="1415" y="24"/>
                  </a:cubicBezTo>
                  <a:cubicBezTo>
                    <a:pt x="1415" y="24"/>
                    <a:pt x="1415" y="24"/>
                    <a:pt x="1415" y="24"/>
                  </a:cubicBezTo>
                  <a:close/>
                  <a:moveTo>
                    <a:pt x="694" y="45"/>
                  </a:moveTo>
                  <a:cubicBezTo>
                    <a:pt x="694" y="45"/>
                    <a:pt x="694" y="45"/>
                    <a:pt x="694" y="45"/>
                  </a:cubicBezTo>
                  <a:cubicBezTo>
                    <a:pt x="694" y="45"/>
                    <a:pt x="694" y="45"/>
                    <a:pt x="694" y="45"/>
                  </a:cubicBezTo>
                  <a:close/>
                  <a:moveTo>
                    <a:pt x="567" y="50"/>
                  </a:moveTo>
                  <a:cubicBezTo>
                    <a:pt x="567" y="51"/>
                    <a:pt x="567" y="51"/>
                    <a:pt x="568" y="51"/>
                  </a:cubicBezTo>
                  <a:cubicBezTo>
                    <a:pt x="568" y="50"/>
                    <a:pt x="567" y="50"/>
                    <a:pt x="567" y="50"/>
                  </a:cubicBezTo>
                  <a:close/>
                  <a:moveTo>
                    <a:pt x="599" y="51"/>
                  </a:moveTo>
                  <a:cubicBezTo>
                    <a:pt x="599" y="51"/>
                    <a:pt x="599" y="50"/>
                    <a:pt x="598" y="50"/>
                  </a:cubicBezTo>
                  <a:cubicBezTo>
                    <a:pt x="598" y="51"/>
                    <a:pt x="598" y="51"/>
                    <a:pt x="599" y="51"/>
                  </a:cubicBezTo>
                  <a:close/>
                  <a:moveTo>
                    <a:pt x="1495" y="24"/>
                  </a:moveTo>
                  <a:cubicBezTo>
                    <a:pt x="1494" y="24"/>
                    <a:pt x="1494" y="24"/>
                    <a:pt x="1494" y="24"/>
                  </a:cubicBezTo>
                  <a:cubicBezTo>
                    <a:pt x="1494" y="24"/>
                    <a:pt x="1495" y="24"/>
                    <a:pt x="1495" y="24"/>
                  </a:cubicBezTo>
                  <a:close/>
                  <a:moveTo>
                    <a:pt x="649" y="50"/>
                  </a:moveTo>
                  <a:cubicBezTo>
                    <a:pt x="649" y="50"/>
                    <a:pt x="649" y="51"/>
                    <a:pt x="649" y="51"/>
                  </a:cubicBezTo>
                  <a:cubicBezTo>
                    <a:pt x="649" y="51"/>
                    <a:pt x="650" y="51"/>
                    <a:pt x="649" y="50"/>
                  </a:cubicBezTo>
                  <a:close/>
                  <a:moveTo>
                    <a:pt x="1569" y="25"/>
                  </a:moveTo>
                  <a:cubicBezTo>
                    <a:pt x="1569" y="24"/>
                    <a:pt x="1569" y="24"/>
                    <a:pt x="1569" y="24"/>
                  </a:cubicBezTo>
                  <a:cubicBezTo>
                    <a:pt x="1569" y="24"/>
                    <a:pt x="1569" y="24"/>
                    <a:pt x="1569" y="25"/>
                  </a:cubicBezTo>
                  <a:close/>
                  <a:moveTo>
                    <a:pt x="750" y="51"/>
                  </a:moveTo>
                  <a:cubicBezTo>
                    <a:pt x="751" y="51"/>
                    <a:pt x="751" y="51"/>
                    <a:pt x="751" y="50"/>
                  </a:cubicBezTo>
                  <a:cubicBezTo>
                    <a:pt x="751" y="51"/>
                    <a:pt x="750" y="51"/>
                    <a:pt x="750" y="51"/>
                  </a:cubicBezTo>
                  <a:close/>
                  <a:moveTo>
                    <a:pt x="1737" y="25"/>
                  </a:moveTo>
                  <a:cubicBezTo>
                    <a:pt x="1737" y="24"/>
                    <a:pt x="1737" y="24"/>
                    <a:pt x="1737" y="24"/>
                  </a:cubicBezTo>
                  <a:cubicBezTo>
                    <a:pt x="1737" y="24"/>
                    <a:pt x="1737" y="24"/>
                    <a:pt x="1737" y="25"/>
                  </a:cubicBezTo>
                  <a:close/>
                  <a:moveTo>
                    <a:pt x="550" y="24"/>
                  </a:moveTo>
                  <a:cubicBezTo>
                    <a:pt x="550" y="24"/>
                    <a:pt x="550" y="25"/>
                    <a:pt x="550" y="25"/>
                  </a:cubicBezTo>
                  <a:cubicBezTo>
                    <a:pt x="550" y="25"/>
                    <a:pt x="550" y="24"/>
                    <a:pt x="550" y="24"/>
                  </a:cubicBezTo>
                  <a:close/>
                  <a:moveTo>
                    <a:pt x="960" y="25"/>
                  </a:moveTo>
                  <a:cubicBezTo>
                    <a:pt x="960" y="25"/>
                    <a:pt x="960" y="25"/>
                    <a:pt x="960" y="24"/>
                  </a:cubicBezTo>
                  <a:cubicBezTo>
                    <a:pt x="960" y="24"/>
                    <a:pt x="960" y="25"/>
                    <a:pt x="960" y="25"/>
                  </a:cubicBezTo>
                  <a:close/>
                  <a:moveTo>
                    <a:pt x="910" y="45"/>
                  </a:moveTo>
                  <a:cubicBezTo>
                    <a:pt x="910" y="45"/>
                    <a:pt x="910" y="46"/>
                    <a:pt x="911" y="46"/>
                  </a:cubicBezTo>
                  <a:cubicBezTo>
                    <a:pt x="911" y="46"/>
                    <a:pt x="911" y="45"/>
                    <a:pt x="910" y="45"/>
                  </a:cubicBezTo>
                  <a:close/>
                  <a:moveTo>
                    <a:pt x="1385" y="25"/>
                  </a:moveTo>
                  <a:cubicBezTo>
                    <a:pt x="1385" y="25"/>
                    <a:pt x="1385" y="24"/>
                    <a:pt x="1385" y="24"/>
                  </a:cubicBezTo>
                  <a:cubicBezTo>
                    <a:pt x="1385" y="24"/>
                    <a:pt x="1385" y="25"/>
                    <a:pt x="1385" y="25"/>
                  </a:cubicBezTo>
                  <a:close/>
                  <a:moveTo>
                    <a:pt x="1414" y="25"/>
                  </a:moveTo>
                  <a:cubicBezTo>
                    <a:pt x="1415" y="25"/>
                    <a:pt x="1415" y="25"/>
                    <a:pt x="1415" y="24"/>
                  </a:cubicBezTo>
                  <a:cubicBezTo>
                    <a:pt x="1414" y="24"/>
                    <a:pt x="1414" y="25"/>
                    <a:pt x="1414" y="25"/>
                  </a:cubicBezTo>
                  <a:close/>
                  <a:moveTo>
                    <a:pt x="1036" y="46"/>
                  </a:moveTo>
                  <a:cubicBezTo>
                    <a:pt x="1036" y="46"/>
                    <a:pt x="1036" y="45"/>
                    <a:pt x="1036" y="45"/>
                  </a:cubicBezTo>
                  <a:cubicBezTo>
                    <a:pt x="1036" y="45"/>
                    <a:pt x="1036" y="46"/>
                    <a:pt x="1036" y="46"/>
                  </a:cubicBezTo>
                  <a:close/>
                  <a:moveTo>
                    <a:pt x="1083" y="45"/>
                  </a:moveTo>
                  <a:cubicBezTo>
                    <a:pt x="1084" y="45"/>
                    <a:pt x="1084" y="46"/>
                    <a:pt x="1084" y="46"/>
                  </a:cubicBezTo>
                  <a:cubicBezTo>
                    <a:pt x="1084" y="46"/>
                    <a:pt x="1084" y="45"/>
                    <a:pt x="1083" y="45"/>
                  </a:cubicBezTo>
                  <a:close/>
                  <a:moveTo>
                    <a:pt x="1494" y="24"/>
                  </a:moveTo>
                  <a:cubicBezTo>
                    <a:pt x="1493" y="25"/>
                    <a:pt x="1493" y="25"/>
                    <a:pt x="1493" y="25"/>
                  </a:cubicBezTo>
                  <a:cubicBezTo>
                    <a:pt x="1493" y="25"/>
                    <a:pt x="1493" y="25"/>
                    <a:pt x="1494" y="24"/>
                  </a:cubicBezTo>
                  <a:close/>
                  <a:moveTo>
                    <a:pt x="1152" y="45"/>
                  </a:moveTo>
                  <a:cubicBezTo>
                    <a:pt x="1152" y="45"/>
                    <a:pt x="1153" y="46"/>
                    <a:pt x="1153" y="46"/>
                  </a:cubicBezTo>
                  <a:cubicBezTo>
                    <a:pt x="1153" y="46"/>
                    <a:pt x="1153" y="45"/>
                    <a:pt x="1152" y="45"/>
                  </a:cubicBezTo>
                  <a:close/>
                  <a:moveTo>
                    <a:pt x="550" y="25"/>
                  </a:moveTo>
                  <a:cubicBezTo>
                    <a:pt x="549" y="25"/>
                    <a:pt x="549" y="25"/>
                    <a:pt x="549" y="26"/>
                  </a:cubicBezTo>
                  <a:cubicBezTo>
                    <a:pt x="550" y="25"/>
                    <a:pt x="550" y="25"/>
                    <a:pt x="550" y="25"/>
                  </a:cubicBezTo>
                  <a:close/>
                  <a:moveTo>
                    <a:pt x="874" y="50"/>
                  </a:moveTo>
                  <a:cubicBezTo>
                    <a:pt x="873" y="50"/>
                    <a:pt x="873" y="51"/>
                    <a:pt x="873" y="51"/>
                  </a:cubicBezTo>
                  <a:cubicBezTo>
                    <a:pt x="874" y="51"/>
                    <a:pt x="874" y="51"/>
                    <a:pt x="874" y="50"/>
                  </a:cubicBezTo>
                  <a:close/>
                  <a:moveTo>
                    <a:pt x="1493" y="25"/>
                  </a:moveTo>
                  <a:cubicBezTo>
                    <a:pt x="1493" y="25"/>
                    <a:pt x="1492" y="25"/>
                    <a:pt x="1492" y="25"/>
                  </a:cubicBezTo>
                  <a:cubicBezTo>
                    <a:pt x="1493" y="25"/>
                    <a:pt x="1493" y="25"/>
                    <a:pt x="1493" y="25"/>
                  </a:cubicBezTo>
                  <a:close/>
                  <a:moveTo>
                    <a:pt x="1312" y="45"/>
                  </a:moveTo>
                  <a:cubicBezTo>
                    <a:pt x="1312" y="45"/>
                    <a:pt x="1312" y="45"/>
                    <a:pt x="1312" y="45"/>
                  </a:cubicBezTo>
                  <a:cubicBezTo>
                    <a:pt x="1312" y="46"/>
                    <a:pt x="1312" y="45"/>
                    <a:pt x="1312" y="45"/>
                  </a:cubicBezTo>
                  <a:close/>
                  <a:moveTo>
                    <a:pt x="1570" y="26"/>
                  </a:moveTo>
                  <a:cubicBezTo>
                    <a:pt x="1570" y="25"/>
                    <a:pt x="1570" y="25"/>
                    <a:pt x="1569" y="25"/>
                  </a:cubicBezTo>
                  <a:cubicBezTo>
                    <a:pt x="1569" y="25"/>
                    <a:pt x="1569" y="25"/>
                    <a:pt x="1570" y="26"/>
                  </a:cubicBezTo>
                  <a:close/>
                  <a:moveTo>
                    <a:pt x="1383" y="46"/>
                  </a:moveTo>
                  <a:cubicBezTo>
                    <a:pt x="1383" y="46"/>
                    <a:pt x="1383" y="45"/>
                    <a:pt x="1383" y="45"/>
                  </a:cubicBezTo>
                  <a:cubicBezTo>
                    <a:pt x="1383" y="45"/>
                    <a:pt x="1383" y="46"/>
                    <a:pt x="1383" y="46"/>
                  </a:cubicBezTo>
                  <a:close/>
                  <a:moveTo>
                    <a:pt x="1738" y="26"/>
                  </a:moveTo>
                  <a:cubicBezTo>
                    <a:pt x="1738" y="25"/>
                    <a:pt x="1738" y="25"/>
                    <a:pt x="1737" y="25"/>
                  </a:cubicBezTo>
                  <a:cubicBezTo>
                    <a:pt x="1737" y="25"/>
                    <a:pt x="1737" y="25"/>
                    <a:pt x="1738" y="26"/>
                  </a:cubicBezTo>
                  <a:close/>
                  <a:moveTo>
                    <a:pt x="959" y="26"/>
                  </a:moveTo>
                  <a:cubicBezTo>
                    <a:pt x="960" y="26"/>
                    <a:pt x="960" y="26"/>
                    <a:pt x="960" y="25"/>
                  </a:cubicBezTo>
                  <a:cubicBezTo>
                    <a:pt x="959" y="25"/>
                    <a:pt x="959" y="26"/>
                    <a:pt x="959" y="26"/>
                  </a:cubicBezTo>
                  <a:close/>
                  <a:moveTo>
                    <a:pt x="1395" y="45"/>
                  </a:moveTo>
                  <a:cubicBezTo>
                    <a:pt x="1395" y="45"/>
                    <a:pt x="1394" y="46"/>
                    <a:pt x="1394" y="46"/>
                  </a:cubicBezTo>
                  <a:cubicBezTo>
                    <a:pt x="1395" y="46"/>
                    <a:pt x="1395" y="45"/>
                    <a:pt x="1395" y="45"/>
                  </a:cubicBezTo>
                  <a:close/>
                  <a:moveTo>
                    <a:pt x="1492" y="25"/>
                  </a:moveTo>
                  <a:cubicBezTo>
                    <a:pt x="1492" y="25"/>
                    <a:pt x="1492" y="25"/>
                    <a:pt x="1492" y="26"/>
                  </a:cubicBezTo>
                  <a:cubicBezTo>
                    <a:pt x="1492" y="26"/>
                    <a:pt x="1492" y="26"/>
                    <a:pt x="1492" y="25"/>
                  </a:cubicBezTo>
                  <a:close/>
                  <a:moveTo>
                    <a:pt x="559" y="45"/>
                  </a:moveTo>
                  <a:cubicBezTo>
                    <a:pt x="559" y="46"/>
                    <a:pt x="559" y="46"/>
                    <a:pt x="559" y="46"/>
                  </a:cubicBezTo>
                  <a:cubicBezTo>
                    <a:pt x="559" y="46"/>
                    <a:pt x="559" y="45"/>
                    <a:pt x="559" y="45"/>
                  </a:cubicBezTo>
                  <a:close/>
                  <a:moveTo>
                    <a:pt x="659" y="46"/>
                  </a:moveTo>
                  <a:cubicBezTo>
                    <a:pt x="660" y="46"/>
                    <a:pt x="660" y="46"/>
                    <a:pt x="660" y="45"/>
                  </a:cubicBezTo>
                  <a:cubicBezTo>
                    <a:pt x="659" y="46"/>
                    <a:pt x="659" y="46"/>
                    <a:pt x="659" y="46"/>
                  </a:cubicBezTo>
                  <a:close/>
                  <a:moveTo>
                    <a:pt x="695" y="46"/>
                  </a:moveTo>
                  <a:cubicBezTo>
                    <a:pt x="695" y="46"/>
                    <a:pt x="695" y="45"/>
                    <a:pt x="694" y="45"/>
                  </a:cubicBezTo>
                  <a:cubicBezTo>
                    <a:pt x="695" y="46"/>
                    <a:pt x="695" y="46"/>
                    <a:pt x="695" y="46"/>
                  </a:cubicBezTo>
                  <a:close/>
                  <a:moveTo>
                    <a:pt x="802" y="46"/>
                  </a:moveTo>
                  <a:cubicBezTo>
                    <a:pt x="802" y="46"/>
                    <a:pt x="802" y="46"/>
                    <a:pt x="802" y="46"/>
                  </a:cubicBezTo>
                  <a:cubicBezTo>
                    <a:pt x="802" y="46"/>
                    <a:pt x="802" y="46"/>
                    <a:pt x="802" y="46"/>
                  </a:cubicBezTo>
                  <a:close/>
                  <a:moveTo>
                    <a:pt x="1292" y="50"/>
                  </a:moveTo>
                  <a:cubicBezTo>
                    <a:pt x="1292" y="50"/>
                    <a:pt x="1292" y="51"/>
                    <a:pt x="1292" y="51"/>
                  </a:cubicBezTo>
                  <a:cubicBezTo>
                    <a:pt x="1292" y="51"/>
                    <a:pt x="1292" y="51"/>
                    <a:pt x="1292" y="50"/>
                  </a:cubicBezTo>
                  <a:close/>
                  <a:moveTo>
                    <a:pt x="1414" y="27"/>
                  </a:moveTo>
                  <a:cubicBezTo>
                    <a:pt x="1414" y="27"/>
                    <a:pt x="1414" y="26"/>
                    <a:pt x="1414" y="26"/>
                  </a:cubicBezTo>
                  <a:cubicBezTo>
                    <a:pt x="1414" y="26"/>
                    <a:pt x="1414" y="26"/>
                    <a:pt x="1414" y="27"/>
                  </a:cubicBezTo>
                  <a:close/>
                  <a:moveTo>
                    <a:pt x="872" y="53"/>
                  </a:moveTo>
                  <a:cubicBezTo>
                    <a:pt x="872" y="53"/>
                    <a:pt x="872" y="54"/>
                    <a:pt x="872" y="54"/>
                  </a:cubicBezTo>
                  <a:cubicBezTo>
                    <a:pt x="872" y="54"/>
                    <a:pt x="872" y="53"/>
                    <a:pt x="872" y="53"/>
                  </a:cubicBezTo>
                  <a:close/>
                  <a:moveTo>
                    <a:pt x="959" y="27"/>
                  </a:moveTo>
                  <a:cubicBezTo>
                    <a:pt x="959" y="27"/>
                    <a:pt x="959" y="27"/>
                    <a:pt x="959" y="26"/>
                  </a:cubicBezTo>
                  <a:cubicBezTo>
                    <a:pt x="959" y="26"/>
                    <a:pt x="959" y="27"/>
                    <a:pt x="959" y="27"/>
                  </a:cubicBezTo>
                  <a:close/>
                  <a:moveTo>
                    <a:pt x="1490" y="26"/>
                  </a:moveTo>
                  <a:cubicBezTo>
                    <a:pt x="1490" y="26"/>
                    <a:pt x="1490" y="26"/>
                    <a:pt x="1490" y="27"/>
                  </a:cubicBezTo>
                  <a:cubicBezTo>
                    <a:pt x="1490" y="27"/>
                    <a:pt x="1490" y="27"/>
                    <a:pt x="1490" y="26"/>
                  </a:cubicBezTo>
                  <a:close/>
                  <a:moveTo>
                    <a:pt x="1490" y="27"/>
                  </a:moveTo>
                  <a:cubicBezTo>
                    <a:pt x="1489" y="27"/>
                    <a:pt x="1489" y="27"/>
                    <a:pt x="1489" y="27"/>
                  </a:cubicBezTo>
                  <a:cubicBezTo>
                    <a:pt x="1489" y="27"/>
                    <a:pt x="1490" y="27"/>
                    <a:pt x="1490" y="27"/>
                  </a:cubicBezTo>
                  <a:close/>
                  <a:moveTo>
                    <a:pt x="1289" y="46"/>
                  </a:moveTo>
                  <a:cubicBezTo>
                    <a:pt x="1289" y="46"/>
                    <a:pt x="1289" y="46"/>
                    <a:pt x="1289" y="45"/>
                  </a:cubicBezTo>
                  <a:cubicBezTo>
                    <a:pt x="1289" y="46"/>
                    <a:pt x="1289" y="46"/>
                    <a:pt x="1289" y="46"/>
                  </a:cubicBezTo>
                  <a:close/>
                  <a:moveTo>
                    <a:pt x="1413" y="28"/>
                  </a:moveTo>
                  <a:cubicBezTo>
                    <a:pt x="1414" y="28"/>
                    <a:pt x="1414" y="27"/>
                    <a:pt x="1414" y="27"/>
                  </a:cubicBezTo>
                  <a:cubicBezTo>
                    <a:pt x="1413" y="27"/>
                    <a:pt x="1413" y="28"/>
                    <a:pt x="1413" y="28"/>
                  </a:cubicBezTo>
                  <a:close/>
                  <a:moveTo>
                    <a:pt x="1489" y="27"/>
                  </a:moveTo>
                  <a:cubicBezTo>
                    <a:pt x="1489" y="27"/>
                    <a:pt x="1489" y="27"/>
                    <a:pt x="1488" y="27"/>
                  </a:cubicBezTo>
                  <a:cubicBezTo>
                    <a:pt x="1489" y="27"/>
                    <a:pt x="1489" y="27"/>
                    <a:pt x="1489" y="27"/>
                  </a:cubicBezTo>
                  <a:close/>
                  <a:moveTo>
                    <a:pt x="958" y="28"/>
                  </a:moveTo>
                  <a:cubicBezTo>
                    <a:pt x="958" y="28"/>
                    <a:pt x="958" y="28"/>
                    <a:pt x="958" y="27"/>
                  </a:cubicBezTo>
                  <a:cubicBezTo>
                    <a:pt x="958" y="28"/>
                    <a:pt x="958" y="28"/>
                    <a:pt x="958" y="28"/>
                  </a:cubicBezTo>
                  <a:close/>
                  <a:moveTo>
                    <a:pt x="1488" y="27"/>
                  </a:moveTo>
                  <a:cubicBezTo>
                    <a:pt x="1488" y="27"/>
                    <a:pt x="1488" y="27"/>
                    <a:pt x="1488" y="28"/>
                  </a:cubicBezTo>
                  <a:cubicBezTo>
                    <a:pt x="1488" y="28"/>
                    <a:pt x="1488" y="28"/>
                    <a:pt x="1488" y="27"/>
                  </a:cubicBezTo>
                  <a:close/>
                  <a:moveTo>
                    <a:pt x="1488" y="28"/>
                  </a:moveTo>
                  <a:cubicBezTo>
                    <a:pt x="1487" y="28"/>
                    <a:pt x="1487" y="28"/>
                    <a:pt x="1487" y="28"/>
                  </a:cubicBezTo>
                  <a:cubicBezTo>
                    <a:pt x="1487" y="28"/>
                    <a:pt x="1488" y="28"/>
                    <a:pt x="1488" y="28"/>
                  </a:cubicBezTo>
                  <a:close/>
                  <a:moveTo>
                    <a:pt x="958" y="29"/>
                  </a:moveTo>
                  <a:cubicBezTo>
                    <a:pt x="958" y="29"/>
                    <a:pt x="958" y="28"/>
                    <a:pt x="958" y="28"/>
                  </a:cubicBezTo>
                  <a:cubicBezTo>
                    <a:pt x="958" y="28"/>
                    <a:pt x="958" y="28"/>
                    <a:pt x="958" y="29"/>
                  </a:cubicBezTo>
                  <a:close/>
                  <a:moveTo>
                    <a:pt x="1576" y="50"/>
                  </a:moveTo>
                  <a:cubicBezTo>
                    <a:pt x="1576" y="51"/>
                    <a:pt x="1576" y="51"/>
                    <a:pt x="1576" y="51"/>
                  </a:cubicBezTo>
                  <a:cubicBezTo>
                    <a:pt x="1576" y="51"/>
                    <a:pt x="1576" y="51"/>
                    <a:pt x="1576" y="50"/>
                  </a:cubicBezTo>
                  <a:close/>
                  <a:moveTo>
                    <a:pt x="1413" y="29"/>
                  </a:moveTo>
                  <a:cubicBezTo>
                    <a:pt x="1413" y="29"/>
                    <a:pt x="1413" y="28"/>
                    <a:pt x="1413" y="28"/>
                  </a:cubicBezTo>
                  <a:cubicBezTo>
                    <a:pt x="1413" y="28"/>
                    <a:pt x="1413" y="29"/>
                    <a:pt x="1413" y="29"/>
                  </a:cubicBezTo>
                  <a:close/>
                  <a:moveTo>
                    <a:pt x="1579" y="45"/>
                  </a:moveTo>
                  <a:cubicBezTo>
                    <a:pt x="1579" y="46"/>
                    <a:pt x="1579" y="46"/>
                    <a:pt x="1579" y="46"/>
                  </a:cubicBezTo>
                  <a:cubicBezTo>
                    <a:pt x="1579" y="46"/>
                    <a:pt x="1579" y="46"/>
                    <a:pt x="1579" y="45"/>
                  </a:cubicBezTo>
                  <a:close/>
                  <a:moveTo>
                    <a:pt x="1486" y="28"/>
                  </a:moveTo>
                  <a:cubicBezTo>
                    <a:pt x="1486" y="28"/>
                    <a:pt x="1485" y="29"/>
                    <a:pt x="1485" y="29"/>
                  </a:cubicBezTo>
                  <a:cubicBezTo>
                    <a:pt x="1486" y="29"/>
                    <a:pt x="1486" y="29"/>
                    <a:pt x="1486" y="28"/>
                  </a:cubicBezTo>
                  <a:close/>
                  <a:moveTo>
                    <a:pt x="957" y="29"/>
                  </a:moveTo>
                  <a:cubicBezTo>
                    <a:pt x="957" y="29"/>
                    <a:pt x="958" y="29"/>
                    <a:pt x="958" y="29"/>
                  </a:cubicBezTo>
                  <a:cubicBezTo>
                    <a:pt x="957" y="29"/>
                    <a:pt x="957" y="29"/>
                    <a:pt x="957" y="29"/>
                  </a:cubicBezTo>
                  <a:close/>
                  <a:moveTo>
                    <a:pt x="1485" y="29"/>
                  </a:moveTo>
                  <a:cubicBezTo>
                    <a:pt x="1485" y="29"/>
                    <a:pt x="1485" y="29"/>
                    <a:pt x="1485" y="29"/>
                  </a:cubicBezTo>
                  <a:cubicBezTo>
                    <a:pt x="1485" y="29"/>
                    <a:pt x="1485" y="29"/>
                    <a:pt x="1485" y="29"/>
                  </a:cubicBezTo>
                  <a:close/>
                  <a:moveTo>
                    <a:pt x="1413" y="30"/>
                  </a:moveTo>
                  <a:cubicBezTo>
                    <a:pt x="1413" y="30"/>
                    <a:pt x="1413" y="29"/>
                    <a:pt x="1413" y="29"/>
                  </a:cubicBezTo>
                  <a:cubicBezTo>
                    <a:pt x="1413" y="29"/>
                    <a:pt x="1413" y="30"/>
                    <a:pt x="1413" y="30"/>
                  </a:cubicBezTo>
                  <a:close/>
                  <a:moveTo>
                    <a:pt x="1485" y="29"/>
                  </a:moveTo>
                  <a:cubicBezTo>
                    <a:pt x="1484" y="29"/>
                    <a:pt x="1484" y="29"/>
                    <a:pt x="1484" y="29"/>
                  </a:cubicBezTo>
                  <a:cubicBezTo>
                    <a:pt x="1484" y="29"/>
                    <a:pt x="1484" y="29"/>
                    <a:pt x="1485" y="29"/>
                  </a:cubicBezTo>
                  <a:close/>
                  <a:moveTo>
                    <a:pt x="1681" y="45"/>
                  </a:moveTo>
                  <a:cubicBezTo>
                    <a:pt x="1681" y="46"/>
                    <a:pt x="1681" y="46"/>
                    <a:pt x="1681" y="46"/>
                  </a:cubicBezTo>
                  <a:cubicBezTo>
                    <a:pt x="1681" y="46"/>
                    <a:pt x="1681" y="46"/>
                    <a:pt x="1681" y="45"/>
                  </a:cubicBezTo>
                  <a:close/>
                  <a:moveTo>
                    <a:pt x="1484" y="29"/>
                  </a:moveTo>
                  <a:cubicBezTo>
                    <a:pt x="1483" y="29"/>
                    <a:pt x="1483" y="30"/>
                    <a:pt x="1483" y="30"/>
                  </a:cubicBezTo>
                  <a:cubicBezTo>
                    <a:pt x="1483" y="30"/>
                    <a:pt x="1483" y="30"/>
                    <a:pt x="1484" y="29"/>
                  </a:cubicBezTo>
                  <a:close/>
                  <a:moveTo>
                    <a:pt x="1744" y="50"/>
                  </a:moveTo>
                  <a:cubicBezTo>
                    <a:pt x="1744" y="51"/>
                    <a:pt x="1744" y="51"/>
                    <a:pt x="1744" y="51"/>
                  </a:cubicBezTo>
                  <a:cubicBezTo>
                    <a:pt x="1744" y="51"/>
                    <a:pt x="1744" y="51"/>
                    <a:pt x="1744" y="50"/>
                  </a:cubicBezTo>
                  <a:close/>
                  <a:moveTo>
                    <a:pt x="1747" y="45"/>
                  </a:moveTo>
                  <a:cubicBezTo>
                    <a:pt x="1747" y="46"/>
                    <a:pt x="1747" y="46"/>
                    <a:pt x="1747" y="46"/>
                  </a:cubicBezTo>
                  <a:cubicBezTo>
                    <a:pt x="1747" y="46"/>
                    <a:pt x="1747" y="46"/>
                    <a:pt x="1747" y="45"/>
                  </a:cubicBezTo>
                  <a:close/>
                  <a:moveTo>
                    <a:pt x="970" y="30"/>
                  </a:moveTo>
                  <a:cubicBezTo>
                    <a:pt x="969" y="30"/>
                    <a:pt x="969" y="31"/>
                    <a:pt x="969" y="31"/>
                  </a:cubicBezTo>
                  <a:cubicBezTo>
                    <a:pt x="970" y="31"/>
                    <a:pt x="970" y="30"/>
                    <a:pt x="970" y="30"/>
                  </a:cubicBezTo>
                  <a:close/>
                  <a:moveTo>
                    <a:pt x="1482" y="30"/>
                  </a:moveTo>
                  <a:cubicBezTo>
                    <a:pt x="1481" y="30"/>
                    <a:pt x="1481" y="30"/>
                    <a:pt x="1481" y="30"/>
                  </a:cubicBezTo>
                  <a:cubicBezTo>
                    <a:pt x="1481" y="30"/>
                    <a:pt x="1482" y="30"/>
                    <a:pt x="1482" y="30"/>
                  </a:cubicBezTo>
                  <a:close/>
                  <a:moveTo>
                    <a:pt x="956" y="31"/>
                  </a:moveTo>
                  <a:cubicBezTo>
                    <a:pt x="957" y="31"/>
                    <a:pt x="957" y="31"/>
                    <a:pt x="957" y="31"/>
                  </a:cubicBezTo>
                  <a:cubicBezTo>
                    <a:pt x="956" y="31"/>
                    <a:pt x="956" y="31"/>
                    <a:pt x="956" y="31"/>
                  </a:cubicBezTo>
                  <a:close/>
                  <a:moveTo>
                    <a:pt x="1481" y="31"/>
                  </a:moveTo>
                  <a:cubicBezTo>
                    <a:pt x="1480" y="30"/>
                    <a:pt x="1480" y="31"/>
                    <a:pt x="1480" y="31"/>
                  </a:cubicBezTo>
                  <a:cubicBezTo>
                    <a:pt x="1480" y="31"/>
                    <a:pt x="1481" y="31"/>
                    <a:pt x="1481" y="31"/>
                  </a:cubicBezTo>
                  <a:close/>
                  <a:moveTo>
                    <a:pt x="1112" y="53"/>
                  </a:moveTo>
                  <a:cubicBezTo>
                    <a:pt x="1112" y="53"/>
                    <a:pt x="1112" y="54"/>
                    <a:pt x="1112" y="54"/>
                  </a:cubicBezTo>
                  <a:cubicBezTo>
                    <a:pt x="1112" y="54"/>
                    <a:pt x="1112" y="53"/>
                    <a:pt x="1112" y="53"/>
                  </a:cubicBezTo>
                  <a:close/>
                  <a:moveTo>
                    <a:pt x="956" y="32"/>
                  </a:moveTo>
                  <a:cubicBezTo>
                    <a:pt x="956" y="32"/>
                    <a:pt x="956" y="32"/>
                    <a:pt x="956" y="31"/>
                  </a:cubicBezTo>
                  <a:cubicBezTo>
                    <a:pt x="956" y="31"/>
                    <a:pt x="956" y="32"/>
                    <a:pt x="956" y="32"/>
                  </a:cubicBezTo>
                  <a:close/>
                  <a:moveTo>
                    <a:pt x="969" y="31"/>
                  </a:moveTo>
                  <a:cubicBezTo>
                    <a:pt x="969" y="31"/>
                    <a:pt x="969" y="32"/>
                    <a:pt x="969" y="32"/>
                  </a:cubicBezTo>
                  <a:cubicBezTo>
                    <a:pt x="969" y="32"/>
                    <a:pt x="969" y="31"/>
                    <a:pt x="969" y="31"/>
                  </a:cubicBezTo>
                  <a:close/>
                  <a:moveTo>
                    <a:pt x="597" y="47"/>
                  </a:moveTo>
                  <a:cubicBezTo>
                    <a:pt x="597" y="46"/>
                    <a:pt x="597" y="46"/>
                    <a:pt x="597" y="46"/>
                  </a:cubicBezTo>
                  <a:cubicBezTo>
                    <a:pt x="597" y="46"/>
                    <a:pt x="597" y="46"/>
                    <a:pt x="597" y="47"/>
                  </a:cubicBezTo>
                  <a:close/>
                  <a:moveTo>
                    <a:pt x="608" y="46"/>
                  </a:moveTo>
                  <a:cubicBezTo>
                    <a:pt x="608" y="46"/>
                    <a:pt x="608" y="46"/>
                    <a:pt x="609" y="47"/>
                  </a:cubicBezTo>
                  <a:cubicBezTo>
                    <a:pt x="609" y="46"/>
                    <a:pt x="609" y="46"/>
                    <a:pt x="608" y="46"/>
                  </a:cubicBezTo>
                  <a:close/>
                  <a:moveTo>
                    <a:pt x="968" y="32"/>
                  </a:moveTo>
                  <a:cubicBezTo>
                    <a:pt x="968" y="32"/>
                    <a:pt x="968" y="33"/>
                    <a:pt x="968" y="33"/>
                  </a:cubicBezTo>
                  <a:cubicBezTo>
                    <a:pt x="968" y="33"/>
                    <a:pt x="968" y="33"/>
                    <a:pt x="968" y="32"/>
                  </a:cubicBezTo>
                  <a:close/>
                  <a:moveTo>
                    <a:pt x="955" y="34"/>
                  </a:moveTo>
                  <a:cubicBezTo>
                    <a:pt x="955" y="33"/>
                    <a:pt x="955" y="33"/>
                    <a:pt x="955" y="33"/>
                  </a:cubicBezTo>
                  <a:cubicBezTo>
                    <a:pt x="955" y="33"/>
                    <a:pt x="955" y="33"/>
                    <a:pt x="955" y="34"/>
                  </a:cubicBezTo>
                  <a:close/>
                  <a:moveTo>
                    <a:pt x="968" y="33"/>
                  </a:moveTo>
                  <a:cubicBezTo>
                    <a:pt x="968" y="33"/>
                    <a:pt x="968" y="33"/>
                    <a:pt x="968" y="34"/>
                  </a:cubicBezTo>
                  <a:cubicBezTo>
                    <a:pt x="968" y="33"/>
                    <a:pt x="968" y="33"/>
                    <a:pt x="968" y="33"/>
                  </a:cubicBezTo>
                  <a:close/>
                  <a:moveTo>
                    <a:pt x="855" y="33"/>
                  </a:moveTo>
                  <a:cubicBezTo>
                    <a:pt x="855" y="34"/>
                    <a:pt x="855" y="34"/>
                    <a:pt x="856" y="34"/>
                  </a:cubicBezTo>
                  <a:cubicBezTo>
                    <a:pt x="855" y="33"/>
                    <a:pt x="855" y="33"/>
                    <a:pt x="855" y="33"/>
                  </a:cubicBezTo>
                  <a:close/>
                  <a:moveTo>
                    <a:pt x="769" y="34"/>
                  </a:moveTo>
                  <a:cubicBezTo>
                    <a:pt x="769" y="34"/>
                    <a:pt x="770" y="34"/>
                    <a:pt x="770" y="34"/>
                  </a:cubicBezTo>
                  <a:cubicBezTo>
                    <a:pt x="769" y="34"/>
                    <a:pt x="769" y="34"/>
                    <a:pt x="769" y="34"/>
                  </a:cubicBezTo>
                  <a:close/>
                  <a:moveTo>
                    <a:pt x="787" y="34"/>
                  </a:moveTo>
                  <a:cubicBezTo>
                    <a:pt x="787" y="34"/>
                    <a:pt x="787" y="34"/>
                    <a:pt x="788" y="34"/>
                  </a:cubicBezTo>
                  <a:cubicBezTo>
                    <a:pt x="787" y="34"/>
                    <a:pt x="787" y="34"/>
                    <a:pt x="787" y="34"/>
                  </a:cubicBezTo>
                  <a:close/>
                  <a:moveTo>
                    <a:pt x="856" y="34"/>
                  </a:moveTo>
                  <a:cubicBezTo>
                    <a:pt x="856" y="34"/>
                    <a:pt x="856" y="34"/>
                    <a:pt x="857" y="34"/>
                  </a:cubicBezTo>
                  <a:cubicBezTo>
                    <a:pt x="856" y="34"/>
                    <a:pt x="856" y="34"/>
                    <a:pt x="856" y="34"/>
                  </a:cubicBezTo>
                  <a:close/>
                  <a:moveTo>
                    <a:pt x="882" y="34"/>
                  </a:moveTo>
                  <a:cubicBezTo>
                    <a:pt x="882" y="34"/>
                    <a:pt x="882" y="34"/>
                    <a:pt x="882" y="34"/>
                  </a:cubicBezTo>
                  <a:cubicBezTo>
                    <a:pt x="882" y="34"/>
                    <a:pt x="882" y="34"/>
                    <a:pt x="882" y="34"/>
                  </a:cubicBezTo>
                  <a:close/>
                  <a:moveTo>
                    <a:pt x="955" y="34"/>
                  </a:moveTo>
                  <a:cubicBezTo>
                    <a:pt x="955" y="34"/>
                    <a:pt x="955" y="34"/>
                    <a:pt x="955" y="34"/>
                  </a:cubicBezTo>
                  <a:cubicBezTo>
                    <a:pt x="955" y="34"/>
                    <a:pt x="955" y="34"/>
                    <a:pt x="955" y="34"/>
                  </a:cubicBezTo>
                  <a:close/>
                  <a:moveTo>
                    <a:pt x="968" y="34"/>
                  </a:moveTo>
                  <a:cubicBezTo>
                    <a:pt x="967" y="34"/>
                    <a:pt x="967" y="34"/>
                    <a:pt x="967" y="34"/>
                  </a:cubicBezTo>
                  <a:cubicBezTo>
                    <a:pt x="968" y="34"/>
                    <a:pt x="968" y="34"/>
                    <a:pt x="968" y="34"/>
                  </a:cubicBezTo>
                  <a:close/>
                  <a:moveTo>
                    <a:pt x="1300" y="34"/>
                  </a:moveTo>
                  <a:cubicBezTo>
                    <a:pt x="1300" y="34"/>
                    <a:pt x="1301" y="34"/>
                    <a:pt x="1301" y="34"/>
                  </a:cubicBezTo>
                  <a:cubicBezTo>
                    <a:pt x="1301" y="34"/>
                    <a:pt x="1300" y="34"/>
                    <a:pt x="1300" y="34"/>
                  </a:cubicBezTo>
                  <a:close/>
                  <a:moveTo>
                    <a:pt x="1311" y="34"/>
                  </a:moveTo>
                  <a:cubicBezTo>
                    <a:pt x="1312" y="34"/>
                    <a:pt x="1312" y="34"/>
                    <a:pt x="1312" y="34"/>
                  </a:cubicBezTo>
                  <a:cubicBezTo>
                    <a:pt x="1312" y="34"/>
                    <a:pt x="1312" y="34"/>
                    <a:pt x="1311" y="34"/>
                  </a:cubicBezTo>
                  <a:close/>
                  <a:moveTo>
                    <a:pt x="768" y="34"/>
                  </a:moveTo>
                  <a:cubicBezTo>
                    <a:pt x="768" y="34"/>
                    <a:pt x="768" y="34"/>
                    <a:pt x="769" y="34"/>
                  </a:cubicBezTo>
                  <a:cubicBezTo>
                    <a:pt x="768" y="34"/>
                    <a:pt x="768" y="34"/>
                    <a:pt x="768" y="34"/>
                  </a:cubicBezTo>
                  <a:close/>
                  <a:moveTo>
                    <a:pt x="788" y="34"/>
                  </a:moveTo>
                  <a:cubicBezTo>
                    <a:pt x="788" y="34"/>
                    <a:pt x="788" y="34"/>
                    <a:pt x="789" y="34"/>
                  </a:cubicBezTo>
                  <a:cubicBezTo>
                    <a:pt x="789" y="34"/>
                    <a:pt x="788" y="34"/>
                    <a:pt x="788" y="34"/>
                  </a:cubicBezTo>
                  <a:close/>
                  <a:moveTo>
                    <a:pt x="840" y="34"/>
                  </a:moveTo>
                  <a:cubicBezTo>
                    <a:pt x="840" y="34"/>
                    <a:pt x="840" y="34"/>
                    <a:pt x="840" y="34"/>
                  </a:cubicBezTo>
                  <a:cubicBezTo>
                    <a:pt x="840" y="34"/>
                    <a:pt x="840" y="34"/>
                    <a:pt x="840" y="34"/>
                  </a:cubicBezTo>
                  <a:close/>
                  <a:moveTo>
                    <a:pt x="857" y="34"/>
                  </a:moveTo>
                  <a:cubicBezTo>
                    <a:pt x="857" y="34"/>
                    <a:pt x="857" y="34"/>
                    <a:pt x="858" y="34"/>
                  </a:cubicBezTo>
                  <a:cubicBezTo>
                    <a:pt x="857" y="34"/>
                    <a:pt x="857" y="34"/>
                    <a:pt x="857" y="34"/>
                  </a:cubicBezTo>
                  <a:close/>
                  <a:moveTo>
                    <a:pt x="881" y="34"/>
                  </a:moveTo>
                  <a:cubicBezTo>
                    <a:pt x="881" y="34"/>
                    <a:pt x="881" y="34"/>
                    <a:pt x="881" y="34"/>
                  </a:cubicBezTo>
                  <a:cubicBezTo>
                    <a:pt x="881" y="34"/>
                    <a:pt x="881" y="34"/>
                    <a:pt x="881" y="34"/>
                  </a:cubicBezTo>
                  <a:close/>
                  <a:moveTo>
                    <a:pt x="899" y="34"/>
                  </a:moveTo>
                  <a:cubicBezTo>
                    <a:pt x="900" y="34"/>
                    <a:pt x="900" y="34"/>
                    <a:pt x="900" y="34"/>
                  </a:cubicBezTo>
                  <a:cubicBezTo>
                    <a:pt x="900" y="34"/>
                    <a:pt x="900" y="34"/>
                    <a:pt x="899" y="34"/>
                  </a:cubicBezTo>
                  <a:close/>
                  <a:moveTo>
                    <a:pt x="1123" y="34"/>
                  </a:moveTo>
                  <a:cubicBezTo>
                    <a:pt x="1123" y="34"/>
                    <a:pt x="1123" y="34"/>
                    <a:pt x="1123" y="34"/>
                  </a:cubicBezTo>
                  <a:cubicBezTo>
                    <a:pt x="1123" y="34"/>
                    <a:pt x="1123" y="34"/>
                    <a:pt x="1123" y="34"/>
                  </a:cubicBezTo>
                  <a:close/>
                  <a:moveTo>
                    <a:pt x="1141" y="34"/>
                  </a:moveTo>
                  <a:cubicBezTo>
                    <a:pt x="1141" y="34"/>
                    <a:pt x="1142" y="34"/>
                    <a:pt x="1142" y="34"/>
                  </a:cubicBezTo>
                  <a:cubicBezTo>
                    <a:pt x="1142" y="34"/>
                    <a:pt x="1142" y="34"/>
                    <a:pt x="1141" y="34"/>
                  </a:cubicBezTo>
                  <a:close/>
                  <a:moveTo>
                    <a:pt x="1228" y="34"/>
                  </a:moveTo>
                  <a:cubicBezTo>
                    <a:pt x="1228" y="34"/>
                    <a:pt x="1228" y="34"/>
                    <a:pt x="1229" y="34"/>
                  </a:cubicBezTo>
                  <a:cubicBezTo>
                    <a:pt x="1228" y="34"/>
                    <a:pt x="1228" y="34"/>
                    <a:pt x="1228" y="34"/>
                  </a:cubicBezTo>
                  <a:close/>
                  <a:moveTo>
                    <a:pt x="1299" y="34"/>
                  </a:moveTo>
                  <a:cubicBezTo>
                    <a:pt x="1299" y="34"/>
                    <a:pt x="1300" y="34"/>
                    <a:pt x="1300" y="34"/>
                  </a:cubicBezTo>
                  <a:cubicBezTo>
                    <a:pt x="1300" y="34"/>
                    <a:pt x="1299" y="34"/>
                    <a:pt x="1299" y="34"/>
                  </a:cubicBezTo>
                  <a:close/>
                  <a:moveTo>
                    <a:pt x="671" y="35"/>
                  </a:moveTo>
                  <a:cubicBezTo>
                    <a:pt x="671" y="35"/>
                    <a:pt x="671" y="35"/>
                    <a:pt x="671" y="34"/>
                  </a:cubicBezTo>
                  <a:cubicBezTo>
                    <a:pt x="671" y="34"/>
                    <a:pt x="671" y="34"/>
                    <a:pt x="671" y="35"/>
                  </a:cubicBezTo>
                  <a:close/>
                  <a:moveTo>
                    <a:pt x="693" y="34"/>
                  </a:moveTo>
                  <a:cubicBezTo>
                    <a:pt x="694" y="35"/>
                    <a:pt x="694" y="35"/>
                    <a:pt x="694" y="35"/>
                  </a:cubicBezTo>
                  <a:cubicBezTo>
                    <a:pt x="694" y="34"/>
                    <a:pt x="694" y="34"/>
                    <a:pt x="693" y="34"/>
                  </a:cubicBezTo>
                  <a:close/>
                  <a:moveTo>
                    <a:pt x="767" y="35"/>
                  </a:moveTo>
                  <a:cubicBezTo>
                    <a:pt x="767" y="35"/>
                    <a:pt x="767" y="35"/>
                    <a:pt x="768" y="34"/>
                  </a:cubicBezTo>
                  <a:cubicBezTo>
                    <a:pt x="767" y="34"/>
                    <a:pt x="767" y="34"/>
                    <a:pt x="767" y="35"/>
                  </a:cubicBezTo>
                  <a:close/>
                  <a:moveTo>
                    <a:pt x="789" y="34"/>
                  </a:moveTo>
                  <a:cubicBezTo>
                    <a:pt x="789" y="35"/>
                    <a:pt x="789" y="35"/>
                    <a:pt x="790" y="35"/>
                  </a:cubicBezTo>
                  <a:cubicBezTo>
                    <a:pt x="790" y="34"/>
                    <a:pt x="789" y="34"/>
                    <a:pt x="789" y="34"/>
                  </a:cubicBezTo>
                  <a:close/>
                  <a:moveTo>
                    <a:pt x="839" y="35"/>
                  </a:moveTo>
                  <a:cubicBezTo>
                    <a:pt x="839" y="35"/>
                    <a:pt x="839" y="35"/>
                    <a:pt x="839" y="34"/>
                  </a:cubicBezTo>
                  <a:cubicBezTo>
                    <a:pt x="839" y="34"/>
                    <a:pt x="839" y="34"/>
                    <a:pt x="839" y="35"/>
                  </a:cubicBezTo>
                  <a:close/>
                  <a:moveTo>
                    <a:pt x="858" y="34"/>
                  </a:moveTo>
                  <a:cubicBezTo>
                    <a:pt x="858" y="35"/>
                    <a:pt x="858" y="35"/>
                    <a:pt x="858" y="35"/>
                  </a:cubicBezTo>
                  <a:cubicBezTo>
                    <a:pt x="858" y="34"/>
                    <a:pt x="858" y="34"/>
                    <a:pt x="858" y="34"/>
                  </a:cubicBezTo>
                  <a:close/>
                  <a:moveTo>
                    <a:pt x="880" y="35"/>
                  </a:moveTo>
                  <a:cubicBezTo>
                    <a:pt x="880" y="35"/>
                    <a:pt x="880" y="35"/>
                    <a:pt x="881" y="34"/>
                  </a:cubicBezTo>
                  <a:cubicBezTo>
                    <a:pt x="880" y="34"/>
                    <a:pt x="880" y="34"/>
                    <a:pt x="880" y="35"/>
                  </a:cubicBezTo>
                  <a:close/>
                  <a:moveTo>
                    <a:pt x="900" y="34"/>
                  </a:moveTo>
                  <a:cubicBezTo>
                    <a:pt x="901" y="35"/>
                    <a:pt x="901" y="35"/>
                    <a:pt x="901" y="35"/>
                  </a:cubicBezTo>
                  <a:cubicBezTo>
                    <a:pt x="901" y="34"/>
                    <a:pt x="901" y="34"/>
                    <a:pt x="900" y="34"/>
                  </a:cubicBezTo>
                  <a:close/>
                  <a:moveTo>
                    <a:pt x="954" y="35"/>
                  </a:moveTo>
                  <a:cubicBezTo>
                    <a:pt x="955" y="35"/>
                    <a:pt x="955" y="35"/>
                    <a:pt x="955" y="34"/>
                  </a:cubicBezTo>
                  <a:cubicBezTo>
                    <a:pt x="954" y="35"/>
                    <a:pt x="954" y="35"/>
                    <a:pt x="954" y="35"/>
                  </a:cubicBezTo>
                  <a:close/>
                  <a:moveTo>
                    <a:pt x="967" y="34"/>
                  </a:moveTo>
                  <a:cubicBezTo>
                    <a:pt x="967" y="34"/>
                    <a:pt x="967" y="35"/>
                    <a:pt x="967" y="35"/>
                  </a:cubicBezTo>
                  <a:cubicBezTo>
                    <a:pt x="967" y="35"/>
                    <a:pt x="967" y="35"/>
                    <a:pt x="967" y="34"/>
                  </a:cubicBezTo>
                  <a:close/>
                  <a:moveTo>
                    <a:pt x="1049" y="35"/>
                  </a:moveTo>
                  <a:cubicBezTo>
                    <a:pt x="1049" y="35"/>
                    <a:pt x="1050" y="35"/>
                    <a:pt x="1050" y="34"/>
                  </a:cubicBezTo>
                  <a:cubicBezTo>
                    <a:pt x="1050" y="34"/>
                    <a:pt x="1049" y="34"/>
                    <a:pt x="1049" y="35"/>
                  </a:cubicBezTo>
                  <a:close/>
                  <a:moveTo>
                    <a:pt x="1071" y="34"/>
                  </a:moveTo>
                  <a:cubicBezTo>
                    <a:pt x="1071" y="35"/>
                    <a:pt x="1071" y="35"/>
                    <a:pt x="1072" y="35"/>
                  </a:cubicBezTo>
                  <a:cubicBezTo>
                    <a:pt x="1072" y="34"/>
                    <a:pt x="1071" y="34"/>
                    <a:pt x="1071" y="34"/>
                  </a:cubicBezTo>
                  <a:close/>
                  <a:moveTo>
                    <a:pt x="1122" y="35"/>
                  </a:moveTo>
                  <a:cubicBezTo>
                    <a:pt x="1122" y="35"/>
                    <a:pt x="1122" y="35"/>
                    <a:pt x="1122" y="34"/>
                  </a:cubicBezTo>
                  <a:cubicBezTo>
                    <a:pt x="1122" y="34"/>
                    <a:pt x="1122" y="34"/>
                    <a:pt x="1122" y="35"/>
                  </a:cubicBezTo>
                  <a:close/>
                  <a:moveTo>
                    <a:pt x="1142" y="34"/>
                  </a:moveTo>
                  <a:cubicBezTo>
                    <a:pt x="1142" y="35"/>
                    <a:pt x="1142" y="35"/>
                    <a:pt x="1143" y="35"/>
                  </a:cubicBezTo>
                  <a:cubicBezTo>
                    <a:pt x="1143" y="34"/>
                    <a:pt x="1142" y="34"/>
                    <a:pt x="1142" y="34"/>
                  </a:cubicBezTo>
                  <a:close/>
                  <a:moveTo>
                    <a:pt x="1249" y="34"/>
                  </a:moveTo>
                  <a:cubicBezTo>
                    <a:pt x="1249" y="35"/>
                    <a:pt x="1249" y="35"/>
                    <a:pt x="1250" y="35"/>
                  </a:cubicBezTo>
                  <a:cubicBezTo>
                    <a:pt x="1249" y="34"/>
                    <a:pt x="1249" y="34"/>
                    <a:pt x="1249" y="34"/>
                  </a:cubicBezTo>
                  <a:close/>
                  <a:moveTo>
                    <a:pt x="1298" y="35"/>
                  </a:moveTo>
                  <a:cubicBezTo>
                    <a:pt x="1299" y="35"/>
                    <a:pt x="1299" y="35"/>
                    <a:pt x="1299" y="34"/>
                  </a:cubicBezTo>
                  <a:cubicBezTo>
                    <a:pt x="1299" y="34"/>
                    <a:pt x="1299" y="34"/>
                    <a:pt x="1298" y="35"/>
                  </a:cubicBezTo>
                  <a:close/>
                  <a:moveTo>
                    <a:pt x="644" y="35"/>
                  </a:moveTo>
                  <a:cubicBezTo>
                    <a:pt x="644" y="35"/>
                    <a:pt x="644" y="35"/>
                    <a:pt x="644" y="35"/>
                  </a:cubicBezTo>
                  <a:cubicBezTo>
                    <a:pt x="644" y="35"/>
                    <a:pt x="644" y="35"/>
                    <a:pt x="644" y="35"/>
                  </a:cubicBezTo>
                  <a:close/>
                  <a:moveTo>
                    <a:pt x="656" y="35"/>
                  </a:moveTo>
                  <a:cubicBezTo>
                    <a:pt x="655" y="35"/>
                    <a:pt x="655" y="35"/>
                    <a:pt x="655" y="35"/>
                  </a:cubicBezTo>
                  <a:cubicBezTo>
                    <a:pt x="656" y="35"/>
                    <a:pt x="656" y="35"/>
                    <a:pt x="656" y="35"/>
                  </a:cubicBezTo>
                  <a:close/>
                  <a:moveTo>
                    <a:pt x="670" y="35"/>
                  </a:moveTo>
                  <a:cubicBezTo>
                    <a:pt x="670" y="35"/>
                    <a:pt x="671" y="35"/>
                    <a:pt x="671" y="35"/>
                  </a:cubicBezTo>
                  <a:cubicBezTo>
                    <a:pt x="670" y="35"/>
                    <a:pt x="670" y="35"/>
                    <a:pt x="670" y="35"/>
                  </a:cubicBezTo>
                  <a:close/>
                  <a:moveTo>
                    <a:pt x="694" y="35"/>
                  </a:moveTo>
                  <a:cubicBezTo>
                    <a:pt x="695" y="35"/>
                    <a:pt x="695" y="35"/>
                    <a:pt x="695" y="35"/>
                  </a:cubicBezTo>
                  <a:cubicBezTo>
                    <a:pt x="695" y="35"/>
                    <a:pt x="695" y="35"/>
                    <a:pt x="694" y="35"/>
                  </a:cubicBezTo>
                  <a:close/>
                  <a:moveTo>
                    <a:pt x="766" y="35"/>
                  </a:moveTo>
                  <a:cubicBezTo>
                    <a:pt x="766" y="35"/>
                    <a:pt x="767" y="35"/>
                    <a:pt x="767" y="35"/>
                  </a:cubicBezTo>
                  <a:cubicBezTo>
                    <a:pt x="767" y="35"/>
                    <a:pt x="766" y="35"/>
                    <a:pt x="766" y="35"/>
                  </a:cubicBezTo>
                  <a:close/>
                  <a:moveTo>
                    <a:pt x="790" y="35"/>
                  </a:moveTo>
                  <a:cubicBezTo>
                    <a:pt x="790" y="35"/>
                    <a:pt x="790" y="35"/>
                    <a:pt x="790" y="35"/>
                  </a:cubicBezTo>
                  <a:cubicBezTo>
                    <a:pt x="790" y="35"/>
                    <a:pt x="790" y="35"/>
                    <a:pt x="790" y="35"/>
                  </a:cubicBezTo>
                  <a:close/>
                  <a:moveTo>
                    <a:pt x="838" y="35"/>
                  </a:moveTo>
                  <a:cubicBezTo>
                    <a:pt x="838" y="35"/>
                    <a:pt x="838" y="35"/>
                    <a:pt x="839" y="35"/>
                  </a:cubicBezTo>
                  <a:cubicBezTo>
                    <a:pt x="838" y="35"/>
                    <a:pt x="838" y="35"/>
                    <a:pt x="838" y="35"/>
                  </a:cubicBezTo>
                  <a:close/>
                  <a:moveTo>
                    <a:pt x="858" y="35"/>
                  </a:moveTo>
                  <a:cubicBezTo>
                    <a:pt x="858" y="35"/>
                    <a:pt x="859" y="35"/>
                    <a:pt x="859" y="35"/>
                  </a:cubicBezTo>
                  <a:cubicBezTo>
                    <a:pt x="859" y="35"/>
                    <a:pt x="859" y="35"/>
                    <a:pt x="858" y="35"/>
                  </a:cubicBezTo>
                  <a:close/>
                  <a:moveTo>
                    <a:pt x="879" y="35"/>
                  </a:moveTo>
                  <a:cubicBezTo>
                    <a:pt x="879" y="35"/>
                    <a:pt x="880" y="35"/>
                    <a:pt x="880" y="35"/>
                  </a:cubicBezTo>
                  <a:cubicBezTo>
                    <a:pt x="879" y="35"/>
                    <a:pt x="879" y="35"/>
                    <a:pt x="879" y="35"/>
                  </a:cubicBezTo>
                  <a:close/>
                  <a:moveTo>
                    <a:pt x="901" y="35"/>
                  </a:moveTo>
                  <a:cubicBezTo>
                    <a:pt x="901" y="35"/>
                    <a:pt x="902" y="35"/>
                    <a:pt x="902" y="35"/>
                  </a:cubicBezTo>
                  <a:cubicBezTo>
                    <a:pt x="902" y="35"/>
                    <a:pt x="901" y="35"/>
                    <a:pt x="901" y="35"/>
                  </a:cubicBezTo>
                  <a:close/>
                  <a:moveTo>
                    <a:pt x="1048" y="35"/>
                  </a:moveTo>
                  <a:cubicBezTo>
                    <a:pt x="1048" y="35"/>
                    <a:pt x="1049" y="35"/>
                    <a:pt x="1049" y="35"/>
                  </a:cubicBezTo>
                  <a:cubicBezTo>
                    <a:pt x="1049" y="35"/>
                    <a:pt x="1048" y="35"/>
                    <a:pt x="1048" y="35"/>
                  </a:cubicBezTo>
                  <a:close/>
                  <a:moveTo>
                    <a:pt x="1072" y="35"/>
                  </a:moveTo>
                  <a:cubicBezTo>
                    <a:pt x="1072" y="35"/>
                    <a:pt x="1072" y="35"/>
                    <a:pt x="1073" y="35"/>
                  </a:cubicBezTo>
                  <a:cubicBezTo>
                    <a:pt x="1073" y="35"/>
                    <a:pt x="1072" y="35"/>
                    <a:pt x="1072" y="35"/>
                  </a:cubicBezTo>
                  <a:close/>
                  <a:moveTo>
                    <a:pt x="1121" y="35"/>
                  </a:moveTo>
                  <a:cubicBezTo>
                    <a:pt x="1121" y="35"/>
                    <a:pt x="1121" y="35"/>
                    <a:pt x="1122" y="35"/>
                  </a:cubicBezTo>
                  <a:cubicBezTo>
                    <a:pt x="1121" y="35"/>
                    <a:pt x="1121" y="35"/>
                    <a:pt x="1121" y="35"/>
                  </a:cubicBezTo>
                  <a:close/>
                  <a:moveTo>
                    <a:pt x="1226" y="35"/>
                  </a:moveTo>
                  <a:cubicBezTo>
                    <a:pt x="1226" y="35"/>
                    <a:pt x="1227" y="35"/>
                    <a:pt x="1227" y="35"/>
                  </a:cubicBezTo>
                  <a:cubicBezTo>
                    <a:pt x="1226" y="35"/>
                    <a:pt x="1226" y="35"/>
                    <a:pt x="1226" y="35"/>
                  </a:cubicBezTo>
                  <a:close/>
                  <a:moveTo>
                    <a:pt x="1250" y="35"/>
                  </a:moveTo>
                  <a:cubicBezTo>
                    <a:pt x="1250" y="35"/>
                    <a:pt x="1250" y="35"/>
                    <a:pt x="1250" y="35"/>
                  </a:cubicBezTo>
                  <a:cubicBezTo>
                    <a:pt x="1250" y="35"/>
                    <a:pt x="1250" y="35"/>
                    <a:pt x="1250" y="35"/>
                  </a:cubicBezTo>
                  <a:close/>
                  <a:moveTo>
                    <a:pt x="1298" y="35"/>
                  </a:moveTo>
                  <a:cubicBezTo>
                    <a:pt x="1298" y="35"/>
                    <a:pt x="1298" y="35"/>
                    <a:pt x="1298" y="35"/>
                  </a:cubicBezTo>
                  <a:cubicBezTo>
                    <a:pt x="1298" y="35"/>
                    <a:pt x="1298" y="35"/>
                    <a:pt x="1298" y="35"/>
                  </a:cubicBezTo>
                  <a:close/>
                  <a:moveTo>
                    <a:pt x="605" y="35"/>
                  </a:moveTo>
                  <a:cubicBezTo>
                    <a:pt x="605" y="35"/>
                    <a:pt x="605" y="36"/>
                    <a:pt x="605" y="36"/>
                  </a:cubicBezTo>
                  <a:cubicBezTo>
                    <a:pt x="605" y="35"/>
                    <a:pt x="605" y="35"/>
                    <a:pt x="605" y="35"/>
                  </a:cubicBezTo>
                  <a:close/>
                  <a:moveTo>
                    <a:pt x="695" y="35"/>
                  </a:moveTo>
                  <a:cubicBezTo>
                    <a:pt x="695" y="35"/>
                    <a:pt x="696" y="35"/>
                    <a:pt x="696" y="35"/>
                  </a:cubicBezTo>
                  <a:cubicBezTo>
                    <a:pt x="696" y="35"/>
                    <a:pt x="695" y="35"/>
                    <a:pt x="695" y="35"/>
                  </a:cubicBezTo>
                  <a:close/>
                  <a:moveTo>
                    <a:pt x="790" y="35"/>
                  </a:moveTo>
                  <a:cubicBezTo>
                    <a:pt x="791" y="35"/>
                    <a:pt x="791" y="35"/>
                    <a:pt x="791" y="35"/>
                  </a:cubicBezTo>
                  <a:cubicBezTo>
                    <a:pt x="791" y="35"/>
                    <a:pt x="791" y="35"/>
                    <a:pt x="790" y="35"/>
                  </a:cubicBezTo>
                  <a:close/>
                  <a:moveTo>
                    <a:pt x="837" y="35"/>
                  </a:moveTo>
                  <a:cubicBezTo>
                    <a:pt x="837" y="35"/>
                    <a:pt x="838" y="35"/>
                    <a:pt x="838" y="35"/>
                  </a:cubicBezTo>
                  <a:cubicBezTo>
                    <a:pt x="838" y="35"/>
                    <a:pt x="837" y="35"/>
                    <a:pt x="837" y="35"/>
                  </a:cubicBezTo>
                  <a:close/>
                  <a:moveTo>
                    <a:pt x="753" y="47"/>
                  </a:moveTo>
                  <a:cubicBezTo>
                    <a:pt x="753" y="46"/>
                    <a:pt x="753" y="46"/>
                    <a:pt x="753" y="46"/>
                  </a:cubicBezTo>
                  <a:cubicBezTo>
                    <a:pt x="753" y="46"/>
                    <a:pt x="753" y="46"/>
                    <a:pt x="753" y="47"/>
                  </a:cubicBezTo>
                  <a:close/>
                  <a:moveTo>
                    <a:pt x="638" y="52"/>
                  </a:moveTo>
                  <a:cubicBezTo>
                    <a:pt x="638" y="51"/>
                    <a:pt x="638" y="51"/>
                    <a:pt x="638" y="51"/>
                  </a:cubicBezTo>
                  <a:cubicBezTo>
                    <a:pt x="638" y="51"/>
                    <a:pt x="638" y="51"/>
                    <a:pt x="638" y="52"/>
                  </a:cubicBezTo>
                  <a:close/>
                  <a:moveTo>
                    <a:pt x="967" y="35"/>
                  </a:moveTo>
                  <a:cubicBezTo>
                    <a:pt x="967" y="35"/>
                    <a:pt x="967" y="35"/>
                    <a:pt x="967" y="36"/>
                  </a:cubicBezTo>
                  <a:cubicBezTo>
                    <a:pt x="967" y="36"/>
                    <a:pt x="967" y="35"/>
                    <a:pt x="967" y="35"/>
                  </a:cubicBezTo>
                  <a:close/>
                  <a:moveTo>
                    <a:pt x="1047" y="35"/>
                  </a:moveTo>
                  <a:cubicBezTo>
                    <a:pt x="1048" y="35"/>
                    <a:pt x="1048" y="35"/>
                    <a:pt x="1048" y="35"/>
                  </a:cubicBezTo>
                  <a:cubicBezTo>
                    <a:pt x="1048" y="35"/>
                    <a:pt x="1048" y="35"/>
                    <a:pt x="1047" y="35"/>
                  </a:cubicBezTo>
                  <a:close/>
                  <a:moveTo>
                    <a:pt x="1073" y="35"/>
                  </a:moveTo>
                  <a:cubicBezTo>
                    <a:pt x="1073" y="35"/>
                    <a:pt x="1073" y="35"/>
                    <a:pt x="1073" y="35"/>
                  </a:cubicBezTo>
                  <a:cubicBezTo>
                    <a:pt x="1073" y="35"/>
                    <a:pt x="1073" y="35"/>
                    <a:pt x="1073" y="35"/>
                  </a:cubicBezTo>
                  <a:close/>
                  <a:moveTo>
                    <a:pt x="1120" y="35"/>
                  </a:moveTo>
                  <a:cubicBezTo>
                    <a:pt x="1120" y="35"/>
                    <a:pt x="1121" y="35"/>
                    <a:pt x="1121" y="35"/>
                  </a:cubicBezTo>
                  <a:cubicBezTo>
                    <a:pt x="1121" y="35"/>
                    <a:pt x="1120" y="35"/>
                    <a:pt x="1120" y="35"/>
                  </a:cubicBezTo>
                  <a:close/>
                  <a:moveTo>
                    <a:pt x="1225" y="35"/>
                  </a:moveTo>
                  <a:cubicBezTo>
                    <a:pt x="1226" y="35"/>
                    <a:pt x="1226" y="35"/>
                    <a:pt x="1226" y="35"/>
                  </a:cubicBezTo>
                  <a:cubicBezTo>
                    <a:pt x="1226" y="35"/>
                    <a:pt x="1225" y="35"/>
                    <a:pt x="1225" y="35"/>
                  </a:cubicBezTo>
                  <a:close/>
                  <a:moveTo>
                    <a:pt x="1251" y="35"/>
                  </a:moveTo>
                  <a:cubicBezTo>
                    <a:pt x="1251" y="35"/>
                    <a:pt x="1251" y="35"/>
                    <a:pt x="1251" y="35"/>
                  </a:cubicBezTo>
                  <a:cubicBezTo>
                    <a:pt x="1251" y="35"/>
                    <a:pt x="1251" y="35"/>
                    <a:pt x="1251" y="35"/>
                  </a:cubicBezTo>
                  <a:close/>
                  <a:moveTo>
                    <a:pt x="549" y="35"/>
                  </a:moveTo>
                  <a:cubicBezTo>
                    <a:pt x="549" y="36"/>
                    <a:pt x="549" y="36"/>
                    <a:pt x="550" y="36"/>
                  </a:cubicBezTo>
                  <a:cubicBezTo>
                    <a:pt x="550" y="36"/>
                    <a:pt x="550" y="36"/>
                    <a:pt x="549" y="35"/>
                  </a:cubicBezTo>
                  <a:close/>
                  <a:moveTo>
                    <a:pt x="593" y="36"/>
                  </a:moveTo>
                  <a:cubicBezTo>
                    <a:pt x="593" y="36"/>
                    <a:pt x="593" y="35"/>
                    <a:pt x="592" y="35"/>
                  </a:cubicBezTo>
                  <a:cubicBezTo>
                    <a:pt x="592" y="36"/>
                    <a:pt x="592" y="36"/>
                    <a:pt x="593" y="36"/>
                  </a:cubicBezTo>
                  <a:close/>
                  <a:moveTo>
                    <a:pt x="655" y="35"/>
                  </a:moveTo>
                  <a:cubicBezTo>
                    <a:pt x="655" y="36"/>
                    <a:pt x="655" y="36"/>
                    <a:pt x="655" y="36"/>
                  </a:cubicBezTo>
                  <a:cubicBezTo>
                    <a:pt x="655" y="36"/>
                    <a:pt x="655" y="36"/>
                    <a:pt x="655" y="35"/>
                  </a:cubicBezTo>
                  <a:close/>
                  <a:moveTo>
                    <a:pt x="831" y="51"/>
                  </a:moveTo>
                  <a:cubicBezTo>
                    <a:pt x="831" y="51"/>
                    <a:pt x="830" y="51"/>
                    <a:pt x="830" y="51"/>
                  </a:cubicBezTo>
                  <a:cubicBezTo>
                    <a:pt x="831" y="51"/>
                    <a:pt x="831" y="51"/>
                    <a:pt x="831" y="51"/>
                  </a:cubicBezTo>
                  <a:close/>
                  <a:moveTo>
                    <a:pt x="696" y="35"/>
                  </a:moveTo>
                  <a:cubicBezTo>
                    <a:pt x="696" y="36"/>
                    <a:pt x="696" y="36"/>
                    <a:pt x="696" y="36"/>
                  </a:cubicBezTo>
                  <a:cubicBezTo>
                    <a:pt x="696" y="35"/>
                    <a:pt x="696" y="35"/>
                    <a:pt x="696" y="35"/>
                  </a:cubicBezTo>
                  <a:close/>
                  <a:moveTo>
                    <a:pt x="764" y="36"/>
                  </a:moveTo>
                  <a:cubicBezTo>
                    <a:pt x="765" y="36"/>
                    <a:pt x="765" y="36"/>
                    <a:pt x="765" y="35"/>
                  </a:cubicBezTo>
                  <a:cubicBezTo>
                    <a:pt x="765" y="35"/>
                    <a:pt x="765" y="35"/>
                    <a:pt x="764" y="36"/>
                  </a:cubicBezTo>
                  <a:close/>
                  <a:moveTo>
                    <a:pt x="791" y="35"/>
                  </a:moveTo>
                  <a:cubicBezTo>
                    <a:pt x="791" y="36"/>
                    <a:pt x="792" y="36"/>
                    <a:pt x="792" y="36"/>
                  </a:cubicBezTo>
                  <a:cubicBezTo>
                    <a:pt x="792" y="35"/>
                    <a:pt x="791" y="35"/>
                    <a:pt x="791" y="35"/>
                  </a:cubicBezTo>
                  <a:close/>
                  <a:moveTo>
                    <a:pt x="1084" y="46"/>
                  </a:moveTo>
                  <a:cubicBezTo>
                    <a:pt x="1084" y="46"/>
                    <a:pt x="1084" y="46"/>
                    <a:pt x="1084" y="47"/>
                  </a:cubicBezTo>
                  <a:cubicBezTo>
                    <a:pt x="1084" y="46"/>
                    <a:pt x="1084" y="46"/>
                    <a:pt x="1084" y="46"/>
                  </a:cubicBezTo>
                  <a:close/>
                  <a:moveTo>
                    <a:pt x="859" y="35"/>
                  </a:moveTo>
                  <a:cubicBezTo>
                    <a:pt x="860" y="36"/>
                    <a:pt x="860" y="36"/>
                    <a:pt x="860" y="36"/>
                  </a:cubicBezTo>
                  <a:cubicBezTo>
                    <a:pt x="860" y="35"/>
                    <a:pt x="860" y="35"/>
                    <a:pt x="859" y="35"/>
                  </a:cubicBezTo>
                  <a:close/>
                  <a:moveTo>
                    <a:pt x="1032" y="51"/>
                  </a:moveTo>
                  <a:cubicBezTo>
                    <a:pt x="1033" y="51"/>
                    <a:pt x="1033" y="51"/>
                    <a:pt x="1033" y="51"/>
                  </a:cubicBezTo>
                  <a:cubicBezTo>
                    <a:pt x="1032" y="51"/>
                    <a:pt x="1032" y="51"/>
                    <a:pt x="1032" y="51"/>
                  </a:cubicBezTo>
                  <a:close/>
                  <a:moveTo>
                    <a:pt x="954" y="36"/>
                  </a:moveTo>
                  <a:cubicBezTo>
                    <a:pt x="954" y="36"/>
                    <a:pt x="954" y="36"/>
                    <a:pt x="954" y="35"/>
                  </a:cubicBezTo>
                  <a:cubicBezTo>
                    <a:pt x="954" y="36"/>
                    <a:pt x="954" y="36"/>
                    <a:pt x="954" y="36"/>
                  </a:cubicBezTo>
                  <a:close/>
                  <a:moveTo>
                    <a:pt x="1047" y="36"/>
                  </a:moveTo>
                  <a:cubicBezTo>
                    <a:pt x="1047" y="36"/>
                    <a:pt x="1047" y="36"/>
                    <a:pt x="1047" y="35"/>
                  </a:cubicBezTo>
                  <a:cubicBezTo>
                    <a:pt x="1047" y="35"/>
                    <a:pt x="1047" y="35"/>
                    <a:pt x="1047" y="36"/>
                  </a:cubicBezTo>
                  <a:close/>
                  <a:moveTo>
                    <a:pt x="1073" y="35"/>
                  </a:moveTo>
                  <a:cubicBezTo>
                    <a:pt x="1074" y="36"/>
                    <a:pt x="1074" y="36"/>
                    <a:pt x="1074" y="36"/>
                  </a:cubicBezTo>
                  <a:cubicBezTo>
                    <a:pt x="1074" y="35"/>
                    <a:pt x="1074" y="35"/>
                    <a:pt x="1073" y="35"/>
                  </a:cubicBezTo>
                  <a:close/>
                  <a:moveTo>
                    <a:pt x="1119" y="36"/>
                  </a:moveTo>
                  <a:cubicBezTo>
                    <a:pt x="1120" y="36"/>
                    <a:pt x="1120" y="36"/>
                    <a:pt x="1120" y="35"/>
                  </a:cubicBezTo>
                  <a:cubicBezTo>
                    <a:pt x="1120" y="35"/>
                    <a:pt x="1120" y="35"/>
                    <a:pt x="1119" y="36"/>
                  </a:cubicBezTo>
                  <a:close/>
                  <a:moveTo>
                    <a:pt x="1144" y="35"/>
                  </a:moveTo>
                  <a:cubicBezTo>
                    <a:pt x="1144" y="36"/>
                    <a:pt x="1145" y="36"/>
                    <a:pt x="1145" y="36"/>
                  </a:cubicBezTo>
                  <a:cubicBezTo>
                    <a:pt x="1145" y="35"/>
                    <a:pt x="1144" y="35"/>
                    <a:pt x="1144" y="35"/>
                  </a:cubicBezTo>
                  <a:close/>
                  <a:moveTo>
                    <a:pt x="1225" y="36"/>
                  </a:moveTo>
                  <a:cubicBezTo>
                    <a:pt x="1225" y="36"/>
                    <a:pt x="1225" y="36"/>
                    <a:pt x="1225" y="35"/>
                  </a:cubicBezTo>
                  <a:cubicBezTo>
                    <a:pt x="1225" y="35"/>
                    <a:pt x="1225" y="35"/>
                    <a:pt x="1225" y="36"/>
                  </a:cubicBezTo>
                  <a:close/>
                  <a:moveTo>
                    <a:pt x="1251" y="35"/>
                  </a:moveTo>
                  <a:cubicBezTo>
                    <a:pt x="1251" y="36"/>
                    <a:pt x="1252" y="36"/>
                    <a:pt x="1252" y="36"/>
                  </a:cubicBezTo>
                  <a:cubicBezTo>
                    <a:pt x="1252" y="35"/>
                    <a:pt x="1252" y="35"/>
                    <a:pt x="1251" y="35"/>
                  </a:cubicBezTo>
                  <a:close/>
                  <a:moveTo>
                    <a:pt x="1297" y="36"/>
                  </a:moveTo>
                  <a:cubicBezTo>
                    <a:pt x="1297" y="36"/>
                    <a:pt x="1297" y="36"/>
                    <a:pt x="1297" y="35"/>
                  </a:cubicBezTo>
                  <a:cubicBezTo>
                    <a:pt x="1297" y="35"/>
                    <a:pt x="1297" y="35"/>
                    <a:pt x="1297" y="36"/>
                  </a:cubicBezTo>
                  <a:close/>
                  <a:moveTo>
                    <a:pt x="668" y="36"/>
                  </a:moveTo>
                  <a:cubicBezTo>
                    <a:pt x="668" y="36"/>
                    <a:pt x="668" y="36"/>
                    <a:pt x="669" y="36"/>
                  </a:cubicBezTo>
                  <a:cubicBezTo>
                    <a:pt x="668" y="36"/>
                    <a:pt x="668" y="36"/>
                    <a:pt x="668" y="36"/>
                  </a:cubicBezTo>
                  <a:close/>
                  <a:moveTo>
                    <a:pt x="1296" y="46"/>
                  </a:moveTo>
                  <a:cubicBezTo>
                    <a:pt x="1296" y="46"/>
                    <a:pt x="1296" y="46"/>
                    <a:pt x="1296" y="46"/>
                  </a:cubicBezTo>
                  <a:cubicBezTo>
                    <a:pt x="1296" y="46"/>
                    <a:pt x="1296" y="46"/>
                    <a:pt x="1296" y="46"/>
                  </a:cubicBezTo>
                  <a:close/>
                  <a:moveTo>
                    <a:pt x="792" y="36"/>
                  </a:moveTo>
                  <a:cubicBezTo>
                    <a:pt x="792" y="36"/>
                    <a:pt x="792" y="36"/>
                    <a:pt x="793" y="36"/>
                  </a:cubicBezTo>
                  <a:cubicBezTo>
                    <a:pt x="792" y="36"/>
                    <a:pt x="792" y="36"/>
                    <a:pt x="792" y="36"/>
                  </a:cubicBezTo>
                  <a:close/>
                  <a:moveTo>
                    <a:pt x="836" y="36"/>
                  </a:moveTo>
                  <a:cubicBezTo>
                    <a:pt x="836" y="36"/>
                    <a:pt x="837" y="36"/>
                    <a:pt x="837" y="36"/>
                  </a:cubicBezTo>
                  <a:cubicBezTo>
                    <a:pt x="836" y="36"/>
                    <a:pt x="836" y="36"/>
                    <a:pt x="836" y="36"/>
                  </a:cubicBezTo>
                  <a:close/>
                  <a:moveTo>
                    <a:pt x="860" y="36"/>
                  </a:moveTo>
                  <a:cubicBezTo>
                    <a:pt x="860" y="36"/>
                    <a:pt x="860" y="36"/>
                    <a:pt x="861" y="36"/>
                  </a:cubicBezTo>
                  <a:cubicBezTo>
                    <a:pt x="861" y="36"/>
                    <a:pt x="860" y="36"/>
                    <a:pt x="860" y="36"/>
                  </a:cubicBezTo>
                  <a:close/>
                  <a:moveTo>
                    <a:pt x="877" y="36"/>
                  </a:moveTo>
                  <a:cubicBezTo>
                    <a:pt x="877" y="36"/>
                    <a:pt x="878" y="36"/>
                    <a:pt x="878" y="36"/>
                  </a:cubicBezTo>
                  <a:cubicBezTo>
                    <a:pt x="878" y="36"/>
                    <a:pt x="877" y="36"/>
                    <a:pt x="877" y="36"/>
                  </a:cubicBezTo>
                  <a:close/>
                  <a:moveTo>
                    <a:pt x="903" y="36"/>
                  </a:moveTo>
                  <a:cubicBezTo>
                    <a:pt x="903" y="36"/>
                    <a:pt x="903" y="36"/>
                    <a:pt x="904" y="36"/>
                  </a:cubicBezTo>
                  <a:cubicBezTo>
                    <a:pt x="903" y="36"/>
                    <a:pt x="903" y="36"/>
                    <a:pt x="903" y="36"/>
                  </a:cubicBezTo>
                  <a:close/>
                  <a:moveTo>
                    <a:pt x="967" y="36"/>
                  </a:moveTo>
                  <a:cubicBezTo>
                    <a:pt x="966" y="36"/>
                    <a:pt x="966" y="36"/>
                    <a:pt x="966" y="36"/>
                  </a:cubicBezTo>
                  <a:cubicBezTo>
                    <a:pt x="967" y="36"/>
                    <a:pt x="967" y="36"/>
                    <a:pt x="967" y="36"/>
                  </a:cubicBezTo>
                  <a:close/>
                  <a:moveTo>
                    <a:pt x="1046" y="36"/>
                  </a:moveTo>
                  <a:cubicBezTo>
                    <a:pt x="1046" y="36"/>
                    <a:pt x="1047" y="36"/>
                    <a:pt x="1047" y="36"/>
                  </a:cubicBezTo>
                  <a:cubicBezTo>
                    <a:pt x="1046" y="36"/>
                    <a:pt x="1046" y="36"/>
                    <a:pt x="1046" y="36"/>
                  </a:cubicBezTo>
                  <a:close/>
                  <a:moveTo>
                    <a:pt x="1142" y="51"/>
                  </a:moveTo>
                  <a:cubicBezTo>
                    <a:pt x="1142" y="51"/>
                    <a:pt x="1142" y="51"/>
                    <a:pt x="1142" y="51"/>
                  </a:cubicBezTo>
                  <a:cubicBezTo>
                    <a:pt x="1142" y="51"/>
                    <a:pt x="1142" y="51"/>
                    <a:pt x="1142" y="51"/>
                  </a:cubicBezTo>
                  <a:close/>
                  <a:moveTo>
                    <a:pt x="1119" y="36"/>
                  </a:moveTo>
                  <a:cubicBezTo>
                    <a:pt x="1119" y="36"/>
                    <a:pt x="1119" y="36"/>
                    <a:pt x="1119" y="36"/>
                  </a:cubicBezTo>
                  <a:cubicBezTo>
                    <a:pt x="1119" y="36"/>
                    <a:pt x="1119" y="36"/>
                    <a:pt x="1119" y="36"/>
                  </a:cubicBezTo>
                  <a:close/>
                  <a:moveTo>
                    <a:pt x="1566" y="47"/>
                  </a:moveTo>
                  <a:cubicBezTo>
                    <a:pt x="1567" y="46"/>
                    <a:pt x="1567" y="46"/>
                    <a:pt x="1567" y="46"/>
                  </a:cubicBezTo>
                  <a:cubicBezTo>
                    <a:pt x="1566" y="46"/>
                    <a:pt x="1566" y="46"/>
                    <a:pt x="1566" y="47"/>
                  </a:cubicBezTo>
                  <a:close/>
                  <a:moveTo>
                    <a:pt x="1224" y="36"/>
                  </a:moveTo>
                  <a:cubicBezTo>
                    <a:pt x="1224" y="36"/>
                    <a:pt x="1224" y="36"/>
                    <a:pt x="1225" y="36"/>
                  </a:cubicBezTo>
                  <a:cubicBezTo>
                    <a:pt x="1224" y="36"/>
                    <a:pt x="1224" y="36"/>
                    <a:pt x="1224" y="36"/>
                  </a:cubicBezTo>
                  <a:close/>
                  <a:moveTo>
                    <a:pt x="1735" y="47"/>
                  </a:moveTo>
                  <a:cubicBezTo>
                    <a:pt x="1735" y="46"/>
                    <a:pt x="1735" y="46"/>
                    <a:pt x="1735" y="46"/>
                  </a:cubicBezTo>
                  <a:cubicBezTo>
                    <a:pt x="1735" y="46"/>
                    <a:pt x="1735" y="46"/>
                    <a:pt x="1735" y="47"/>
                  </a:cubicBezTo>
                  <a:close/>
                  <a:moveTo>
                    <a:pt x="593" y="37"/>
                  </a:moveTo>
                  <a:cubicBezTo>
                    <a:pt x="593" y="36"/>
                    <a:pt x="593" y="36"/>
                    <a:pt x="593" y="36"/>
                  </a:cubicBezTo>
                  <a:cubicBezTo>
                    <a:pt x="593" y="36"/>
                    <a:pt x="593" y="37"/>
                    <a:pt x="593" y="37"/>
                  </a:cubicBezTo>
                  <a:close/>
                  <a:moveTo>
                    <a:pt x="667" y="37"/>
                  </a:moveTo>
                  <a:cubicBezTo>
                    <a:pt x="668" y="36"/>
                    <a:pt x="668" y="36"/>
                    <a:pt x="668" y="36"/>
                  </a:cubicBezTo>
                  <a:cubicBezTo>
                    <a:pt x="668" y="36"/>
                    <a:pt x="667" y="36"/>
                    <a:pt x="667" y="37"/>
                  </a:cubicBezTo>
                  <a:close/>
                  <a:moveTo>
                    <a:pt x="560" y="46"/>
                  </a:moveTo>
                  <a:cubicBezTo>
                    <a:pt x="560" y="46"/>
                    <a:pt x="560" y="47"/>
                    <a:pt x="560" y="47"/>
                  </a:cubicBezTo>
                  <a:cubicBezTo>
                    <a:pt x="560" y="46"/>
                    <a:pt x="560" y="46"/>
                    <a:pt x="560" y="46"/>
                  </a:cubicBezTo>
                  <a:close/>
                  <a:moveTo>
                    <a:pt x="793" y="36"/>
                  </a:moveTo>
                  <a:cubicBezTo>
                    <a:pt x="793" y="36"/>
                    <a:pt x="793" y="36"/>
                    <a:pt x="793" y="37"/>
                  </a:cubicBezTo>
                  <a:cubicBezTo>
                    <a:pt x="793" y="36"/>
                    <a:pt x="793" y="36"/>
                    <a:pt x="793" y="36"/>
                  </a:cubicBezTo>
                  <a:close/>
                  <a:moveTo>
                    <a:pt x="1210" y="51"/>
                  </a:moveTo>
                  <a:cubicBezTo>
                    <a:pt x="1211" y="51"/>
                    <a:pt x="1211" y="51"/>
                    <a:pt x="1211" y="51"/>
                  </a:cubicBezTo>
                  <a:cubicBezTo>
                    <a:pt x="1210" y="51"/>
                    <a:pt x="1210" y="51"/>
                    <a:pt x="1210" y="51"/>
                  </a:cubicBezTo>
                  <a:close/>
                  <a:moveTo>
                    <a:pt x="1045" y="36"/>
                  </a:moveTo>
                  <a:cubicBezTo>
                    <a:pt x="1046" y="36"/>
                    <a:pt x="1046" y="36"/>
                    <a:pt x="1046" y="36"/>
                  </a:cubicBezTo>
                  <a:cubicBezTo>
                    <a:pt x="1046" y="36"/>
                    <a:pt x="1045" y="36"/>
                    <a:pt x="1045" y="36"/>
                  </a:cubicBezTo>
                  <a:close/>
                  <a:moveTo>
                    <a:pt x="696" y="47"/>
                  </a:moveTo>
                  <a:cubicBezTo>
                    <a:pt x="696" y="46"/>
                    <a:pt x="696" y="46"/>
                    <a:pt x="695" y="46"/>
                  </a:cubicBezTo>
                  <a:cubicBezTo>
                    <a:pt x="696" y="46"/>
                    <a:pt x="696" y="47"/>
                    <a:pt x="696" y="47"/>
                  </a:cubicBezTo>
                  <a:close/>
                  <a:moveTo>
                    <a:pt x="802" y="46"/>
                  </a:moveTo>
                  <a:cubicBezTo>
                    <a:pt x="802" y="46"/>
                    <a:pt x="802" y="47"/>
                    <a:pt x="802" y="47"/>
                  </a:cubicBezTo>
                  <a:cubicBezTo>
                    <a:pt x="802" y="47"/>
                    <a:pt x="802" y="46"/>
                    <a:pt x="802" y="46"/>
                  </a:cubicBezTo>
                  <a:close/>
                  <a:moveTo>
                    <a:pt x="1145" y="36"/>
                  </a:moveTo>
                  <a:cubicBezTo>
                    <a:pt x="1145" y="36"/>
                    <a:pt x="1146" y="36"/>
                    <a:pt x="1146" y="36"/>
                  </a:cubicBezTo>
                  <a:cubicBezTo>
                    <a:pt x="1146" y="36"/>
                    <a:pt x="1146" y="36"/>
                    <a:pt x="1145" y="36"/>
                  </a:cubicBezTo>
                  <a:close/>
                  <a:moveTo>
                    <a:pt x="1223" y="36"/>
                  </a:moveTo>
                  <a:cubicBezTo>
                    <a:pt x="1223" y="36"/>
                    <a:pt x="1224" y="36"/>
                    <a:pt x="1224" y="36"/>
                  </a:cubicBezTo>
                  <a:cubicBezTo>
                    <a:pt x="1224" y="36"/>
                    <a:pt x="1223" y="36"/>
                    <a:pt x="1223" y="36"/>
                  </a:cubicBezTo>
                  <a:close/>
                  <a:moveTo>
                    <a:pt x="1252" y="36"/>
                  </a:moveTo>
                  <a:cubicBezTo>
                    <a:pt x="1253" y="36"/>
                    <a:pt x="1253" y="36"/>
                    <a:pt x="1253" y="36"/>
                  </a:cubicBezTo>
                  <a:cubicBezTo>
                    <a:pt x="1253" y="36"/>
                    <a:pt x="1253" y="36"/>
                    <a:pt x="1252" y="36"/>
                  </a:cubicBezTo>
                  <a:close/>
                  <a:moveTo>
                    <a:pt x="550" y="36"/>
                  </a:moveTo>
                  <a:cubicBezTo>
                    <a:pt x="550" y="37"/>
                    <a:pt x="550" y="37"/>
                    <a:pt x="550" y="37"/>
                  </a:cubicBezTo>
                  <a:cubicBezTo>
                    <a:pt x="550" y="37"/>
                    <a:pt x="550" y="37"/>
                    <a:pt x="550" y="36"/>
                  </a:cubicBezTo>
                  <a:close/>
                  <a:moveTo>
                    <a:pt x="643" y="37"/>
                  </a:moveTo>
                  <a:cubicBezTo>
                    <a:pt x="644" y="37"/>
                    <a:pt x="644" y="37"/>
                    <a:pt x="644" y="36"/>
                  </a:cubicBezTo>
                  <a:cubicBezTo>
                    <a:pt x="643" y="37"/>
                    <a:pt x="643" y="37"/>
                    <a:pt x="643" y="37"/>
                  </a:cubicBezTo>
                  <a:close/>
                  <a:moveTo>
                    <a:pt x="655" y="36"/>
                  </a:moveTo>
                  <a:cubicBezTo>
                    <a:pt x="655" y="36"/>
                    <a:pt x="655" y="37"/>
                    <a:pt x="655" y="37"/>
                  </a:cubicBezTo>
                  <a:cubicBezTo>
                    <a:pt x="655" y="37"/>
                    <a:pt x="655" y="37"/>
                    <a:pt x="655" y="36"/>
                  </a:cubicBezTo>
                  <a:close/>
                  <a:moveTo>
                    <a:pt x="763" y="37"/>
                  </a:moveTo>
                  <a:cubicBezTo>
                    <a:pt x="763" y="37"/>
                    <a:pt x="763" y="37"/>
                    <a:pt x="763" y="36"/>
                  </a:cubicBezTo>
                  <a:cubicBezTo>
                    <a:pt x="763" y="36"/>
                    <a:pt x="763" y="36"/>
                    <a:pt x="763" y="37"/>
                  </a:cubicBezTo>
                  <a:close/>
                  <a:moveTo>
                    <a:pt x="898" y="47"/>
                  </a:moveTo>
                  <a:cubicBezTo>
                    <a:pt x="898" y="47"/>
                    <a:pt x="898" y="46"/>
                    <a:pt x="898" y="46"/>
                  </a:cubicBezTo>
                  <a:cubicBezTo>
                    <a:pt x="898" y="46"/>
                    <a:pt x="898" y="47"/>
                    <a:pt x="898" y="47"/>
                  </a:cubicBezTo>
                  <a:close/>
                  <a:moveTo>
                    <a:pt x="1035" y="47"/>
                  </a:moveTo>
                  <a:cubicBezTo>
                    <a:pt x="1035" y="47"/>
                    <a:pt x="1035" y="46"/>
                    <a:pt x="1035" y="46"/>
                  </a:cubicBezTo>
                  <a:cubicBezTo>
                    <a:pt x="1035" y="46"/>
                    <a:pt x="1035" y="47"/>
                    <a:pt x="1035" y="47"/>
                  </a:cubicBezTo>
                  <a:close/>
                  <a:moveTo>
                    <a:pt x="1392" y="51"/>
                  </a:moveTo>
                  <a:cubicBezTo>
                    <a:pt x="1391" y="51"/>
                    <a:pt x="1391" y="51"/>
                    <a:pt x="1391" y="51"/>
                  </a:cubicBezTo>
                  <a:cubicBezTo>
                    <a:pt x="1392" y="51"/>
                    <a:pt x="1392" y="51"/>
                    <a:pt x="1392" y="51"/>
                  </a:cubicBezTo>
                  <a:close/>
                  <a:moveTo>
                    <a:pt x="966" y="36"/>
                  </a:moveTo>
                  <a:cubicBezTo>
                    <a:pt x="966" y="37"/>
                    <a:pt x="966" y="37"/>
                    <a:pt x="966" y="37"/>
                  </a:cubicBezTo>
                  <a:cubicBezTo>
                    <a:pt x="966" y="37"/>
                    <a:pt x="966" y="37"/>
                    <a:pt x="966" y="36"/>
                  </a:cubicBezTo>
                  <a:close/>
                  <a:moveTo>
                    <a:pt x="568" y="51"/>
                  </a:moveTo>
                  <a:cubicBezTo>
                    <a:pt x="568" y="51"/>
                    <a:pt x="568" y="51"/>
                    <a:pt x="569" y="51"/>
                  </a:cubicBezTo>
                  <a:cubicBezTo>
                    <a:pt x="569" y="51"/>
                    <a:pt x="568" y="51"/>
                    <a:pt x="568" y="51"/>
                  </a:cubicBezTo>
                  <a:close/>
                  <a:moveTo>
                    <a:pt x="1075" y="36"/>
                  </a:moveTo>
                  <a:cubicBezTo>
                    <a:pt x="1075" y="37"/>
                    <a:pt x="1076" y="37"/>
                    <a:pt x="1076" y="37"/>
                  </a:cubicBezTo>
                  <a:cubicBezTo>
                    <a:pt x="1076" y="36"/>
                    <a:pt x="1076" y="36"/>
                    <a:pt x="1075" y="36"/>
                  </a:cubicBezTo>
                  <a:close/>
                  <a:moveTo>
                    <a:pt x="1118" y="37"/>
                  </a:moveTo>
                  <a:cubicBezTo>
                    <a:pt x="1118" y="37"/>
                    <a:pt x="1118" y="37"/>
                    <a:pt x="1118" y="36"/>
                  </a:cubicBezTo>
                  <a:cubicBezTo>
                    <a:pt x="1118" y="36"/>
                    <a:pt x="1118" y="36"/>
                    <a:pt x="1118" y="37"/>
                  </a:cubicBezTo>
                  <a:close/>
                  <a:moveTo>
                    <a:pt x="1153" y="46"/>
                  </a:moveTo>
                  <a:cubicBezTo>
                    <a:pt x="1153" y="46"/>
                    <a:pt x="1153" y="47"/>
                    <a:pt x="1153" y="47"/>
                  </a:cubicBezTo>
                  <a:cubicBezTo>
                    <a:pt x="1153" y="47"/>
                    <a:pt x="1153" y="46"/>
                    <a:pt x="1153" y="46"/>
                  </a:cubicBezTo>
                  <a:close/>
                  <a:moveTo>
                    <a:pt x="1223" y="37"/>
                  </a:moveTo>
                  <a:cubicBezTo>
                    <a:pt x="1223" y="37"/>
                    <a:pt x="1223" y="37"/>
                    <a:pt x="1223" y="36"/>
                  </a:cubicBezTo>
                  <a:cubicBezTo>
                    <a:pt x="1223" y="36"/>
                    <a:pt x="1223" y="36"/>
                    <a:pt x="1223" y="37"/>
                  </a:cubicBezTo>
                  <a:close/>
                  <a:moveTo>
                    <a:pt x="1253" y="36"/>
                  </a:moveTo>
                  <a:cubicBezTo>
                    <a:pt x="1253" y="37"/>
                    <a:pt x="1253" y="37"/>
                    <a:pt x="1254" y="37"/>
                  </a:cubicBezTo>
                  <a:cubicBezTo>
                    <a:pt x="1254" y="36"/>
                    <a:pt x="1253" y="36"/>
                    <a:pt x="1253" y="36"/>
                  </a:cubicBezTo>
                  <a:close/>
                  <a:moveTo>
                    <a:pt x="1213" y="47"/>
                  </a:moveTo>
                  <a:cubicBezTo>
                    <a:pt x="1213" y="47"/>
                    <a:pt x="1213" y="46"/>
                    <a:pt x="1213" y="46"/>
                  </a:cubicBezTo>
                  <a:cubicBezTo>
                    <a:pt x="1213" y="46"/>
                    <a:pt x="1213" y="47"/>
                    <a:pt x="1213" y="47"/>
                  </a:cubicBezTo>
                  <a:close/>
                  <a:moveTo>
                    <a:pt x="666" y="37"/>
                  </a:moveTo>
                  <a:cubicBezTo>
                    <a:pt x="667" y="37"/>
                    <a:pt x="667" y="37"/>
                    <a:pt x="667" y="37"/>
                  </a:cubicBezTo>
                  <a:cubicBezTo>
                    <a:pt x="667" y="37"/>
                    <a:pt x="666" y="37"/>
                    <a:pt x="666" y="37"/>
                  </a:cubicBezTo>
                  <a:close/>
                  <a:moveTo>
                    <a:pt x="762" y="37"/>
                  </a:moveTo>
                  <a:cubicBezTo>
                    <a:pt x="762" y="37"/>
                    <a:pt x="763" y="37"/>
                    <a:pt x="763" y="37"/>
                  </a:cubicBezTo>
                  <a:cubicBezTo>
                    <a:pt x="762" y="37"/>
                    <a:pt x="762" y="37"/>
                    <a:pt x="762" y="37"/>
                  </a:cubicBezTo>
                  <a:close/>
                  <a:moveTo>
                    <a:pt x="794" y="37"/>
                  </a:moveTo>
                  <a:cubicBezTo>
                    <a:pt x="794" y="37"/>
                    <a:pt x="794" y="37"/>
                    <a:pt x="794" y="37"/>
                  </a:cubicBezTo>
                  <a:cubicBezTo>
                    <a:pt x="794" y="37"/>
                    <a:pt x="794" y="37"/>
                    <a:pt x="794" y="37"/>
                  </a:cubicBezTo>
                  <a:close/>
                  <a:moveTo>
                    <a:pt x="750" y="52"/>
                  </a:moveTo>
                  <a:cubicBezTo>
                    <a:pt x="750" y="52"/>
                    <a:pt x="750" y="51"/>
                    <a:pt x="751" y="51"/>
                  </a:cubicBezTo>
                  <a:cubicBezTo>
                    <a:pt x="750" y="51"/>
                    <a:pt x="750" y="52"/>
                    <a:pt x="750" y="52"/>
                  </a:cubicBezTo>
                  <a:close/>
                  <a:moveTo>
                    <a:pt x="862" y="37"/>
                  </a:moveTo>
                  <a:cubicBezTo>
                    <a:pt x="862" y="37"/>
                    <a:pt x="862" y="37"/>
                    <a:pt x="862" y="37"/>
                  </a:cubicBezTo>
                  <a:cubicBezTo>
                    <a:pt x="862" y="37"/>
                    <a:pt x="862" y="37"/>
                    <a:pt x="862" y="37"/>
                  </a:cubicBezTo>
                  <a:close/>
                  <a:moveTo>
                    <a:pt x="858" y="52"/>
                  </a:moveTo>
                  <a:cubicBezTo>
                    <a:pt x="858" y="51"/>
                    <a:pt x="858" y="51"/>
                    <a:pt x="858" y="51"/>
                  </a:cubicBezTo>
                  <a:cubicBezTo>
                    <a:pt x="858" y="51"/>
                    <a:pt x="858" y="52"/>
                    <a:pt x="858" y="52"/>
                  </a:cubicBezTo>
                  <a:close/>
                  <a:moveTo>
                    <a:pt x="1044" y="37"/>
                  </a:moveTo>
                  <a:cubicBezTo>
                    <a:pt x="1045" y="37"/>
                    <a:pt x="1045" y="37"/>
                    <a:pt x="1045" y="37"/>
                  </a:cubicBezTo>
                  <a:cubicBezTo>
                    <a:pt x="1045" y="37"/>
                    <a:pt x="1044" y="37"/>
                    <a:pt x="1044" y="37"/>
                  </a:cubicBezTo>
                  <a:close/>
                  <a:moveTo>
                    <a:pt x="1382" y="47"/>
                  </a:moveTo>
                  <a:cubicBezTo>
                    <a:pt x="1382" y="47"/>
                    <a:pt x="1382" y="46"/>
                    <a:pt x="1382" y="46"/>
                  </a:cubicBezTo>
                  <a:cubicBezTo>
                    <a:pt x="1382" y="46"/>
                    <a:pt x="1382" y="47"/>
                    <a:pt x="1382" y="47"/>
                  </a:cubicBezTo>
                  <a:close/>
                  <a:moveTo>
                    <a:pt x="1394" y="46"/>
                  </a:moveTo>
                  <a:cubicBezTo>
                    <a:pt x="1394" y="46"/>
                    <a:pt x="1394" y="47"/>
                    <a:pt x="1394" y="47"/>
                  </a:cubicBezTo>
                  <a:cubicBezTo>
                    <a:pt x="1394" y="47"/>
                    <a:pt x="1394" y="46"/>
                    <a:pt x="1394" y="46"/>
                  </a:cubicBezTo>
                  <a:close/>
                  <a:moveTo>
                    <a:pt x="1579" y="46"/>
                  </a:moveTo>
                  <a:cubicBezTo>
                    <a:pt x="1578" y="46"/>
                    <a:pt x="1578" y="47"/>
                    <a:pt x="1578" y="47"/>
                  </a:cubicBezTo>
                  <a:cubicBezTo>
                    <a:pt x="1579" y="47"/>
                    <a:pt x="1579" y="46"/>
                    <a:pt x="1579" y="46"/>
                  </a:cubicBezTo>
                  <a:close/>
                  <a:moveTo>
                    <a:pt x="1681" y="46"/>
                  </a:moveTo>
                  <a:cubicBezTo>
                    <a:pt x="1681" y="46"/>
                    <a:pt x="1681" y="47"/>
                    <a:pt x="1680" y="47"/>
                  </a:cubicBezTo>
                  <a:cubicBezTo>
                    <a:pt x="1681" y="47"/>
                    <a:pt x="1681" y="46"/>
                    <a:pt x="1681" y="46"/>
                  </a:cubicBezTo>
                  <a:close/>
                  <a:moveTo>
                    <a:pt x="1747" y="46"/>
                  </a:moveTo>
                  <a:cubicBezTo>
                    <a:pt x="1746" y="46"/>
                    <a:pt x="1746" y="47"/>
                    <a:pt x="1746" y="47"/>
                  </a:cubicBezTo>
                  <a:cubicBezTo>
                    <a:pt x="1747" y="47"/>
                    <a:pt x="1747" y="46"/>
                    <a:pt x="1747" y="46"/>
                  </a:cubicBezTo>
                  <a:close/>
                  <a:moveTo>
                    <a:pt x="550" y="37"/>
                  </a:moveTo>
                  <a:cubicBezTo>
                    <a:pt x="550" y="37"/>
                    <a:pt x="550" y="38"/>
                    <a:pt x="550" y="38"/>
                  </a:cubicBezTo>
                  <a:cubicBezTo>
                    <a:pt x="550" y="38"/>
                    <a:pt x="550" y="37"/>
                    <a:pt x="550" y="37"/>
                  </a:cubicBezTo>
                  <a:close/>
                  <a:moveTo>
                    <a:pt x="593" y="38"/>
                  </a:moveTo>
                  <a:cubicBezTo>
                    <a:pt x="593" y="37"/>
                    <a:pt x="593" y="37"/>
                    <a:pt x="593" y="37"/>
                  </a:cubicBezTo>
                  <a:cubicBezTo>
                    <a:pt x="593" y="37"/>
                    <a:pt x="593" y="38"/>
                    <a:pt x="593" y="38"/>
                  </a:cubicBezTo>
                  <a:close/>
                  <a:moveTo>
                    <a:pt x="655" y="37"/>
                  </a:moveTo>
                  <a:cubicBezTo>
                    <a:pt x="654" y="37"/>
                    <a:pt x="654" y="38"/>
                    <a:pt x="654" y="38"/>
                  </a:cubicBezTo>
                  <a:cubicBezTo>
                    <a:pt x="655" y="38"/>
                    <a:pt x="655" y="37"/>
                    <a:pt x="655" y="37"/>
                  </a:cubicBezTo>
                  <a:close/>
                  <a:moveTo>
                    <a:pt x="560" y="47"/>
                  </a:moveTo>
                  <a:cubicBezTo>
                    <a:pt x="560" y="47"/>
                    <a:pt x="561" y="47"/>
                    <a:pt x="561" y="47"/>
                  </a:cubicBezTo>
                  <a:cubicBezTo>
                    <a:pt x="561" y="47"/>
                    <a:pt x="561" y="47"/>
                    <a:pt x="560" y="47"/>
                  </a:cubicBezTo>
                  <a:close/>
                  <a:moveTo>
                    <a:pt x="873" y="51"/>
                  </a:moveTo>
                  <a:cubicBezTo>
                    <a:pt x="873" y="51"/>
                    <a:pt x="873" y="51"/>
                    <a:pt x="873" y="52"/>
                  </a:cubicBezTo>
                  <a:cubicBezTo>
                    <a:pt x="873" y="52"/>
                    <a:pt x="873" y="51"/>
                    <a:pt x="873" y="51"/>
                  </a:cubicBezTo>
                  <a:close/>
                  <a:moveTo>
                    <a:pt x="753" y="47"/>
                  </a:moveTo>
                  <a:cubicBezTo>
                    <a:pt x="753" y="47"/>
                    <a:pt x="753" y="47"/>
                    <a:pt x="753" y="47"/>
                  </a:cubicBezTo>
                  <a:cubicBezTo>
                    <a:pt x="753" y="47"/>
                    <a:pt x="753" y="47"/>
                    <a:pt x="753" y="47"/>
                  </a:cubicBezTo>
                  <a:close/>
                  <a:moveTo>
                    <a:pt x="875" y="38"/>
                  </a:moveTo>
                  <a:cubicBezTo>
                    <a:pt x="875" y="38"/>
                    <a:pt x="876" y="37"/>
                    <a:pt x="876" y="37"/>
                  </a:cubicBezTo>
                  <a:cubicBezTo>
                    <a:pt x="875" y="37"/>
                    <a:pt x="875" y="37"/>
                    <a:pt x="875" y="38"/>
                  </a:cubicBezTo>
                  <a:close/>
                  <a:moveTo>
                    <a:pt x="1044" y="38"/>
                  </a:moveTo>
                  <a:cubicBezTo>
                    <a:pt x="1044" y="38"/>
                    <a:pt x="1044" y="37"/>
                    <a:pt x="1044" y="37"/>
                  </a:cubicBezTo>
                  <a:cubicBezTo>
                    <a:pt x="1044" y="37"/>
                    <a:pt x="1044" y="37"/>
                    <a:pt x="1044" y="38"/>
                  </a:cubicBezTo>
                  <a:close/>
                  <a:moveTo>
                    <a:pt x="1084" y="47"/>
                  </a:moveTo>
                  <a:cubicBezTo>
                    <a:pt x="1084" y="47"/>
                    <a:pt x="1084" y="47"/>
                    <a:pt x="1085" y="47"/>
                  </a:cubicBezTo>
                  <a:cubicBezTo>
                    <a:pt x="1085" y="47"/>
                    <a:pt x="1085" y="47"/>
                    <a:pt x="1084" y="47"/>
                  </a:cubicBezTo>
                  <a:close/>
                  <a:moveTo>
                    <a:pt x="1221" y="38"/>
                  </a:moveTo>
                  <a:cubicBezTo>
                    <a:pt x="1222" y="38"/>
                    <a:pt x="1222" y="37"/>
                    <a:pt x="1222" y="37"/>
                  </a:cubicBezTo>
                  <a:cubicBezTo>
                    <a:pt x="1222" y="37"/>
                    <a:pt x="1222" y="37"/>
                    <a:pt x="1221" y="38"/>
                  </a:cubicBezTo>
                  <a:close/>
                  <a:moveTo>
                    <a:pt x="643" y="38"/>
                  </a:moveTo>
                  <a:cubicBezTo>
                    <a:pt x="643" y="38"/>
                    <a:pt x="643" y="38"/>
                    <a:pt x="643" y="37"/>
                  </a:cubicBezTo>
                  <a:cubicBezTo>
                    <a:pt x="643" y="38"/>
                    <a:pt x="643" y="38"/>
                    <a:pt x="643" y="38"/>
                  </a:cubicBezTo>
                  <a:close/>
                  <a:moveTo>
                    <a:pt x="1113" y="51"/>
                  </a:moveTo>
                  <a:cubicBezTo>
                    <a:pt x="1113" y="51"/>
                    <a:pt x="1113" y="51"/>
                    <a:pt x="1113" y="52"/>
                  </a:cubicBezTo>
                  <a:cubicBezTo>
                    <a:pt x="1113" y="52"/>
                    <a:pt x="1113" y="51"/>
                    <a:pt x="1113" y="51"/>
                  </a:cubicBezTo>
                  <a:close/>
                  <a:moveTo>
                    <a:pt x="1292" y="51"/>
                  </a:moveTo>
                  <a:cubicBezTo>
                    <a:pt x="1291" y="51"/>
                    <a:pt x="1291" y="51"/>
                    <a:pt x="1291" y="52"/>
                  </a:cubicBezTo>
                  <a:cubicBezTo>
                    <a:pt x="1292" y="52"/>
                    <a:pt x="1292" y="51"/>
                    <a:pt x="1292" y="51"/>
                  </a:cubicBezTo>
                  <a:close/>
                  <a:moveTo>
                    <a:pt x="966" y="37"/>
                  </a:moveTo>
                  <a:cubicBezTo>
                    <a:pt x="966" y="38"/>
                    <a:pt x="966" y="38"/>
                    <a:pt x="966" y="38"/>
                  </a:cubicBezTo>
                  <a:cubicBezTo>
                    <a:pt x="966" y="38"/>
                    <a:pt x="966" y="38"/>
                    <a:pt x="966" y="37"/>
                  </a:cubicBezTo>
                  <a:close/>
                  <a:moveTo>
                    <a:pt x="597" y="48"/>
                  </a:moveTo>
                  <a:cubicBezTo>
                    <a:pt x="597" y="47"/>
                    <a:pt x="597" y="47"/>
                    <a:pt x="597" y="47"/>
                  </a:cubicBezTo>
                  <a:cubicBezTo>
                    <a:pt x="597" y="47"/>
                    <a:pt x="597" y="47"/>
                    <a:pt x="597" y="48"/>
                  </a:cubicBezTo>
                  <a:close/>
                  <a:moveTo>
                    <a:pt x="609" y="47"/>
                  </a:moveTo>
                  <a:cubicBezTo>
                    <a:pt x="609" y="47"/>
                    <a:pt x="609" y="47"/>
                    <a:pt x="609" y="48"/>
                  </a:cubicBezTo>
                  <a:cubicBezTo>
                    <a:pt x="609" y="47"/>
                    <a:pt x="609" y="47"/>
                    <a:pt x="609" y="47"/>
                  </a:cubicBezTo>
                  <a:close/>
                  <a:moveTo>
                    <a:pt x="639" y="48"/>
                  </a:moveTo>
                  <a:cubicBezTo>
                    <a:pt x="640" y="47"/>
                    <a:pt x="640" y="47"/>
                    <a:pt x="640" y="47"/>
                  </a:cubicBezTo>
                  <a:cubicBezTo>
                    <a:pt x="639" y="47"/>
                    <a:pt x="639" y="47"/>
                    <a:pt x="639" y="48"/>
                  </a:cubicBezTo>
                  <a:close/>
                  <a:moveTo>
                    <a:pt x="1255" y="37"/>
                  </a:moveTo>
                  <a:cubicBezTo>
                    <a:pt x="1255" y="38"/>
                    <a:pt x="1255" y="38"/>
                    <a:pt x="1255" y="38"/>
                  </a:cubicBezTo>
                  <a:cubicBezTo>
                    <a:pt x="1255" y="38"/>
                    <a:pt x="1255" y="37"/>
                    <a:pt x="1255" y="37"/>
                  </a:cubicBezTo>
                  <a:close/>
                  <a:moveTo>
                    <a:pt x="651" y="47"/>
                  </a:moveTo>
                  <a:cubicBezTo>
                    <a:pt x="651" y="47"/>
                    <a:pt x="651" y="47"/>
                    <a:pt x="651" y="48"/>
                  </a:cubicBezTo>
                  <a:cubicBezTo>
                    <a:pt x="651" y="47"/>
                    <a:pt x="651" y="47"/>
                    <a:pt x="651" y="47"/>
                  </a:cubicBezTo>
                  <a:close/>
                  <a:moveTo>
                    <a:pt x="594" y="39"/>
                  </a:moveTo>
                  <a:cubicBezTo>
                    <a:pt x="594" y="38"/>
                    <a:pt x="594" y="38"/>
                    <a:pt x="593" y="38"/>
                  </a:cubicBezTo>
                  <a:cubicBezTo>
                    <a:pt x="593" y="38"/>
                    <a:pt x="594" y="38"/>
                    <a:pt x="594" y="39"/>
                  </a:cubicBezTo>
                  <a:close/>
                  <a:moveTo>
                    <a:pt x="795" y="38"/>
                  </a:moveTo>
                  <a:cubicBezTo>
                    <a:pt x="795" y="38"/>
                    <a:pt x="795" y="38"/>
                    <a:pt x="796" y="38"/>
                  </a:cubicBezTo>
                  <a:cubicBezTo>
                    <a:pt x="796" y="38"/>
                    <a:pt x="795" y="38"/>
                    <a:pt x="795" y="38"/>
                  </a:cubicBezTo>
                  <a:close/>
                  <a:moveTo>
                    <a:pt x="671" y="47"/>
                  </a:moveTo>
                  <a:cubicBezTo>
                    <a:pt x="671" y="47"/>
                    <a:pt x="670" y="47"/>
                    <a:pt x="670" y="48"/>
                  </a:cubicBezTo>
                  <a:cubicBezTo>
                    <a:pt x="671" y="47"/>
                    <a:pt x="671" y="47"/>
                    <a:pt x="671" y="47"/>
                  </a:cubicBezTo>
                  <a:close/>
                  <a:moveTo>
                    <a:pt x="802" y="47"/>
                  </a:moveTo>
                  <a:cubicBezTo>
                    <a:pt x="802" y="47"/>
                    <a:pt x="802" y="47"/>
                    <a:pt x="803" y="48"/>
                  </a:cubicBezTo>
                  <a:cubicBezTo>
                    <a:pt x="803" y="47"/>
                    <a:pt x="803" y="47"/>
                    <a:pt x="802" y="47"/>
                  </a:cubicBezTo>
                  <a:close/>
                  <a:moveTo>
                    <a:pt x="1111" y="55"/>
                  </a:moveTo>
                  <a:cubicBezTo>
                    <a:pt x="1111" y="55"/>
                    <a:pt x="1111" y="56"/>
                    <a:pt x="1111" y="56"/>
                  </a:cubicBezTo>
                  <a:cubicBezTo>
                    <a:pt x="1111" y="56"/>
                    <a:pt x="1111" y="55"/>
                    <a:pt x="1111" y="55"/>
                  </a:cubicBezTo>
                  <a:close/>
                  <a:moveTo>
                    <a:pt x="1673" y="54"/>
                  </a:moveTo>
                  <a:cubicBezTo>
                    <a:pt x="1673" y="54"/>
                    <a:pt x="1673" y="55"/>
                    <a:pt x="1673" y="55"/>
                  </a:cubicBezTo>
                  <a:cubicBezTo>
                    <a:pt x="1673" y="55"/>
                    <a:pt x="1673" y="55"/>
                    <a:pt x="1673" y="54"/>
                  </a:cubicBezTo>
                  <a:close/>
                  <a:moveTo>
                    <a:pt x="1140" y="47"/>
                  </a:moveTo>
                  <a:cubicBezTo>
                    <a:pt x="1140" y="47"/>
                    <a:pt x="1140" y="47"/>
                    <a:pt x="1140" y="47"/>
                  </a:cubicBezTo>
                  <a:cubicBezTo>
                    <a:pt x="1140" y="47"/>
                    <a:pt x="1140" y="47"/>
                    <a:pt x="1140" y="47"/>
                  </a:cubicBezTo>
                  <a:close/>
                  <a:moveTo>
                    <a:pt x="551" y="38"/>
                  </a:moveTo>
                  <a:cubicBezTo>
                    <a:pt x="551" y="39"/>
                    <a:pt x="551" y="39"/>
                    <a:pt x="551" y="39"/>
                  </a:cubicBezTo>
                  <a:cubicBezTo>
                    <a:pt x="551" y="39"/>
                    <a:pt x="551" y="38"/>
                    <a:pt x="551" y="38"/>
                  </a:cubicBezTo>
                  <a:close/>
                  <a:moveTo>
                    <a:pt x="654" y="38"/>
                  </a:moveTo>
                  <a:cubicBezTo>
                    <a:pt x="654" y="38"/>
                    <a:pt x="654" y="39"/>
                    <a:pt x="654" y="39"/>
                  </a:cubicBezTo>
                  <a:cubicBezTo>
                    <a:pt x="654" y="39"/>
                    <a:pt x="654" y="38"/>
                    <a:pt x="654" y="38"/>
                  </a:cubicBezTo>
                  <a:close/>
                  <a:moveTo>
                    <a:pt x="569" y="51"/>
                  </a:moveTo>
                  <a:cubicBezTo>
                    <a:pt x="569" y="52"/>
                    <a:pt x="569" y="52"/>
                    <a:pt x="569" y="52"/>
                  </a:cubicBezTo>
                  <a:cubicBezTo>
                    <a:pt x="569" y="51"/>
                    <a:pt x="569" y="51"/>
                    <a:pt x="569" y="51"/>
                  </a:cubicBezTo>
                  <a:close/>
                  <a:moveTo>
                    <a:pt x="599" y="52"/>
                  </a:moveTo>
                  <a:cubicBezTo>
                    <a:pt x="599" y="52"/>
                    <a:pt x="599" y="51"/>
                    <a:pt x="599" y="51"/>
                  </a:cubicBezTo>
                  <a:cubicBezTo>
                    <a:pt x="599" y="52"/>
                    <a:pt x="599" y="52"/>
                    <a:pt x="599" y="52"/>
                  </a:cubicBezTo>
                  <a:close/>
                  <a:moveTo>
                    <a:pt x="649" y="51"/>
                  </a:moveTo>
                  <a:cubicBezTo>
                    <a:pt x="649" y="51"/>
                    <a:pt x="649" y="52"/>
                    <a:pt x="649" y="52"/>
                  </a:cubicBezTo>
                  <a:cubicBezTo>
                    <a:pt x="649" y="52"/>
                    <a:pt x="649" y="52"/>
                    <a:pt x="649" y="51"/>
                  </a:cubicBezTo>
                  <a:close/>
                  <a:moveTo>
                    <a:pt x="1394" y="47"/>
                  </a:moveTo>
                  <a:cubicBezTo>
                    <a:pt x="1394" y="47"/>
                    <a:pt x="1394" y="47"/>
                    <a:pt x="1394" y="48"/>
                  </a:cubicBezTo>
                  <a:cubicBezTo>
                    <a:pt x="1394" y="47"/>
                    <a:pt x="1394" y="47"/>
                    <a:pt x="1394" y="47"/>
                  </a:cubicBezTo>
                  <a:close/>
                  <a:moveTo>
                    <a:pt x="1566" y="48"/>
                  </a:moveTo>
                  <a:cubicBezTo>
                    <a:pt x="1566" y="47"/>
                    <a:pt x="1566" y="47"/>
                    <a:pt x="1566" y="47"/>
                  </a:cubicBezTo>
                  <a:cubicBezTo>
                    <a:pt x="1566" y="47"/>
                    <a:pt x="1566" y="47"/>
                    <a:pt x="1566" y="48"/>
                  </a:cubicBezTo>
                  <a:close/>
                  <a:moveTo>
                    <a:pt x="966" y="38"/>
                  </a:moveTo>
                  <a:cubicBezTo>
                    <a:pt x="965" y="38"/>
                    <a:pt x="965" y="39"/>
                    <a:pt x="965" y="39"/>
                  </a:cubicBezTo>
                  <a:cubicBezTo>
                    <a:pt x="966" y="39"/>
                    <a:pt x="966" y="38"/>
                    <a:pt x="966" y="38"/>
                  </a:cubicBezTo>
                  <a:close/>
                  <a:moveTo>
                    <a:pt x="1042" y="39"/>
                  </a:moveTo>
                  <a:cubicBezTo>
                    <a:pt x="1042" y="39"/>
                    <a:pt x="1043" y="38"/>
                    <a:pt x="1043" y="38"/>
                  </a:cubicBezTo>
                  <a:cubicBezTo>
                    <a:pt x="1043" y="38"/>
                    <a:pt x="1042" y="38"/>
                    <a:pt x="1042" y="39"/>
                  </a:cubicBezTo>
                  <a:close/>
                  <a:moveTo>
                    <a:pt x="1578" y="47"/>
                  </a:moveTo>
                  <a:cubicBezTo>
                    <a:pt x="1578" y="47"/>
                    <a:pt x="1578" y="47"/>
                    <a:pt x="1578" y="48"/>
                  </a:cubicBezTo>
                  <a:cubicBezTo>
                    <a:pt x="1578" y="47"/>
                    <a:pt x="1578" y="47"/>
                    <a:pt x="1578" y="47"/>
                  </a:cubicBezTo>
                  <a:close/>
                  <a:moveTo>
                    <a:pt x="830" y="51"/>
                  </a:moveTo>
                  <a:cubicBezTo>
                    <a:pt x="830" y="51"/>
                    <a:pt x="830" y="52"/>
                    <a:pt x="830" y="52"/>
                  </a:cubicBezTo>
                  <a:cubicBezTo>
                    <a:pt x="830" y="52"/>
                    <a:pt x="831" y="52"/>
                    <a:pt x="830" y="51"/>
                  </a:cubicBezTo>
                  <a:close/>
                  <a:moveTo>
                    <a:pt x="1734" y="48"/>
                  </a:moveTo>
                  <a:cubicBezTo>
                    <a:pt x="1734" y="47"/>
                    <a:pt x="1734" y="47"/>
                    <a:pt x="1734" y="47"/>
                  </a:cubicBezTo>
                  <a:cubicBezTo>
                    <a:pt x="1734" y="47"/>
                    <a:pt x="1734" y="47"/>
                    <a:pt x="1734" y="48"/>
                  </a:cubicBezTo>
                  <a:close/>
                  <a:moveTo>
                    <a:pt x="1746" y="47"/>
                  </a:moveTo>
                  <a:cubicBezTo>
                    <a:pt x="1746" y="47"/>
                    <a:pt x="1746" y="47"/>
                    <a:pt x="1746" y="48"/>
                  </a:cubicBezTo>
                  <a:cubicBezTo>
                    <a:pt x="1746" y="47"/>
                    <a:pt x="1746" y="47"/>
                    <a:pt x="1746" y="47"/>
                  </a:cubicBezTo>
                  <a:close/>
                  <a:moveTo>
                    <a:pt x="643" y="39"/>
                  </a:moveTo>
                  <a:cubicBezTo>
                    <a:pt x="643" y="39"/>
                    <a:pt x="643" y="39"/>
                    <a:pt x="643" y="39"/>
                  </a:cubicBezTo>
                  <a:cubicBezTo>
                    <a:pt x="643" y="39"/>
                    <a:pt x="643" y="39"/>
                    <a:pt x="643" y="39"/>
                  </a:cubicBezTo>
                  <a:close/>
                  <a:moveTo>
                    <a:pt x="561" y="47"/>
                  </a:moveTo>
                  <a:cubicBezTo>
                    <a:pt x="562" y="47"/>
                    <a:pt x="562" y="48"/>
                    <a:pt x="562" y="48"/>
                  </a:cubicBezTo>
                  <a:cubicBezTo>
                    <a:pt x="562" y="47"/>
                    <a:pt x="562" y="47"/>
                    <a:pt x="561" y="47"/>
                  </a:cubicBezTo>
                  <a:close/>
                  <a:moveTo>
                    <a:pt x="1680" y="48"/>
                  </a:moveTo>
                  <a:cubicBezTo>
                    <a:pt x="1679" y="48"/>
                    <a:pt x="1679" y="49"/>
                    <a:pt x="1679" y="49"/>
                  </a:cubicBezTo>
                  <a:cubicBezTo>
                    <a:pt x="1679" y="49"/>
                    <a:pt x="1679" y="49"/>
                    <a:pt x="1680" y="48"/>
                  </a:cubicBezTo>
                  <a:close/>
                  <a:moveTo>
                    <a:pt x="872" y="54"/>
                  </a:moveTo>
                  <a:cubicBezTo>
                    <a:pt x="872" y="54"/>
                    <a:pt x="872" y="55"/>
                    <a:pt x="872" y="55"/>
                  </a:cubicBezTo>
                  <a:cubicBezTo>
                    <a:pt x="872" y="55"/>
                    <a:pt x="872" y="54"/>
                    <a:pt x="872" y="54"/>
                  </a:cubicBezTo>
                  <a:close/>
                  <a:moveTo>
                    <a:pt x="1211" y="49"/>
                  </a:moveTo>
                  <a:cubicBezTo>
                    <a:pt x="1212" y="49"/>
                    <a:pt x="1212" y="49"/>
                    <a:pt x="1212" y="49"/>
                  </a:cubicBezTo>
                  <a:cubicBezTo>
                    <a:pt x="1211" y="49"/>
                    <a:pt x="1211" y="49"/>
                    <a:pt x="1211" y="49"/>
                  </a:cubicBezTo>
                  <a:close/>
                  <a:moveTo>
                    <a:pt x="681" y="63"/>
                  </a:moveTo>
                  <a:cubicBezTo>
                    <a:pt x="682" y="64"/>
                    <a:pt x="682" y="64"/>
                    <a:pt x="682" y="64"/>
                  </a:cubicBezTo>
                  <a:cubicBezTo>
                    <a:pt x="682" y="63"/>
                    <a:pt x="682" y="63"/>
                    <a:pt x="681" y="63"/>
                  </a:cubicBezTo>
                  <a:close/>
                  <a:moveTo>
                    <a:pt x="1379" y="63"/>
                  </a:moveTo>
                  <a:cubicBezTo>
                    <a:pt x="1379" y="63"/>
                    <a:pt x="1379" y="63"/>
                    <a:pt x="1378" y="64"/>
                  </a:cubicBezTo>
                  <a:cubicBezTo>
                    <a:pt x="1379" y="64"/>
                    <a:pt x="1379" y="63"/>
                    <a:pt x="1379" y="63"/>
                  </a:cubicBezTo>
                  <a:close/>
                  <a:moveTo>
                    <a:pt x="610" y="49"/>
                  </a:moveTo>
                  <a:cubicBezTo>
                    <a:pt x="609" y="49"/>
                    <a:pt x="610" y="50"/>
                    <a:pt x="610" y="50"/>
                  </a:cubicBezTo>
                  <a:cubicBezTo>
                    <a:pt x="610" y="49"/>
                    <a:pt x="610" y="49"/>
                    <a:pt x="610" y="49"/>
                  </a:cubicBezTo>
                  <a:close/>
                  <a:moveTo>
                    <a:pt x="644" y="64"/>
                  </a:moveTo>
                  <a:cubicBezTo>
                    <a:pt x="644" y="64"/>
                    <a:pt x="644" y="64"/>
                    <a:pt x="644" y="64"/>
                  </a:cubicBezTo>
                  <a:cubicBezTo>
                    <a:pt x="644" y="64"/>
                    <a:pt x="644" y="64"/>
                    <a:pt x="644" y="64"/>
                  </a:cubicBezTo>
                  <a:close/>
                  <a:moveTo>
                    <a:pt x="682" y="64"/>
                  </a:moveTo>
                  <a:cubicBezTo>
                    <a:pt x="682" y="64"/>
                    <a:pt x="683" y="64"/>
                    <a:pt x="683" y="64"/>
                  </a:cubicBezTo>
                  <a:cubicBezTo>
                    <a:pt x="683" y="64"/>
                    <a:pt x="683" y="64"/>
                    <a:pt x="682" y="64"/>
                  </a:cubicBezTo>
                  <a:close/>
                  <a:moveTo>
                    <a:pt x="1563" y="63"/>
                  </a:moveTo>
                  <a:cubicBezTo>
                    <a:pt x="1563" y="64"/>
                    <a:pt x="1562" y="64"/>
                    <a:pt x="1562" y="64"/>
                  </a:cubicBezTo>
                  <a:cubicBezTo>
                    <a:pt x="1563" y="64"/>
                    <a:pt x="1563" y="64"/>
                    <a:pt x="1563" y="63"/>
                  </a:cubicBezTo>
                  <a:close/>
                  <a:moveTo>
                    <a:pt x="1655" y="64"/>
                  </a:moveTo>
                  <a:cubicBezTo>
                    <a:pt x="1655" y="64"/>
                    <a:pt x="1655" y="64"/>
                    <a:pt x="1655" y="64"/>
                  </a:cubicBezTo>
                  <a:cubicBezTo>
                    <a:pt x="1655" y="64"/>
                    <a:pt x="1655" y="64"/>
                    <a:pt x="1655" y="64"/>
                  </a:cubicBezTo>
                  <a:close/>
                  <a:moveTo>
                    <a:pt x="1731" y="63"/>
                  </a:moveTo>
                  <a:cubicBezTo>
                    <a:pt x="1731" y="64"/>
                    <a:pt x="1730" y="64"/>
                    <a:pt x="1730" y="64"/>
                  </a:cubicBezTo>
                  <a:cubicBezTo>
                    <a:pt x="1731" y="64"/>
                    <a:pt x="1731" y="64"/>
                    <a:pt x="1731" y="63"/>
                  </a:cubicBezTo>
                  <a:close/>
                  <a:moveTo>
                    <a:pt x="1669" y="57"/>
                  </a:moveTo>
                  <a:cubicBezTo>
                    <a:pt x="1669" y="57"/>
                    <a:pt x="1669" y="57"/>
                    <a:pt x="1669" y="57"/>
                  </a:cubicBezTo>
                  <a:cubicBezTo>
                    <a:pt x="1669" y="57"/>
                    <a:pt x="1669" y="57"/>
                    <a:pt x="1669" y="57"/>
                  </a:cubicBezTo>
                  <a:close/>
                  <a:moveTo>
                    <a:pt x="615" y="64"/>
                  </a:moveTo>
                  <a:cubicBezTo>
                    <a:pt x="615" y="64"/>
                    <a:pt x="615" y="64"/>
                    <a:pt x="615" y="65"/>
                  </a:cubicBezTo>
                  <a:cubicBezTo>
                    <a:pt x="615" y="64"/>
                    <a:pt x="615" y="64"/>
                    <a:pt x="615" y="64"/>
                  </a:cubicBezTo>
                  <a:close/>
                  <a:moveTo>
                    <a:pt x="633" y="65"/>
                  </a:moveTo>
                  <a:cubicBezTo>
                    <a:pt x="633" y="65"/>
                    <a:pt x="634" y="64"/>
                    <a:pt x="634" y="64"/>
                  </a:cubicBezTo>
                  <a:cubicBezTo>
                    <a:pt x="633" y="64"/>
                    <a:pt x="633" y="64"/>
                    <a:pt x="633" y="65"/>
                  </a:cubicBezTo>
                  <a:close/>
                  <a:moveTo>
                    <a:pt x="683" y="64"/>
                  </a:moveTo>
                  <a:cubicBezTo>
                    <a:pt x="683" y="64"/>
                    <a:pt x="684" y="64"/>
                    <a:pt x="684" y="64"/>
                  </a:cubicBezTo>
                  <a:cubicBezTo>
                    <a:pt x="684" y="64"/>
                    <a:pt x="683" y="64"/>
                    <a:pt x="683" y="64"/>
                  </a:cubicBezTo>
                  <a:close/>
                  <a:moveTo>
                    <a:pt x="1670" y="64"/>
                  </a:moveTo>
                  <a:cubicBezTo>
                    <a:pt x="1670" y="64"/>
                    <a:pt x="1670" y="65"/>
                    <a:pt x="1670" y="65"/>
                  </a:cubicBezTo>
                  <a:cubicBezTo>
                    <a:pt x="1670" y="64"/>
                    <a:pt x="1670" y="64"/>
                    <a:pt x="1670" y="64"/>
                  </a:cubicBezTo>
                  <a:close/>
                  <a:moveTo>
                    <a:pt x="684" y="64"/>
                  </a:moveTo>
                  <a:cubicBezTo>
                    <a:pt x="684" y="65"/>
                    <a:pt x="684" y="65"/>
                    <a:pt x="685" y="65"/>
                  </a:cubicBezTo>
                  <a:cubicBezTo>
                    <a:pt x="685" y="64"/>
                    <a:pt x="684" y="64"/>
                    <a:pt x="684" y="64"/>
                  </a:cubicBezTo>
                  <a:close/>
                  <a:moveTo>
                    <a:pt x="612" y="57"/>
                  </a:moveTo>
                  <a:cubicBezTo>
                    <a:pt x="612" y="57"/>
                    <a:pt x="612" y="58"/>
                    <a:pt x="613" y="58"/>
                  </a:cubicBezTo>
                  <a:cubicBezTo>
                    <a:pt x="613" y="57"/>
                    <a:pt x="613" y="57"/>
                    <a:pt x="612" y="57"/>
                  </a:cubicBezTo>
                  <a:close/>
                  <a:moveTo>
                    <a:pt x="1362" y="65"/>
                  </a:moveTo>
                  <a:cubicBezTo>
                    <a:pt x="1362" y="65"/>
                    <a:pt x="1362" y="65"/>
                    <a:pt x="1362" y="64"/>
                  </a:cubicBezTo>
                  <a:cubicBezTo>
                    <a:pt x="1362" y="64"/>
                    <a:pt x="1362" y="64"/>
                    <a:pt x="1362" y="65"/>
                  </a:cubicBezTo>
                  <a:close/>
                  <a:moveTo>
                    <a:pt x="1378" y="64"/>
                  </a:moveTo>
                  <a:cubicBezTo>
                    <a:pt x="1377" y="64"/>
                    <a:pt x="1377" y="64"/>
                    <a:pt x="1377" y="65"/>
                  </a:cubicBezTo>
                  <a:cubicBezTo>
                    <a:pt x="1377" y="65"/>
                    <a:pt x="1378" y="65"/>
                    <a:pt x="1378" y="64"/>
                  </a:cubicBezTo>
                  <a:close/>
                  <a:moveTo>
                    <a:pt x="604" y="65"/>
                  </a:moveTo>
                  <a:cubicBezTo>
                    <a:pt x="604" y="65"/>
                    <a:pt x="604" y="65"/>
                    <a:pt x="604" y="65"/>
                  </a:cubicBezTo>
                  <a:cubicBezTo>
                    <a:pt x="604" y="65"/>
                    <a:pt x="604" y="65"/>
                    <a:pt x="604" y="65"/>
                  </a:cubicBezTo>
                  <a:close/>
                  <a:moveTo>
                    <a:pt x="685" y="65"/>
                  </a:moveTo>
                  <a:cubicBezTo>
                    <a:pt x="685" y="65"/>
                    <a:pt x="685" y="65"/>
                    <a:pt x="685" y="65"/>
                  </a:cubicBezTo>
                  <a:cubicBezTo>
                    <a:pt x="685" y="65"/>
                    <a:pt x="685" y="65"/>
                    <a:pt x="685" y="65"/>
                  </a:cubicBezTo>
                  <a:close/>
                  <a:moveTo>
                    <a:pt x="1546" y="65"/>
                  </a:moveTo>
                  <a:cubicBezTo>
                    <a:pt x="1546" y="65"/>
                    <a:pt x="1546" y="65"/>
                    <a:pt x="1546" y="65"/>
                  </a:cubicBezTo>
                  <a:cubicBezTo>
                    <a:pt x="1546" y="65"/>
                    <a:pt x="1546" y="65"/>
                    <a:pt x="1546" y="65"/>
                  </a:cubicBezTo>
                  <a:close/>
                  <a:moveTo>
                    <a:pt x="1561" y="65"/>
                  </a:moveTo>
                  <a:cubicBezTo>
                    <a:pt x="1561" y="65"/>
                    <a:pt x="1561" y="65"/>
                    <a:pt x="1561" y="65"/>
                  </a:cubicBezTo>
                  <a:cubicBezTo>
                    <a:pt x="1561" y="65"/>
                    <a:pt x="1561" y="65"/>
                    <a:pt x="1561" y="65"/>
                  </a:cubicBezTo>
                  <a:close/>
                  <a:moveTo>
                    <a:pt x="1714" y="65"/>
                  </a:moveTo>
                  <a:cubicBezTo>
                    <a:pt x="1714" y="65"/>
                    <a:pt x="1714" y="65"/>
                    <a:pt x="1714" y="65"/>
                  </a:cubicBezTo>
                  <a:cubicBezTo>
                    <a:pt x="1714" y="65"/>
                    <a:pt x="1714" y="65"/>
                    <a:pt x="1714" y="65"/>
                  </a:cubicBezTo>
                  <a:close/>
                  <a:moveTo>
                    <a:pt x="1730" y="65"/>
                  </a:moveTo>
                  <a:cubicBezTo>
                    <a:pt x="1729" y="65"/>
                    <a:pt x="1729" y="65"/>
                    <a:pt x="1729" y="65"/>
                  </a:cubicBezTo>
                  <a:cubicBezTo>
                    <a:pt x="1729" y="65"/>
                    <a:pt x="1730" y="65"/>
                    <a:pt x="1730" y="65"/>
                  </a:cubicBezTo>
                  <a:close/>
                  <a:moveTo>
                    <a:pt x="633" y="66"/>
                  </a:moveTo>
                  <a:cubicBezTo>
                    <a:pt x="633" y="66"/>
                    <a:pt x="633" y="65"/>
                    <a:pt x="633" y="65"/>
                  </a:cubicBezTo>
                  <a:cubicBezTo>
                    <a:pt x="633" y="65"/>
                    <a:pt x="633" y="65"/>
                    <a:pt x="633" y="66"/>
                  </a:cubicBezTo>
                  <a:close/>
                  <a:moveTo>
                    <a:pt x="685" y="65"/>
                  </a:moveTo>
                  <a:cubicBezTo>
                    <a:pt x="685" y="65"/>
                    <a:pt x="686" y="65"/>
                    <a:pt x="686" y="65"/>
                  </a:cubicBezTo>
                  <a:cubicBezTo>
                    <a:pt x="686" y="65"/>
                    <a:pt x="686" y="65"/>
                    <a:pt x="685" y="65"/>
                  </a:cubicBezTo>
                  <a:close/>
                  <a:moveTo>
                    <a:pt x="1683" y="40"/>
                  </a:moveTo>
                  <a:cubicBezTo>
                    <a:pt x="1683" y="41"/>
                    <a:pt x="1683" y="41"/>
                    <a:pt x="1683" y="41"/>
                  </a:cubicBezTo>
                  <a:cubicBezTo>
                    <a:pt x="1683" y="41"/>
                    <a:pt x="1683" y="41"/>
                    <a:pt x="1683" y="40"/>
                  </a:cubicBezTo>
                  <a:close/>
                  <a:moveTo>
                    <a:pt x="1670" y="65"/>
                  </a:moveTo>
                  <a:cubicBezTo>
                    <a:pt x="1670" y="65"/>
                    <a:pt x="1671" y="66"/>
                    <a:pt x="1671" y="66"/>
                  </a:cubicBezTo>
                  <a:cubicBezTo>
                    <a:pt x="1671" y="65"/>
                    <a:pt x="1671" y="65"/>
                    <a:pt x="1670" y="65"/>
                  </a:cubicBezTo>
                  <a:close/>
                  <a:moveTo>
                    <a:pt x="586" y="65"/>
                  </a:moveTo>
                  <a:cubicBezTo>
                    <a:pt x="586" y="66"/>
                    <a:pt x="586" y="66"/>
                    <a:pt x="586" y="66"/>
                  </a:cubicBezTo>
                  <a:cubicBezTo>
                    <a:pt x="586" y="66"/>
                    <a:pt x="586" y="65"/>
                    <a:pt x="586" y="65"/>
                  </a:cubicBezTo>
                  <a:close/>
                  <a:moveTo>
                    <a:pt x="644" y="65"/>
                  </a:moveTo>
                  <a:cubicBezTo>
                    <a:pt x="643" y="65"/>
                    <a:pt x="643" y="66"/>
                    <a:pt x="643" y="66"/>
                  </a:cubicBezTo>
                  <a:cubicBezTo>
                    <a:pt x="644" y="66"/>
                    <a:pt x="644" y="66"/>
                    <a:pt x="644" y="65"/>
                  </a:cubicBezTo>
                  <a:close/>
                  <a:moveTo>
                    <a:pt x="686" y="65"/>
                  </a:moveTo>
                  <a:cubicBezTo>
                    <a:pt x="686" y="66"/>
                    <a:pt x="686" y="66"/>
                    <a:pt x="687" y="66"/>
                  </a:cubicBezTo>
                  <a:cubicBezTo>
                    <a:pt x="687" y="65"/>
                    <a:pt x="686" y="65"/>
                    <a:pt x="686" y="65"/>
                  </a:cubicBezTo>
                  <a:close/>
                  <a:moveTo>
                    <a:pt x="1376" y="65"/>
                  </a:moveTo>
                  <a:cubicBezTo>
                    <a:pt x="1376" y="65"/>
                    <a:pt x="1376" y="65"/>
                    <a:pt x="1376" y="66"/>
                  </a:cubicBezTo>
                  <a:cubicBezTo>
                    <a:pt x="1376" y="66"/>
                    <a:pt x="1376" y="66"/>
                    <a:pt x="1376" y="65"/>
                  </a:cubicBezTo>
                  <a:close/>
                  <a:moveTo>
                    <a:pt x="687" y="66"/>
                  </a:moveTo>
                  <a:cubicBezTo>
                    <a:pt x="687" y="66"/>
                    <a:pt x="687" y="66"/>
                    <a:pt x="687" y="66"/>
                  </a:cubicBezTo>
                  <a:cubicBezTo>
                    <a:pt x="687" y="66"/>
                    <a:pt x="687" y="66"/>
                    <a:pt x="687" y="66"/>
                  </a:cubicBezTo>
                  <a:close/>
                  <a:moveTo>
                    <a:pt x="1560" y="66"/>
                  </a:moveTo>
                  <a:cubicBezTo>
                    <a:pt x="1560" y="66"/>
                    <a:pt x="1560" y="66"/>
                    <a:pt x="1559" y="66"/>
                  </a:cubicBezTo>
                  <a:cubicBezTo>
                    <a:pt x="1560" y="66"/>
                    <a:pt x="1560" y="66"/>
                    <a:pt x="1560" y="66"/>
                  </a:cubicBezTo>
                  <a:close/>
                  <a:moveTo>
                    <a:pt x="1671" y="66"/>
                  </a:moveTo>
                  <a:cubicBezTo>
                    <a:pt x="1671" y="66"/>
                    <a:pt x="1671" y="66"/>
                    <a:pt x="1671" y="66"/>
                  </a:cubicBezTo>
                  <a:cubicBezTo>
                    <a:pt x="1671" y="66"/>
                    <a:pt x="1671" y="66"/>
                    <a:pt x="1671" y="66"/>
                  </a:cubicBezTo>
                  <a:close/>
                  <a:moveTo>
                    <a:pt x="586" y="66"/>
                  </a:moveTo>
                  <a:cubicBezTo>
                    <a:pt x="586" y="66"/>
                    <a:pt x="586" y="67"/>
                    <a:pt x="587" y="67"/>
                  </a:cubicBezTo>
                  <a:cubicBezTo>
                    <a:pt x="587" y="66"/>
                    <a:pt x="586" y="66"/>
                    <a:pt x="586" y="66"/>
                  </a:cubicBezTo>
                  <a:close/>
                  <a:moveTo>
                    <a:pt x="687" y="66"/>
                  </a:moveTo>
                  <a:cubicBezTo>
                    <a:pt x="688" y="66"/>
                    <a:pt x="688" y="66"/>
                    <a:pt x="688" y="66"/>
                  </a:cubicBezTo>
                  <a:cubicBezTo>
                    <a:pt x="688" y="66"/>
                    <a:pt x="688" y="66"/>
                    <a:pt x="687" y="66"/>
                  </a:cubicBezTo>
                  <a:close/>
                  <a:moveTo>
                    <a:pt x="1375" y="66"/>
                  </a:moveTo>
                  <a:cubicBezTo>
                    <a:pt x="1375" y="66"/>
                    <a:pt x="1375" y="66"/>
                    <a:pt x="1375" y="66"/>
                  </a:cubicBezTo>
                  <a:cubicBezTo>
                    <a:pt x="1375" y="66"/>
                    <a:pt x="1375" y="66"/>
                    <a:pt x="1375" y="66"/>
                  </a:cubicBezTo>
                  <a:close/>
                  <a:moveTo>
                    <a:pt x="1544" y="66"/>
                  </a:moveTo>
                  <a:cubicBezTo>
                    <a:pt x="1544" y="66"/>
                    <a:pt x="1544" y="66"/>
                    <a:pt x="1544" y="66"/>
                  </a:cubicBezTo>
                  <a:cubicBezTo>
                    <a:pt x="1544" y="66"/>
                    <a:pt x="1544" y="66"/>
                    <a:pt x="1544" y="66"/>
                  </a:cubicBezTo>
                  <a:close/>
                  <a:moveTo>
                    <a:pt x="605" y="67"/>
                  </a:moveTo>
                  <a:cubicBezTo>
                    <a:pt x="605" y="67"/>
                    <a:pt x="605" y="66"/>
                    <a:pt x="605" y="66"/>
                  </a:cubicBezTo>
                  <a:cubicBezTo>
                    <a:pt x="605" y="67"/>
                    <a:pt x="605" y="67"/>
                    <a:pt x="605" y="67"/>
                  </a:cubicBezTo>
                  <a:close/>
                  <a:moveTo>
                    <a:pt x="665" y="67"/>
                  </a:moveTo>
                  <a:cubicBezTo>
                    <a:pt x="665" y="66"/>
                    <a:pt x="665" y="66"/>
                    <a:pt x="665" y="66"/>
                  </a:cubicBezTo>
                  <a:cubicBezTo>
                    <a:pt x="665" y="67"/>
                    <a:pt x="665" y="67"/>
                    <a:pt x="665" y="67"/>
                  </a:cubicBezTo>
                  <a:close/>
                  <a:moveTo>
                    <a:pt x="688" y="66"/>
                  </a:moveTo>
                  <a:cubicBezTo>
                    <a:pt x="688" y="67"/>
                    <a:pt x="689" y="67"/>
                    <a:pt x="689" y="67"/>
                  </a:cubicBezTo>
                  <a:cubicBezTo>
                    <a:pt x="689" y="66"/>
                    <a:pt x="688" y="66"/>
                    <a:pt x="688" y="66"/>
                  </a:cubicBezTo>
                  <a:close/>
                  <a:moveTo>
                    <a:pt x="1578" y="48"/>
                  </a:moveTo>
                  <a:cubicBezTo>
                    <a:pt x="1577" y="48"/>
                    <a:pt x="1577" y="49"/>
                    <a:pt x="1577" y="49"/>
                  </a:cubicBezTo>
                  <a:cubicBezTo>
                    <a:pt x="1577" y="49"/>
                    <a:pt x="1578" y="49"/>
                    <a:pt x="1578" y="48"/>
                  </a:cubicBezTo>
                  <a:close/>
                  <a:moveTo>
                    <a:pt x="1559" y="66"/>
                  </a:moveTo>
                  <a:cubicBezTo>
                    <a:pt x="1559" y="66"/>
                    <a:pt x="1559" y="66"/>
                    <a:pt x="1558" y="67"/>
                  </a:cubicBezTo>
                  <a:cubicBezTo>
                    <a:pt x="1559" y="67"/>
                    <a:pt x="1559" y="67"/>
                    <a:pt x="1559" y="66"/>
                  </a:cubicBezTo>
                  <a:close/>
                  <a:moveTo>
                    <a:pt x="1727" y="66"/>
                  </a:moveTo>
                  <a:cubicBezTo>
                    <a:pt x="1727" y="66"/>
                    <a:pt x="1727" y="66"/>
                    <a:pt x="1727" y="67"/>
                  </a:cubicBezTo>
                  <a:cubicBezTo>
                    <a:pt x="1727" y="67"/>
                    <a:pt x="1727" y="67"/>
                    <a:pt x="1727" y="66"/>
                  </a:cubicBezTo>
                  <a:close/>
                  <a:moveTo>
                    <a:pt x="636" y="58"/>
                  </a:moveTo>
                  <a:cubicBezTo>
                    <a:pt x="636" y="58"/>
                    <a:pt x="636" y="58"/>
                    <a:pt x="636" y="57"/>
                  </a:cubicBezTo>
                  <a:cubicBezTo>
                    <a:pt x="636" y="58"/>
                    <a:pt x="636" y="58"/>
                    <a:pt x="636" y="58"/>
                  </a:cubicBezTo>
                  <a:close/>
                  <a:moveTo>
                    <a:pt x="1671" y="67"/>
                  </a:moveTo>
                  <a:cubicBezTo>
                    <a:pt x="1671" y="67"/>
                    <a:pt x="1672" y="67"/>
                    <a:pt x="1672" y="67"/>
                  </a:cubicBezTo>
                  <a:cubicBezTo>
                    <a:pt x="1672" y="67"/>
                    <a:pt x="1672" y="67"/>
                    <a:pt x="1671" y="67"/>
                  </a:cubicBezTo>
                  <a:close/>
                  <a:moveTo>
                    <a:pt x="643" y="67"/>
                  </a:moveTo>
                  <a:cubicBezTo>
                    <a:pt x="643" y="67"/>
                    <a:pt x="643" y="67"/>
                    <a:pt x="643" y="68"/>
                  </a:cubicBezTo>
                  <a:cubicBezTo>
                    <a:pt x="643" y="68"/>
                    <a:pt x="643" y="67"/>
                    <a:pt x="643" y="67"/>
                  </a:cubicBezTo>
                  <a:close/>
                  <a:moveTo>
                    <a:pt x="689" y="67"/>
                  </a:moveTo>
                  <a:cubicBezTo>
                    <a:pt x="689" y="67"/>
                    <a:pt x="690" y="67"/>
                    <a:pt x="690" y="67"/>
                  </a:cubicBezTo>
                  <a:cubicBezTo>
                    <a:pt x="690" y="67"/>
                    <a:pt x="690" y="67"/>
                    <a:pt x="689" y="67"/>
                  </a:cubicBezTo>
                  <a:close/>
                  <a:moveTo>
                    <a:pt x="1374" y="67"/>
                  </a:moveTo>
                  <a:cubicBezTo>
                    <a:pt x="1374" y="67"/>
                    <a:pt x="1373" y="67"/>
                    <a:pt x="1373" y="67"/>
                  </a:cubicBezTo>
                  <a:cubicBezTo>
                    <a:pt x="1374" y="67"/>
                    <a:pt x="1374" y="67"/>
                    <a:pt x="1374" y="67"/>
                  </a:cubicBezTo>
                  <a:close/>
                  <a:moveTo>
                    <a:pt x="605" y="68"/>
                  </a:moveTo>
                  <a:cubicBezTo>
                    <a:pt x="605" y="68"/>
                    <a:pt x="605" y="67"/>
                    <a:pt x="605" y="67"/>
                  </a:cubicBezTo>
                  <a:cubicBezTo>
                    <a:pt x="605" y="68"/>
                    <a:pt x="605" y="68"/>
                    <a:pt x="605" y="68"/>
                  </a:cubicBezTo>
                  <a:close/>
                  <a:moveTo>
                    <a:pt x="667" y="68"/>
                  </a:moveTo>
                  <a:cubicBezTo>
                    <a:pt x="666" y="67"/>
                    <a:pt x="666" y="67"/>
                    <a:pt x="666" y="67"/>
                  </a:cubicBezTo>
                  <a:cubicBezTo>
                    <a:pt x="666" y="68"/>
                    <a:pt x="666" y="68"/>
                    <a:pt x="667" y="68"/>
                  </a:cubicBezTo>
                  <a:close/>
                  <a:moveTo>
                    <a:pt x="690" y="67"/>
                  </a:moveTo>
                  <a:cubicBezTo>
                    <a:pt x="690" y="68"/>
                    <a:pt x="690" y="68"/>
                    <a:pt x="691" y="68"/>
                  </a:cubicBezTo>
                  <a:cubicBezTo>
                    <a:pt x="690" y="67"/>
                    <a:pt x="690" y="67"/>
                    <a:pt x="690" y="67"/>
                  </a:cubicBezTo>
                  <a:close/>
                  <a:moveTo>
                    <a:pt x="647" y="57"/>
                  </a:moveTo>
                  <a:cubicBezTo>
                    <a:pt x="646" y="57"/>
                    <a:pt x="646" y="58"/>
                    <a:pt x="646" y="58"/>
                  </a:cubicBezTo>
                  <a:cubicBezTo>
                    <a:pt x="647" y="58"/>
                    <a:pt x="647" y="58"/>
                    <a:pt x="647" y="57"/>
                  </a:cubicBezTo>
                  <a:close/>
                  <a:moveTo>
                    <a:pt x="1558" y="67"/>
                  </a:moveTo>
                  <a:cubicBezTo>
                    <a:pt x="1557" y="67"/>
                    <a:pt x="1557" y="67"/>
                    <a:pt x="1557" y="68"/>
                  </a:cubicBezTo>
                  <a:cubicBezTo>
                    <a:pt x="1557" y="68"/>
                    <a:pt x="1558" y="68"/>
                    <a:pt x="1558" y="67"/>
                  </a:cubicBezTo>
                  <a:close/>
                  <a:moveTo>
                    <a:pt x="1672" y="67"/>
                  </a:moveTo>
                  <a:cubicBezTo>
                    <a:pt x="1672" y="68"/>
                    <a:pt x="1672" y="68"/>
                    <a:pt x="1672" y="68"/>
                  </a:cubicBezTo>
                  <a:cubicBezTo>
                    <a:pt x="1672" y="68"/>
                    <a:pt x="1672" y="68"/>
                    <a:pt x="1672" y="67"/>
                  </a:cubicBezTo>
                  <a:close/>
                  <a:moveTo>
                    <a:pt x="1710" y="68"/>
                  </a:moveTo>
                  <a:cubicBezTo>
                    <a:pt x="1711" y="68"/>
                    <a:pt x="1711" y="68"/>
                    <a:pt x="1711" y="67"/>
                  </a:cubicBezTo>
                  <a:cubicBezTo>
                    <a:pt x="1711" y="67"/>
                    <a:pt x="1710" y="68"/>
                    <a:pt x="1710" y="68"/>
                  </a:cubicBezTo>
                  <a:close/>
                  <a:moveTo>
                    <a:pt x="1726" y="67"/>
                  </a:moveTo>
                  <a:cubicBezTo>
                    <a:pt x="1725" y="67"/>
                    <a:pt x="1725" y="67"/>
                    <a:pt x="1725" y="68"/>
                  </a:cubicBezTo>
                  <a:cubicBezTo>
                    <a:pt x="1725" y="68"/>
                    <a:pt x="1726" y="68"/>
                    <a:pt x="1726" y="67"/>
                  </a:cubicBezTo>
                  <a:close/>
                  <a:moveTo>
                    <a:pt x="616" y="68"/>
                  </a:moveTo>
                  <a:cubicBezTo>
                    <a:pt x="616" y="68"/>
                    <a:pt x="616" y="68"/>
                    <a:pt x="616" y="69"/>
                  </a:cubicBezTo>
                  <a:cubicBezTo>
                    <a:pt x="616" y="68"/>
                    <a:pt x="616" y="68"/>
                    <a:pt x="616" y="68"/>
                  </a:cubicBezTo>
                  <a:close/>
                  <a:moveTo>
                    <a:pt x="632" y="69"/>
                  </a:moveTo>
                  <a:cubicBezTo>
                    <a:pt x="632" y="68"/>
                    <a:pt x="632" y="68"/>
                    <a:pt x="632" y="68"/>
                  </a:cubicBezTo>
                  <a:cubicBezTo>
                    <a:pt x="632" y="68"/>
                    <a:pt x="632" y="68"/>
                    <a:pt x="632" y="69"/>
                  </a:cubicBezTo>
                  <a:close/>
                  <a:moveTo>
                    <a:pt x="1555" y="58"/>
                  </a:moveTo>
                  <a:cubicBezTo>
                    <a:pt x="1556" y="58"/>
                    <a:pt x="1556" y="58"/>
                    <a:pt x="1556" y="57"/>
                  </a:cubicBezTo>
                  <a:cubicBezTo>
                    <a:pt x="1556" y="57"/>
                    <a:pt x="1555" y="57"/>
                    <a:pt x="1555" y="58"/>
                  </a:cubicBezTo>
                  <a:close/>
                  <a:moveTo>
                    <a:pt x="587" y="68"/>
                  </a:moveTo>
                  <a:cubicBezTo>
                    <a:pt x="587" y="68"/>
                    <a:pt x="587" y="69"/>
                    <a:pt x="588" y="69"/>
                  </a:cubicBezTo>
                  <a:cubicBezTo>
                    <a:pt x="588" y="69"/>
                    <a:pt x="587" y="68"/>
                    <a:pt x="587" y="68"/>
                  </a:cubicBezTo>
                  <a:close/>
                  <a:moveTo>
                    <a:pt x="606" y="69"/>
                  </a:moveTo>
                  <a:cubicBezTo>
                    <a:pt x="606" y="68"/>
                    <a:pt x="606" y="68"/>
                    <a:pt x="605" y="68"/>
                  </a:cubicBezTo>
                  <a:cubicBezTo>
                    <a:pt x="605" y="68"/>
                    <a:pt x="605" y="69"/>
                    <a:pt x="606" y="69"/>
                  </a:cubicBezTo>
                  <a:close/>
                  <a:moveTo>
                    <a:pt x="668" y="68"/>
                  </a:moveTo>
                  <a:cubicBezTo>
                    <a:pt x="668" y="68"/>
                    <a:pt x="667" y="68"/>
                    <a:pt x="667" y="68"/>
                  </a:cubicBezTo>
                  <a:cubicBezTo>
                    <a:pt x="667" y="68"/>
                    <a:pt x="667" y="68"/>
                    <a:pt x="668" y="68"/>
                  </a:cubicBezTo>
                  <a:close/>
                  <a:moveTo>
                    <a:pt x="691" y="68"/>
                  </a:moveTo>
                  <a:cubicBezTo>
                    <a:pt x="691" y="68"/>
                    <a:pt x="691" y="68"/>
                    <a:pt x="692" y="69"/>
                  </a:cubicBezTo>
                  <a:cubicBezTo>
                    <a:pt x="692" y="68"/>
                    <a:pt x="691" y="68"/>
                    <a:pt x="691" y="68"/>
                  </a:cubicBezTo>
                  <a:close/>
                  <a:moveTo>
                    <a:pt x="1668" y="57"/>
                  </a:moveTo>
                  <a:cubicBezTo>
                    <a:pt x="1667" y="57"/>
                    <a:pt x="1667" y="57"/>
                    <a:pt x="1667" y="58"/>
                  </a:cubicBezTo>
                  <a:cubicBezTo>
                    <a:pt x="1667" y="58"/>
                    <a:pt x="1667" y="58"/>
                    <a:pt x="1668" y="57"/>
                  </a:cubicBezTo>
                  <a:close/>
                  <a:moveTo>
                    <a:pt x="1672" y="68"/>
                  </a:moveTo>
                  <a:cubicBezTo>
                    <a:pt x="1672" y="68"/>
                    <a:pt x="1672" y="69"/>
                    <a:pt x="1673" y="69"/>
                  </a:cubicBezTo>
                  <a:cubicBezTo>
                    <a:pt x="1673" y="69"/>
                    <a:pt x="1672" y="68"/>
                    <a:pt x="1672" y="68"/>
                  </a:cubicBezTo>
                  <a:close/>
                  <a:moveTo>
                    <a:pt x="1725" y="68"/>
                  </a:moveTo>
                  <a:cubicBezTo>
                    <a:pt x="1724" y="68"/>
                    <a:pt x="1724" y="68"/>
                    <a:pt x="1724" y="68"/>
                  </a:cubicBezTo>
                  <a:cubicBezTo>
                    <a:pt x="1724" y="68"/>
                    <a:pt x="1725" y="68"/>
                    <a:pt x="1725" y="68"/>
                  </a:cubicBezTo>
                  <a:close/>
                  <a:moveTo>
                    <a:pt x="668" y="69"/>
                  </a:moveTo>
                  <a:cubicBezTo>
                    <a:pt x="668" y="69"/>
                    <a:pt x="668" y="68"/>
                    <a:pt x="668" y="68"/>
                  </a:cubicBezTo>
                  <a:cubicBezTo>
                    <a:pt x="668" y="69"/>
                    <a:pt x="668" y="69"/>
                    <a:pt x="668" y="69"/>
                  </a:cubicBezTo>
                  <a:close/>
                  <a:moveTo>
                    <a:pt x="1723" y="58"/>
                  </a:moveTo>
                  <a:cubicBezTo>
                    <a:pt x="1724" y="58"/>
                    <a:pt x="1724" y="58"/>
                    <a:pt x="1724" y="57"/>
                  </a:cubicBezTo>
                  <a:cubicBezTo>
                    <a:pt x="1724" y="57"/>
                    <a:pt x="1723" y="57"/>
                    <a:pt x="1723" y="58"/>
                  </a:cubicBezTo>
                  <a:close/>
                  <a:moveTo>
                    <a:pt x="588" y="69"/>
                  </a:moveTo>
                  <a:cubicBezTo>
                    <a:pt x="588" y="69"/>
                    <a:pt x="588" y="69"/>
                    <a:pt x="588" y="70"/>
                  </a:cubicBezTo>
                  <a:cubicBezTo>
                    <a:pt x="588" y="69"/>
                    <a:pt x="588" y="69"/>
                    <a:pt x="588" y="69"/>
                  </a:cubicBezTo>
                  <a:close/>
                  <a:moveTo>
                    <a:pt x="616" y="69"/>
                  </a:moveTo>
                  <a:cubicBezTo>
                    <a:pt x="616" y="69"/>
                    <a:pt x="616" y="69"/>
                    <a:pt x="617" y="70"/>
                  </a:cubicBezTo>
                  <a:cubicBezTo>
                    <a:pt x="617" y="69"/>
                    <a:pt x="617" y="69"/>
                    <a:pt x="616" y="69"/>
                  </a:cubicBezTo>
                  <a:close/>
                  <a:moveTo>
                    <a:pt x="631" y="70"/>
                  </a:moveTo>
                  <a:cubicBezTo>
                    <a:pt x="632" y="69"/>
                    <a:pt x="632" y="69"/>
                    <a:pt x="632" y="69"/>
                  </a:cubicBezTo>
                  <a:cubicBezTo>
                    <a:pt x="631" y="69"/>
                    <a:pt x="631" y="69"/>
                    <a:pt x="631" y="70"/>
                  </a:cubicBezTo>
                  <a:close/>
                  <a:moveTo>
                    <a:pt x="642" y="69"/>
                  </a:moveTo>
                  <a:cubicBezTo>
                    <a:pt x="642" y="69"/>
                    <a:pt x="642" y="69"/>
                    <a:pt x="642" y="69"/>
                  </a:cubicBezTo>
                  <a:cubicBezTo>
                    <a:pt x="642" y="69"/>
                    <a:pt x="642" y="69"/>
                    <a:pt x="642" y="69"/>
                  </a:cubicBezTo>
                  <a:close/>
                  <a:moveTo>
                    <a:pt x="751" y="50"/>
                  </a:moveTo>
                  <a:cubicBezTo>
                    <a:pt x="751" y="50"/>
                    <a:pt x="752" y="49"/>
                    <a:pt x="752" y="49"/>
                  </a:cubicBezTo>
                  <a:cubicBezTo>
                    <a:pt x="751" y="49"/>
                    <a:pt x="751" y="49"/>
                    <a:pt x="751" y="50"/>
                  </a:cubicBezTo>
                  <a:close/>
                  <a:moveTo>
                    <a:pt x="964" y="69"/>
                  </a:moveTo>
                  <a:cubicBezTo>
                    <a:pt x="964" y="69"/>
                    <a:pt x="964" y="69"/>
                    <a:pt x="964" y="70"/>
                  </a:cubicBezTo>
                  <a:cubicBezTo>
                    <a:pt x="965" y="69"/>
                    <a:pt x="965" y="69"/>
                    <a:pt x="964" y="69"/>
                  </a:cubicBezTo>
                  <a:close/>
                  <a:moveTo>
                    <a:pt x="1371" y="69"/>
                  </a:moveTo>
                  <a:cubicBezTo>
                    <a:pt x="1371" y="69"/>
                    <a:pt x="1371" y="69"/>
                    <a:pt x="1371" y="69"/>
                  </a:cubicBezTo>
                  <a:cubicBezTo>
                    <a:pt x="1371" y="69"/>
                    <a:pt x="1371" y="69"/>
                    <a:pt x="1371" y="69"/>
                  </a:cubicBezTo>
                  <a:close/>
                  <a:moveTo>
                    <a:pt x="1565" y="49"/>
                  </a:moveTo>
                  <a:cubicBezTo>
                    <a:pt x="1565" y="49"/>
                    <a:pt x="1565" y="49"/>
                    <a:pt x="1565" y="48"/>
                  </a:cubicBezTo>
                  <a:cubicBezTo>
                    <a:pt x="1565" y="48"/>
                    <a:pt x="1565" y="49"/>
                    <a:pt x="1565" y="49"/>
                  </a:cubicBezTo>
                  <a:close/>
                  <a:moveTo>
                    <a:pt x="1660" y="69"/>
                  </a:moveTo>
                  <a:cubicBezTo>
                    <a:pt x="1660" y="69"/>
                    <a:pt x="1660" y="69"/>
                    <a:pt x="1660" y="69"/>
                  </a:cubicBezTo>
                  <a:cubicBezTo>
                    <a:pt x="1660" y="69"/>
                    <a:pt x="1660" y="69"/>
                    <a:pt x="1660" y="69"/>
                  </a:cubicBezTo>
                  <a:close/>
                  <a:moveTo>
                    <a:pt x="1673" y="69"/>
                  </a:moveTo>
                  <a:cubicBezTo>
                    <a:pt x="1673" y="69"/>
                    <a:pt x="1673" y="69"/>
                    <a:pt x="1673" y="70"/>
                  </a:cubicBezTo>
                  <a:cubicBezTo>
                    <a:pt x="1673" y="69"/>
                    <a:pt x="1673" y="69"/>
                    <a:pt x="1673" y="69"/>
                  </a:cubicBezTo>
                  <a:close/>
                  <a:moveTo>
                    <a:pt x="606" y="70"/>
                  </a:moveTo>
                  <a:cubicBezTo>
                    <a:pt x="606" y="70"/>
                    <a:pt x="606" y="69"/>
                    <a:pt x="606" y="69"/>
                  </a:cubicBezTo>
                  <a:cubicBezTo>
                    <a:pt x="606" y="69"/>
                    <a:pt x="606" y="70"/>
                    <a:pt x="606" y="70"/>
                  </a:cubicBezTo>
                  <a:close/>
                  <a:moveTo>
                    <a:pt x="669" y="69"/>
                  </a:moveTo>
                  <a:cubicBezTo>
                    <a:pt x="669" y="69"/>
                    <a:pt x="669" y="69"/>
                    <a:pt x="669" y="69"/>
                  </a:cubicBezTo>
                  <a:cubicBezTo>
                    <a:pt x="669" y="69"/>
                    <a:pt x="669" y="69"/>
                    <a:pt x="669" y="69"/>
                  </a:cubicBezTo>
                  <a:close/>
                  <a:moveTo>
                    <a:pt x="1555" y="69"/>
                  </a:moveTo>
                  <a:cubicBezTo>
                    <a:pt x="1555" y="69"/>
                    <a:pt x="1555" y="69"/>
                    <a:pt x="1555" y="70"/>
                  </a:cubicBezTo>
                  <a:cubicBezTo>
                    <a:pt x="1555" y="69"/>
                    <a:pt x="1555" y="69"/>
                    <a:pt x="1555" y="69"/>
                  </a:cubicBezTo>
                  <a:close/>
                  <a:moveTo>
                    <a:pt x="866" y="42"/>
                  </a:moveTo>
                  <a:cubicBezTo>
                    <a:pt x="866" y="42"/>
                    <a:pt x="866" y="42"/>
                    <a:pt x="866" y="42"/>
                  </a:cubicBezTo>
                  <a:cubicBezTo>
                    <a:pt x="866" y="42"/>
                    <a:pt x="866" y="42"/>
                    <a:pt x="866" y="42"/>
                  </a:cubicBezTo>
                  <a:close/>
                  <a:moveTo>
                    <a:pt x="1723" y="69"/>
                  </a:moveTo>
                  <a:cubicBezTo>
                    <a:pt x="1723" y="69"/>
                    <a:pt x="1723" y="69"/>
                    <a:pt x="1723" y="70"/>
                  </a:cubicBezTo>
                  <a:cubicBezTo>
                    <a:pt x="1723" y="69"/>
                    <a:pt x="1723" y="69"/>
                    <a:pt x="1723" y="69"/>
                  </a:cubicBezTo>
                  <a:close/>
                  <a:moveTo>
                    <a:pt x="1112" y="52"/>
                  </a:moveTo>
                  <a:cubicBezTo>
                    <a:pt x="1112" y="53"/>
                    <a:pt x="1112" y="53"/>
                    <a:pt x="1112" y="53"/>
                  </a:cubicBezTo>
                  <a:cubicBezTo>
                    <a:pt x="1112" y="53"/>
                    <a:pt x="1112" y="53"/>
                    <a:pt x="1112" y="52"/>
                  </a:cubicBezTo>
                  <a:close/>
                  <a:moveTo>
                    <a:pt x="1504" y="7"/>
                  </a:moveTo>
                  <a:cubicBezTo>
                    <a:pt x="1504" y="7"/>
                    <a:pt x="1505" y="6"/>
                    <a:pt x="1505" y="6"/>
                  </a:cubicBezTo>
                  <a:cubicBezTo>
                    <a:pt x="1504" y="6"/>
                    <a:pt x="1504" y="6"/>
                    <a:pt x="1504" y="7"/>
                  </a:cubicBezTo>
                  <a:close/>
                  <a:moveTo>
                    <a:pt x="670" y="70"/>
                  </a:moveTo>
                  <a:cubicBezTo>
                    <a:pt x="670" y="70"/>
                    <a:pt x="670" y="69"/>
                    <a:pt x="669" y="69"/>
                  </a:cubicBezTo>
                  <a:cubicBezTo>
                    <a:pt x="669" y="70"/>
                    <a:pt x="670" y="70"/>
                    <a:pt x="670" y="70"/>
                  </a:cubicBezTo>
                  <a:close/>
                  <a:moveTo>
                    <a:pt x="1150" y="41"/>
                  </a:moveTo>
                  <a:cubicBezTo>
                    <a:pt x="1150" y="41"/>
                    <a:pt x="1150" y="41"/>
                    <a:pt x="1150" y="41"/>
                  </a:cubicBezTo>
                  <a:cubicBezTo>
                    <a:pt x="1150" y="41"/>
                    <a:pt x="1150" y="41"/>
                    <a:pt x="1150" y="41"/>
                  </a:cubicBezTo>
                  <a:close/>
                  <a:moveTo>
                    <a:pt x="1085" y="49"/>
                  </a:moveTo>
                  <a:cubicBezTo>
                    <a:pt x="1085" y="49"/>
                    <a:pt x="1085" y="50"/>
                    <a:pt x="1086" y="50"/>
                  </a:cubicBezTo>
                  <a:cubicBezTo>
                    <a:pt x="1086" y="49"/>
                    <a:pt x="1086" y="49"/>
                    <a:pt x="1085" y="49"/>
                  </a:cubicBezTo>
                  <a:close/>
                  <a:moveTo>
                    <a:pt x="749" y="56"/>
                  </a:moveTo>
                  <a:cubicBezTo>
                    <a:pt x="749" y="55"/>
                    <a:pt x="749" y="55"/>
                    <a:pt x="749" y="55"/>
                  </a:cubicBezTo>
                  <a:cubicBezTo>
                    <a:pt x="749" y="55"/>
                    <a:pt x="749" y="55"/>
                    <a:pt x="749" y="56"/>
                  </a:cubicBezTo>
                  <a:close/>
                  <a:moveTo>
                    <a:pt x="1661" y="70"/>
                  </a:moveTo>
                  <a:cubicBezTo>
                    <a:pt x="1661" y="70"/>
                    <a:pt x="1661" y="70"/>
                    <a:pt x="1660" y="69"/>
                  </a:cubicBezTo>
                  <a:cubicBezTo>
                    <a:pt x="1660" y="70"/>
                    <a:pt x="1660" y="70"/>
                    <a:pt x="1661" y="70"/>
                  </a:cubicBezTo>
                  <a:close/>
                  <a:moveTo>
                    <a:pt x="1673" y="69"/>
                  </a:moveTo>
                  <a:cubicBezTo>
                    <a:pt x="1673" y="70"/>
                    <a:pt x="1673" y="70"/>
                    <a:pt x="1673" y="70"/>
                  </a:cubicBezTo>
                  <a:cubicBezTo>
                    <a:pt x="1673" y="70"/>
                    <a:pt x="1673" y="70"/>
                    <a:pt x="1673" y="69"/>
                  </a:cubicBezTo>
                  <a:close/>
                  <a:moveTo>
                    <a:pt x="606" y="71"/>
                  </a:moveTo>
                  <a:cubicBezTo>
                    <a:pt x="606" y="70"/>
                    <a:pt x="606" y="70"/>
                    <a:pt x="606" y="70"/>
                  </a:cubicBezTo>
                  <a:cubicBezTo>
                    <a:pt x="606" y="70"/>
                    <a:pt x="606" y="70"/>
                    <a:pt x="606" y="71"/>
                  </a:cubicBezTo>
                  <a:close/>
                  <a:moveTo>
                    <a:pt x="617" y="70"/>
                  </a:moveTo>
                  <a:cubicBezTo>
                    <a:pt x="617" y="70"/>
                    <a:pt x="617" y="70"/>
                    <a:pt x="617" y="71"/>
                  </a:cubicBezTo>
                  <a:cubicBezTo>
                    <a:pt x="617" y="70"/>
                    <a:pt x="617" y="70"/>
                    <a:pt x="617" y="70"/>
                  </a:cubicBezTo>
                  <a:close/>
                  <a:moveTo>
                    <a:pt x="642" y="70"/>
                  </a:moveTo>
                  <a:cubicBezTo>
                    <a:pt x="642" y="70"/>
                    <a:pt x="641" y="70"/>
                    <a:pt x="641" y="71"/>
                  </a:cubicBezTo>
                  <a:cubicBezTo>
                    <a:pt x="642" y="70"/>
                    <a:pt x="642" y="70"/>
                    <a:pt x="642" y="70"/>
                  </a:cubicBezTo>
                  <a:close/>
                  <a:moveTo>
                    <a:pt x="671" y="70"/>
                  </a:moveTo>
                  <a:cubicBezTo>
                    <a:pt x="671" y="70"/>
                    <a:pt x="670" y="70"/>
                    <a:pt x="670" y="70"/>
                  </a:cubicBezTo>
                  <a:cubicBezTo>
                    <a:pt x="670" y="70"/>
                    <a:pt x="670" y="70"/>
                    <a:pt x="671" y="70"/>
                  </a:cubicBezTo>
                  <a:close/>
                  <a:moveTo>
                    <a:pt x="965" y="70"/>
                  </a:moveTo>
                  <a:cubicBezTo>
                    <a:pt x="965" y="70"/>
                    <a:pt x="965" y="70"/>
                    <a:pt x="965" y="71"/>
                  </a:cubicBezTo>
                  <a:cubicBezTo>
                    <a:pt x="965" y="70"/>
                    <a:pt x="965" y="70"/>
                    <a:pt x="965" y="70"/>
                  </a:cubicBezTo>
                  <a:close/>
                  <a:moveTo>
                    <a:pt x="1370" y="70"/>
                  </a:moveTo>
                  <a:cubicBezTo>
                    <a:pt x="1370" y="70"/>
                    <a:pt x="1370" y="70"/>
                    <a:pt x="1369" y="70"/>
                  </a:cubicBezTo>
                  <a:cubicBezTo>
                    <a:pt x="1370" y="70"/>
                    <a:pt x="1370" y="70"/>
                    <a:pt x="1370" y="70"/>
                  </a:cubicBezTo>
                  <a:close/>
                  <a:moveTo>
                    <a:pt x="671" y="71"/>
                  </a:moveTo>
                  <a:cubicBezTo>
                    <a:pt x="671" y="70"/>
                    <a:pt x="671" y="70"/>
                    <a:pt x="671" y="70"/>
                  </a:cubicBezTo>
                  <a:cubicBezTo>
                    <a:pt x="671" y="70"/>
                    <a:pt x="671" y="71"/>
                    <a:pt x="671" y="71"/>
                  </a:cubicBezTo>
                  <a:close/>
                  <a:moveTo>
                    <a:pt x="1263" y="48"/>
                  </a:moveTo>
                  <a:cubicBezTo>
                    <a:pt x="1263" y="49"/>
                    <a:pt x="1263" y="49"/>
                    <a:pt x="1263" y="49"/>
                  </a:cubicBezTo>
                  <a:cubicBezTo>
                    <a:pt x="1263" y="49"/>
                    <a:pt x="1263" y="48"/>
                    <a:pt x="1263" y="48"/>
                  </a:cubicBezTo>
                  <a:close/>
                  <a:moveTo>
                    <a:pt x="1554" y="70"/>
                  </a:moveTo>
                  <a:cubicBezTo>
                    <a:pt x="1554" y="70"/>
                    <a:pt x="1553" y="70"/>
                    <a:pt x="1553" y="71"/>
                  </a:cubicBezTo>
                  <a:cubicBezTo>
                    <a:pt x="1553" y="71"/>
                    <a:pt x="1554" y="70"/>
                    <a:pt x="1554" y="70"/>
                  </a:cubicBezTo>
                  <a:close/>
                  <a:moveTo>
                    <a:pt x="1673" y="70"/>
                  </a:moveTo>
                  <a:cubicBezTo>
                    <a:pt x="1673" y="70"/>
                    <a:pt x="1673" y="71"/>
                    <a:pt x="1674" y="71"/>
                  </a:cubicBezTo>
                  <a:cubicBezTo>
                    <a:pt x="1674" y="71"/>
                    <a:pt x="1674" y="70"/>
                    <a:pt x="1673" y="70"/>
                  </a:cubicBezTo>
                  <a:close/>
                  <a:moveTo>
                    <a:pt x="1722" y="70"/>
                  </a:moveTo>
                  <a:cubicBezTo>
                    <a:pt x="1722" y="70"/>
                    <a:pt x="1721" y="70"/>
                    <a:pt x="1721" y="71"/>
                  </a:cubicBezTo>
                  <a:cubicBezTo>
                    <a:pt x="1722" y="71"/>
                    <a:pt x="1722" y="70"/>
                    <a:pt x="1722" y="70"/>
                  </a:cubicBezTo>
                  <a:close/>
                  <a:moveTo>
                    <a:pt x="1432" y="7"/>
                  </a:moveTo>
                  <a:cubicBezTo>
                    <a:pt x="1432" y="7"/>
                    <a:pt x="1432" y="7"/>
                    <a:pt x="1433" y="7"/>
                  </a:cubicBezTo>
                  <a:cubicBezTo>
                    <a:pt x="1432" y="7"/>
                    <a:pt x="1432" y="7"/>
                    <a:pt x="1432" y="7"/>
                  </a:cubicBezTo>
                  <a:close/>
                  <a:moveTo>
                    <a:pt x="631" y="71"/>
                  </a:moveTo>
                  <a:cubicBezTo>
                    <a:pt x="631" y="71"/>
                    <a:pt x="631" y="71"/>
                    <a:pt x="631" y="71"/>
                  </a:cubicBezTo>
                  <a:cubicBezTo>
                    <a:pt x="631" y="71"/>
                    <a:pt x="631" y="71"/>
                    <a:pt x="631" y="71"/>
                  </a:cubicBezTo>
                  <a:close/>
                  <a:moveTo>
                    <a:pt x="641" y="70"/>
                  </a:moveTo>
                  <a:cubicBezTo>
                    <a:pt x="641" y="71"/>
                    <a:pt x="641" y="71"/>
                    <a:pt x="641" y="71"/>
                  </a:cubicBezTo>
                  <a:cubicBezTo>
                    <a:pt x="641" y="71"/>
                    <a:pt x="642" y="71"/>
                    <a:pt x="641" y="70"/>
                  </a:cubicBezTo>
                  <a:close/>
                  <a:moveTo>
                    <a:pt x="672" y="71"/>
                  </a:moveTo>
                  <a:cubicBezTo>
                    <a:pt x="672" y="71"/>
                    <a:pt x="672" y="71"/>
                    <a:pt x="671" y="71"/>
                  </a:cubicBezTo>
                  <a:cubicBezTo>
                    <a:pt x="672" y="71"/>
                    <a:pt x="672" y="71"/>
                    <a:pt x="672" y="71"/>
                  </a:cubicBezTo>
                  <a:close/>
                  <a:moveTo>
                    <a:pt x="573" y="54"/>
                  </a:moveTo>
                  <a:cubicBezTo>
                    <a:pt x="573" y="54"/>
                    <a:pt x="574" y="55"/>
                    <a:pt x="574" y="55"/>
                  </a:cubicBezTo>
                  <a:cubicBezTo>
                    <a:pt x="574" y="54"/>
                    <a:pt x="574" y="54"/>
                    <a:pt x="573" y="54"/>
                  </a:cubicBezTo>
                  <a:close/>
                  <a:moveTo>
                    <a:pt x="607" y="72"/>
                  </a:moveTo>
                  <a:cubicBezTo>
                    <a:pt x="607" y="71"/>
                    <a:pt x="607" y="71"/>
                    <a:pt x="606" y="71"/>
                  </a:cubicBezTo>
                  <a:cubicBezTo>
                    <a:pt x="606" y="71"/>
                    <a:pt x="606" y="71"/>
                    <a:pt x="607" y="72"/>
                  </a:cubicBezTo>
                  <a:close/>
                  <a:moveTo>
                    <a:pt x="617" y="71"/>
                  </a:moveTo>
                  <a:cubicBezTo>
                    <a:pt x="617" y="71"/>
                    <a:pt x="617" y="71"/>
                    <a:pt x="617" y="72"/>
                  </a:cubicBezTo>
                  <a:cubicBezTo>
                    <a:pt x="617" y="71"/>
                    <a:pt x="617" y="71"/>
                    <a:pt x="617" y="71"/>
                  </a:cubicBezTo>
                  <a:close/>
                  <a:moveTo>
                    <a:pt x="673" y="71"/>
                  </a:moveTo>
                  <a:cubicBezTo>
                    <a:pt x="673" y="71"/>
                    <a:pt x="672" y="71"/>
                    <a:pt x="672" y="71"/>
                  </a:cubicBezTo>
                  <a:cubicBezTo>
                    <a:pt x="672" y="71"/>
                    <a:pt x="673" y="71"/>
                    <a:pt x="673" y="71"/>
                  </a:cubicBezTo>
                  <a:close/>
                  <a:moveTo>
                    <a:pt x="1450" y="7"/>
                  </a:moveTo>
                  <a:cubicBezTo>
                    <a:pt x="1450" y="7"/>
                    <a:pt x="1450" y="7"/>
                    <a:pt x="1450" y="7"/>
                  </a:cubicBezTo>
                  <a:cubicBezTo>
                    <a:pt x="1450" y="7"/>
                    <a:pt x="1450" y="7"/>
                    <a:pt x="1450" y="7"/>
                  </a:cubicBezTo>
                  <a:close/>
                  <a:moveTo>
                    <a:pt x="965" y="71"/>
                  </a:moveTo>
                  <a:cubicBezTo>
                    <a:pt x="965" y="71"/>
                    <a:pt x="965" y="71"/>
                    <a:pt x="965" y="72"/>
                  </a:cubicBezTo>
                  <a:cubicBezTo>
                    <a:pt x="965" y="71"/>
                    <a:pt x="965" y="71"/>
                    <a:pt x="965" y="71"/>
                  </a:cubicBezTo>
                  <a:close/>
                  <a:moveTo>
                    <a:pt x="1151" y="42"/>
                  </a:moveTo>
                  <a:cubicBezTo>
                    <a:pt x="1151" y="42"/>
                    <a:pt x="1151" y="42"/>
                    <a:pt x="1151" y="42"/>
                  </a:cubicBezTo>
                  <a:cubicBezTo>
                    <a:pt x="1151" y="42"/>
                    <a:pt x="1151" y="42"/>
                    <a:pt x="1151" y="42"/>
                  </a:cubicBezTo>
                  <a:close/>
                  <a:moveTo>
                    <a:pt x="1369" y="71"/>
                  </a:moveTo>
                  <a:cubicBezTo>
                    <a:pt x="1368" y="71"/>
                    <a:pt x="1368" y="71"/>
                    <a:pt x="1368" y="71"/>
                  </a:cubicBezTo>
                  <a:cubicBezTo>
                    <a:pt x="1368" y="71"/>
                    <a:pt x="1369" y="71"/>
                    <a:pt x="1369" y="71"/>
                  </a:cubicBezTo>
                  <a:close/>
                  <a:moveTo>
                    <a:pt x="1154" y="48"/>
                  </a:moveTo>
                  <a:cubicBezTo>
                    <a:pt x="1154" y="49"/>
                    <a:pt x="1154" y="49"/>
                    <a:pt x="1154" y="49"/>
                  </a:cubicBezTo>
                  <a:cubicBezTo>
                    <a:pt x="1154" y="49"/>
                    <a:pt x="1154" y="48"/>
                    <a:pt x="1154" y="48"/>
                  </a:cubicBezTo>
                  <a:close/>
                  <a:moveTo>
                    <a:pt x="1674" y="71"/>
                  </a:moveTo>
                  <a:cubicBezTo>
                    <a:pt x="1674" y="71"/>
                    <a:pt x="1674" y="71"/>
                    <a:pt x="1674" y="72"/>
                  </a:cubicBezTo>
                  <a:cubicBezTo>
                    <a:pt x="1674" y="71"/>
                    <a:pt x="1674" y="71"/>
                    <a:pt x="1674" y="71"/>
                  </a:cubicBezTo>
                  <a:close/>
                  <a:moveTo>
                    <a:pt x="674" y="72"/>
                  </a:moveTo>
                  <a:cubicBezTo>
                    <a:pt x="673" y="71"/>
                    <a:pt x="673" y="71"/>
                    <a:pt x="673" y="71"/>
                  </a:cubicBezTo>
                  <a:cubicBezTo>
                    <a:pt x="673" y="72"/>
                    <a:pt x="673" y="72"/>
                    <a:pt x="674" y="72"/>
                  </a:cubicBezTo>
                  <a:close/>
                  <a:moveTo>
                    <a:pt x="1552" y="71"/>
                  </a:moveTo>
                  <a:cubicBezTo>
                    <a:pt x="1552" y="71"/>
                    <a:pt x="1552" y="71"/>
                    <a:pt x="1552" y="72"/>
                  </a:cubicBezTo>
                  <a:cubicBezTo>
                    <a:pt x="1552" y="72"/>
                    <a:pt x="1552" y="71"/>
                    <a:pt x="1552" y="71"/>
                  </a:cubicBezTo>
                  <a:close/>
                  <a:moveTo>
                    <a:pt x="1662" y="72"/>
                  </a:moveTo>
                  <a:cubicBezTo>
                    <a:pt x="1662" y="72"/>
                    <a:pt x="1662" y="71"/>
                    <a:pt x="1661" y="71"/>
                  </a:cubicBezTo>
                  <a:cubicBezTo>
                    <a:pt x="1661" y="72"/>
                    <a:pt x="1661" y="72"/>
                    <a:pt x="1662" y="72"/>
                  </a:cubicBezTo>
                  <a:close/>
                  <a:moveTo>
                    <a:pt x="1721" y="71"/>
                  </a:moveTo>
                  <a:cubicBezTo>
                    <a:pt x="1720" y="71"/>
                    <a:pt x="1720" y="71"/>
                    <a:pt x="1720" y="72"/>
                  </a:cubicBezTo>
                  <a:cubicBezTo>
                    <a:pt x="1720" y="72"/>
                    <a:pt x="1720" y="71"/>
                    <a:pt x="1721" y="71"/>
                  </a:cubicBezTo>
                  <a:close/>
                  <a:moveTo>
                    <a:pt x="1564" y="7"/>
                  </a:moveTo>
                  <a:cubicBezTo>
                    <a:pt x="1564" y="7"/>
                    <a:pt x="1564" y="7"/>
                    <a:pt x="1565" y="7"/>
                  </a:cubicBezTo>
                  <a:cubicBezTo>
                    <a:pt x="1564" y="7"/>
                    <a:pt x="1564" y="7"/>
                    <a:pt x="1564" y="7"/>
                  </a:cubicBezTo>
                  <a:close/>
                  <a:moveTo>
                    <a:pt x="1732" y="7"/>
                  </a:moveTo>
                  <a:cubicBezTo>
                    <a:pt x="1732" y="7"/>
                    <a:pt x="1732" y="7"/>
                    <a:pt x="1733" y="7"/>
                  </a:cubicBezTo>
                  <a:cubicBezTo>
                    <a:pt x="1733" y="7"/>
                    <a:pt x="1732" y="7"/>
                    <a:pt x="1732" y="7"/>
                  </a:cubicBezTo>
                  <a:close/>
                  <a:moveTo>
                    <a:pt x="630" y="72"/>
                  </a:moveTo>
                  <a:cubicBezTo>
                    <a:pt x="631" y="72"/>
                    <a:pt x="631" y="72"/>
                    <a:pt x="631" y="72"/>
                  </a:cubicBezTo>
                  <a:cubicBezTo>
                    <a:pt x="630" y="72"/>
                    <a:pt x="630" y="72"/>
                    <a:pt x="630" y="72"/>
                  </a:cubicBezTo>
                  <a:close/>
                  <a:moveTo>
                    <a:pt x="641" y="71"/>
                  </a:moveTo>
                  <a:cubicBezTo>
                    <a:pt x="641" y="72"/>
                    <a:pt x="641" y="72"/>
                    <a:pt x="641" y="72"/>
                  </a:cubicBezTo>
                  <a:cubicBezTo>
                    <a:pt x="641" y="72"/>
                    <a:pt x="641" y="72"/>
                    <a:pt x="641" y="71"/>
                  </a:cubicBezTo>
                  <a:close/>
                  <a:moveTo>
                    <a:pt x="674" y="72"/>
                  </a:moveTo>
                  <a:cubicBezTo>
                    <a:pt x="674" y="72"/>
                    <a:pt x="674" y="72"/>
                    <a:pt x="674" y="72"/>
                  </a:cubicBezTo>
                  <a:cubicBezTo>
                    <a:pt x="674" y="72"/>
                    <a:pt x="674" y="72"/>
                    <a:pt x="674" y="72"/>
                  </a:cubicBezTo>
                  <a:close/>
                  <a:moveTo>
                    <a:pt x="1674" y="72"/>
                  </a:moveTo>
                  <a:cubicBezTo>
                    <a:pt x="1674" y="72"/>
                    <a:pt x="1674" y="72"/>
                    <a:pt x="1674" y="72"/>
                  </a:cubicBezTo>
                  <a:cubicBezTo>
                    <a:pt x="1674" y="72"/>
                    <a:pt x="1674" y="72"/>
                    <a:pt x="1674" y="72"/>
                  </a:cubicBezTo>
                  <a:close/>
                  <a:moveTo>
                    <a:pt x="1358" y="7"/>
                  </a:moveTo>
                  <a:cubicBezTo>
                    <a:pt x="1359" y="8"/>
                    <a:pt x="1359" y="7"/>
                    <a:pt x="1359" y="7"/>
                  </a:cubicBezTo>
                  <a:cubicBezTo>
                    <a:pt x="1359" y="7"/>
                    <a:pt x="1358" y="7"/>
                    <a:pt x="1358" y="7"/>
                  </a:cubicBezTo>
                  <a:close/>
                  <a:moveTo>
                    <a:pt x="675" y="72"/>
                  </a:moveTo>
                  <a:cubicBezTo>
                    <a:pt x="675" y="72"/>
                    <a:pt x="675" y="72"/>
                    <a:pt x="675" y="72"/>
                  </a:cubicBezTo>
                  <a:cubicBezTo>
                    <a:pt x="675" y="72"/>
                    <a:pt x="675" y="72"/>
                    <a:pt x="675" y="72"/>
                  </a:cubicBezTo>
                  <a:close/>
                  <a:moveTo>
                    <a:pt x="1381" y="7"/>
                  </a:moveTo>
                  <a:cubicBezTo>
                    <a:pt x="1381" y="8"/>
                    <a:pt x="1381" y="8"/>
                    <a:pt x="1382" y="8"/>
                  </a:cubicBezTo>
                  <a:cubicBezTo>
                    <a:pt x="1381" y="7"/>
                    <a:pt x="1381" y="7"/>
                    <a:pt x="1381" y="7"/>
                  </a:cubicBezTo>
                  <a:close/>
                  <a:moveTo>
                    <a:pt x="965" y="72"/>
                  </a:moveTo>
                  <a:cubicBezTo>
                    <a:pt x="965" y="72"/>
                    <a:pt x="965" y="72"/>
                    <a:pt x="966" y="73"/>
                  </a:cubicBezTo>
                  <a:cubicBezTo>
                    <a:pt x="966" y="72"/>
                    <a:pt x="966" y="72"/>
                    <a:pt x="965" y="72"/>
                  </a:cubicBezTo>
                  <a:close/>
                  <a:moveTo>
                    <a:pt x="908" y="41"/>
                  </a:moveTo>
                  <a:cubicBezTo>
                    <a:pt x="908" y="42"/>
                    <a:pt x="909" y="42"/>
                    <a:pt x="909" y="42"/>
                  </a:cubicBezTo>
                  <a:cubicBezTo>
                    <a:pt x="909" y="42"/>
                    <a:pt x="909" y="41"/>
                    <a:pt x="908" y="41"/>
                  </a:cubicBezTo>
                  <a:close/>
                  <a:moveTo>
                    <a:pt x="865" y="41"/>
                  </a:moveTo>
                  <a:cubicBezTo>
                    <a:pt x="865" y="41"/>
                    <a:pt x="865" y="41"/>
                    <a:pt x="866" y="41"/>
                  </a:cubicBezTo>
                  <a:cubicBezTo>
                    <a:pt x="866" y="41"/>
                    <a:pt x="866" y="41"/>
                    <a:pt x="865" y="41"/>
                  </a:cubicBezTo>
                  <a:close/>
                  <a:moveTo>
                    <a:pt x="1662" y="73"/>
                  </a:moveTo>
                  <a:cubicBezTo>
                    <a:pt x="1662" y="72"/>
                    <a:pt x="1662" y="72"/>
                    <a:pt x="1662" y="72"/>
                  </a:cubicBezTo>
                  <a:cubicBezTo>
                    <a:pt x="1662" y="72"/>
                    <a:pt x="1662" y="72"/>
                    <a:pt x="1662" y="73"/>
                  </a:cubicBezTo>
                  <a:close/>
                  <a:moveTo>
                    <a:pt x="641" y="72"/>
                  </a:moveTo>
                  <a:cubicBezTo>
                    <a:pt x="641" y="72"/>
                    <a:pt x="640" y="73"/>
                    <a:pt x="640" y="73"/>
                  </a:cubicBezTo>
                  <a:cubicBezTo>
                    <a:pt x="641" y="73"/>
                    <a:pt x="641" y="73"/>
                    <a:pt x="641" y="72"/>
                  </a:cubicBezTo>
                  <a:close/>
                  <a:moveTo>
                    <a:pt x="676" y="73"/>
                  </a:moveTo>
                  <a:cubicBezTo>
                    <a:pt x="676" y="72"/>
                    <a:pt x="676" y="72"/>
                    <a:pt x="675" y="72"/>
                  </a:cubicBezTo>
                  <a:cubicBezTo>
                    <a:pt x="675" y="73"/>
                    <a:pt x="676" y="73"/>
                    <a:pt x="676" y="73"/>
                  </a:cubicBezTo>
                  <a:close/>
                  <a:moveTo>
                    <a:pt x="648" y="55"/>
                  </a:moveTo>
                  <a:cubicBezTo>
                    <a:pt x="647" y="55"/>
                    <a:pt x="647" y="55"/>
                    <a:pt x="647" y="56"/>
                  </a:cubicBezTo>
                  <a:cubicBezTo>
                    <a:pt x="648" y="55"/>
                    <a:pt x="648" y="55"/>
                    <a:pt x="648" y="55"/>
                  </a:cubicBezTo>
                  <a:close/>
                  <a:moveTo>
                    <a:pt x="871" y="42"/>
                  </a:moveTo>
                  <a:cubicBezTo>
                    <a:pt x="871" y="42"/>
                    <a:pt x="871" y="42"/>
                    <a:pt x="871" y="41"/>
                  </a:cubicBezTo>
                  <a:cubicBezTo>
                    <a:pt x="871" y="41"/>
                    <a:pt x="871" y="42"/>
                    <a:pt x="871" y="42"/>
                  </a:cubicBezTo>
                  <a:close/>
                  <a:moveTo>
                    <a:pt x="1674" y="72"/>
                  </a:moveTo>
                  <a:cubicBezTo>
                    <a:pt x="1674" y="73"/>
                    <a:pt x="1674" y="73"/>
                    <a:pt x="1675" y="73"/>
                  </a:cubicBezTo>
                  <a:cubicBezTo>
                    <a:pt x="1675" y="73"/>
                    <a:pt x="1675" y="72"/>
                    <a:pt x="1674" y="72"/>
                  </a:cubicBezTo>
                  <a:close/>
                  <a:moveTo>
                    <a:pt x="1032" y="53"/>
                  </a:moveTo>
                  <a:cubicBezTo>
                    <a:pt x="1032" y="53"/>
                    <a:pt x="1032" y="53"/>
                    <a:pt x="1032" y="52"/>
                  </a:cubicBezTo>
                  <a:cubicBezTo>
                    <a:pt x="1032" y="53"/>
                    <a:pt x="1032" y="53"/>
                    <a:pt x="1032" y="53"/>
                  </a:cubicBezTo>
                  <a:close/>
                  <a:moveTo>
                    <a:pt x="607" y="73"/>
                  </a:moveTo>
                  <a:cubicBezTo>
                    <a:pt x="607" y="73"/>
                    <a:pt x="607" y="73"/>
                    <a:pt x="607" y="73"/>
                  </a:cubicBezTo>
                  <a:cubicBezTo>
                    <a:pt x="607" y="73"/>
                    <a:pt x="607" y="73"/>
                    <a:pt x="607" y="73"/>
                  </a:cubicBezTo>
                  <a:close/>
                  <a:moveTo>
                    <a:pt x="1431" y="8"/>
                  </a:moveTo>
                  <a:cubicBezTo>
                    <a:pt x="1431" y="8"/>
                    <a:pt x="1431" y="8"/>
                    <a:pt x="1431" y="7"/>
                  </a:cubicBezTo>
                  <a:cubicBezTo>
                    <a:pt x="1431" y="7"/>
                    <a:pt x="1431" y="7"/>
                    <a:pt x="1431" y="8"/>
                  </a:cubicBezTo>
                  <a:close/>
                  <a:moveTo>
                    <a:pt x="630" y="73"/>
                  </a:moveTo>
                  <a:cubicBezTo>
                    <a:pt x="630" y="73"/>
                    <a:pt x="630" y="73"/>
                    <a:pt x="630" y="73"/>
                  </a:cubicBezTo>
                  <a:cubicBezTo>
                    <a:pt x="630" y="73"/>
                    <a:pt x="630" y="73"/>
                    <a:pt x="630" y="73"/>
                  </a:cubicBezTo>
                  <a:close/>
                  <a:moveTo>
                    <a:pt x="677" y="73"/>
                  </a:moveTo>
                  <a:cubicBezTo>
                    <a:pt x="677" y="73"/>
                    <a:pt x="676" y="73"/>
                    <a:pt x="676" y="73"/>
                  </a:cubicBezTo>
                  <a:cubicBezTo>
                    <a:pt x="676" y="73"/>
                    <a:pt x="676" y="73"/>
                    <a:pt x="677" y="73"/>
                  </a:cubicBezTo>
                  <a:close/>
                  <a:moveTo>
                    <a:pt x="966" y="73"/>
                  </a:moveTo>
                  <a:cubicBezTo>
                    <a:pt x="966" y="73"/>
                    <a:pt x="966" y="73"/>
                    <a:pt x="966" y="73"/>
                  </a:cubicBezTo>
                  <a:cubicBezTo>
                    <a:pt x="966" y="73"/>
                    <a:pt x="966" y="73"/>
                    <a:pt x="966" y="73"/>
                  </a:cubicBezTo>
                  <a:close/>
                  <a:moveTo>
                    <a:pt x="677" y="73"/>
                  </a:moveTo>
                  <a:cubicBezTo>
                    <a:pt x="677" y="73"/>
                    <a:pt x="677" y="73"/>
                    <a:pt x="677" y="73"/>
                  </a:cubicBezTo>
                  <a:cubicBezTo>
                    <a:pt x="677" y="73"/>
                    <a:pt x="677" y="73"/>
                    <a:pt x="677" y="73"/>
                  </a:cubicBezTo>
                  <a:close/>
                  <a:moveTo>
                    <a:pt x="1451" y="7"/>
                  </a:moveTo>
                  <a:cubicBezTo>
                    <a:pt x="1451" y="8"/>
                    <a:pt x="1451" y="8"/>
                    <a:pt x="1452" y="8"/>
                  </a:cubicBezTo>
                  <a:cubicBezTo>
                    <a:pt x="1451" y="7"/>
                    <a:pt x="1451" y="7"/>
                    <a:pt x="1451" y="7"/>
                  </a:cubicBezTo>
                  <a:close/>
                  <a:moveTo>
                    <a:pt x="1663" y="74"/>
                  </a:moveTo>
                  <a:cubicBezTo>
                    <a:pt x="1663" y="73"/>
                    <a:pt x="1662" y="73"/>
                    <a:pt x="1662" y="73"/>
                  </a:cubicBezTo>
                  <a:cubicBezTo>
                    <a:pt x="1662" y="73"/>
                    <a:pt x="1662" y="73"/>
                    <a:pt x="1663" y="74"/>
                  </a:cubicBezTo>
                  <a:close/>
                  <a:moveTo>
                    <a:pt x="1085" y="48"/>
                  </a:moveTo>
                  <a:cubicBezTo>
                    <a:pt x="1085" y="49"/>
                    <a:pt x="1085" y="49"/>
                    <a:pt x="1085" y="49"/>
                  </a:cubicBezTo>
                  <a:cubicBezTo>
                    <a:pt x="1085" y="49"/>
                    <a:pt x="1085" y="48"/>
                    <a:pt x="1085" y="48"/>
                  </a:cubicBezTo>
                  <a:close/>
                  <a:moveTo>
                    <a:pt x="1542" y="8"/>
                  </a:moveTo>
                  <a:cubicBezTo>
                    <a:pt x="1543" y="8"/>
                    <a:pt x="1543" y="8"/>
                    <a:pt x="1543" y="7"/>
                  </a:cubicBezTo>
                  <a:cubicBezTo>
                    <a:pt x="1543" y="7"/>
                    <a:pt x="1543" y="7"/>
                    <a:pt x="1542" y="8"/>
                  </a:cubicBezTo>
                  <a:close/>
                  <a:moveTo>
                    <a:pt x="1565" y="7"/>
                  </a:moveTo>
                  <a:cubicBezTo>
                    <a:pt x="1565" y="7"/>
                    <a:pt x="1565" y="8"/>
                    <a:pt x="1566" y="7"/>
                  </a:cubicBezTo>
                  <a:cubicBezTo>
                    <a:pt x="1565" y="7"/>
                    <a:pt x="1565" y="7"/>
                    <a:pt x="1565" y="7"/>
                  </a:cubicBezTo>
                  <a:close/>
                  <a:moveTo>
                    <a:pt x="640" y="73"/>
                  </a:moveTo>
                  <a:cubicBezTo>
                    <a:pt x="640" y="73"/>
                    <a:pt x="640" y="74"/>
                    <a:pt x="640" y="74"/>
                  </a:cubicBezTo>
                  <a:cubicBezTo>
                    <a:pt x="640" y="74"/>
                    <a:pt x="640" y="74"/>
                    <a:pt x="640" y="73"/>
                  </a:cubicBezTo>
                  <a:close/>
                  <a:moveTo>
                    <a:pt x="678" y="74"/>
                  </a:moveTo>
                  <a:cubicBezTo>
                    <a:pt x="678" y="73"/>
                    <a:pt x="678" y="73"/>
                    <a:pt x="677" y="73"/>
                  </a:cubicBezTo>
                  <a:cubicBezTo>
                    <a:pt x="678" y="74"/>
                    <a:pt x="678" y="74"/>
                    <a:pt x="678" y="74"/>
                  </a:cubicBezTo>
                  <a:close/>
                  <a:moveTo>
                    <a:pt x="697" y="73"/>
                  </a:moveTo>
                  <a:cubicBezTo>
                    <a:pt x="697" y="74"/>
                    <a:pt x="697" y="74"/>
                    <a:pt x="697" y="74"/>
                  </a:cubicBezTo>
                  <a:cubicBezTo>
                    <a:pt x="697" y="74"/>
                    <a:pt x="697" y="73"/>
                    <a:pt x="697" y="73"/>
                  </a:cubicBezTo>
                  <a:close/>
                  <a:moveTo>
                    <a:pt x="953" y="74"/>
                  </a:moveTo>
                  <a:cubicBezTo>
                    <a:pt x="953" y="74"/>
                    <a:pt x="953" y="73"/>
                    <a:pt x="953" y="73"/>
                  </a:cubicBezTo>
                  <a:cubicBezTo>
                    <a:pt x="953" y="74"/>
                    <a:pt x="953" y="74"/>
                    <a:pt x="953" y="74"/>
                  </a:cubicBezTo>
                  <a:close/>
                  <a:moveTo>
                    <a:pt x="966" y="73"/>
                  </a:moveTo>
                  <a:cubicBezTo>
                    <a:pt x="966" y="74"/>
                    <a:pt x="966" y="74"/>
                    <a:pt x="966" y="74"/>
                  </a:cubicBezTo>
                  <a:cubicBezTo>
                    <a:pt x="966" y="74"/>
                    <a:pt x="966" y="74"/>
                    <a:pt x="966" y="73"/>
                  </a:cubicBezTo>
                  <a:close/>
                  <a:moveTo>
                    <a:pt x="662" y="41"/>
                  </a:moveTo>
                  <a:cubicBezTo>
                    <a:pt x="662" y="41"/>
                    <a:pt x="662" y="41"/>
                    <a:pt x="663" y="41"/>
                  </a:cubicBezTo>
                  <a:cubicBezTo>
                    <a:pt x="662" y="41"/>
                    <a:pt x="662" y="41"/>
                    <a:pt x="662" y="41"/>
                  </a:cubicBezTo>
                  <a:close/>
                  <a:moveTo>
                    <a:pt x="1365" y="73"/>
                  </a:moveTo>
                  <a:cubicBezTo>
                    <a:pt x="1365" y="73"/>
                    <a:pt x="1365" y="73"/>
                    <a:pt x="1365" y="74"/>
                  </a:cubicBezTo>
                  <a:cubicBezTo>
                    <a:pt x="1365" y="74"/>
                    <a:pt x="1365" y="74"/>
                    <a:pt x="1365" y="73"/>
                  </a:cubicBezTo>
                  <a:close/>
                  <a:moveTo>
                    <a:pt x="1710" y="8"/>
                  </a:moveTo>
                  <a:cubicBezTo>
                    <a:pt x="1711" y="8"/>
                    <a:pt x="1711" y="8"/>
                    <a:pt x="1711" y="7"/>
                  </a:cubicBezTo>
                  <a:cubicBezTo>
                    <a:pt x="1711" y="7"/>
                    <a:pt x="1711" y="7"/>
                    <a:pt x="1710" y="8"/>
                  </a:cubicBezTo>
                  <a:close/>
                  <a:moveTo>
                    <a:pt x="679" y="74"/>
                  </a:moveTo>
                  <a:cubicBezTo>
                    <a:pt x="679" y="74"/>
                    <a:pt x="678" y="74"/>
                    <a:pt x="678" y="74"/>
                  </a:cubicBezTo>
                  <a:cubicBezTo>
                    <a:pt x="678" y="74"/>
                    <a:pt x="678" y="74"/>
                    <a:pt x="679" y="74"/>
                  </a:cubicBezTo>
                  <a:close/>
                  <a:moveTo>
                    <a:pt x="1733" y="7"/>
                  </a:moveTo>
                  <a:cubicBezTo>
                    <a:pt x="1733" y="7"/>
                    <a:pt x="1734" y="8"/>
                    <a:pt x="1734" y="7"/>
                  </a:cubicBezTo>
                  <a:cubicBezTo>
                    <a:pt x="1734" y="7"/>
                    <a:pt x="1733" y="7"/>
                    <a:pt x="1733" y="7"/>
                  </a:cubicBezTo>
                  <a:close/>
                  <a:moveTo>
                    <a:pt x="1667" y="58"/>
                  </a:moveTo>
                  <a:cubicBezTo>
                    <a:pt x="1666" y="58"/>
                    <a:pt x="1666" y="58"/>
                    <a:pt x="1666" y="58"/>
                  </a:cubicBezTo>
                  <a:cubicBezTo>
                    <a:pt x="1666" y="58"/>
                    <a:pt x="1666" y="58"/>
                    <a:pt x="1667" y="58"/>
                  </a:cubicBezTo>
                  <a:close/>
                  <a:moveTo>
                    <a:pt x="1663" y="74"/>
                  </a:moveTo>
                  <a:cubicBezTo>
                    <a:pt x="1663" y="74"/>
                    <a:pt x="1663" y="74"/>
                    <a:pt x="1662" y="74"/>
                  </a:cubicBezTo>
                  <a:cubicBezTo>
                    <a:pt x="1662" y="74"/>
                    <a:pt x="1663" y="74"/>
                    <a:pt x="1663" y="74"/>
                  </a:cubicBezTo>
                  <a:close/>
                  <a:moveTo>
                    <a:pt x="1717" y="74"/>
                  </a:moveTo>
                  <a:cubicBezTo>
                    <a:pt x="1717" y="74"/>
                    <a:pt x="1717" y="74"/>
                    <a:pt x="1717" y="74"/>
                  </a:cubicBezTo>
                  <a:cubicBezTo>
                    <a:pt x="1717" y="74"/>
                    <a:pt x="1717" y="74"/>
                    <a:pt x="1717" y="74"/>
                  </a:cubicBezTo>
                  <a:close/>
                  <a:moveTo>
                    <a:pt x="640" y="74"/>
                  </a:moveTo>
                  <a:cubicBezTo>
                    <a:pt x="640" y="74"/>
                    <a:pt x="640" y="74"/>
                    <a:pt x="640" y="75"/>
                  </a:cubicBezTo>
                  <a:cubicBezTo>
                    <a:pt x="640" y="75"/>
                    <a:pt x="640" y="74"/>
                    <a:pt x="640" y="74"/>
                  </a:cubicBezTo>
                  <a:close/>
                  <a:moveTo>
                    <a:pt x="679" y="74"/>
                  </a:moveTo>
                  <a:cubicBezTo>
                    <a:pt x="679" y="74"/>
                    <a:pt x="679" y="74"/>
                    <a:pt x="679" y="74"/>
                  </a:cubicBezTo>
                  <a:cubicBezTo>
                    <a:pt x="679" y="74"/>
                    <a:pt x="679" y="74"/>
                    <a:pt x="679" y="74"/>
                  </a:cubicBezTo>
                  <a:close/>
                  <a:moveTo>
                    <a:pt x="697" y="74"/>
                  </a:moveTo>
                  <a:cubicBezTo>
                    <a:pt x="697" y="74"/>
                    <a:pt x="697" y="75"/>
                    <a:pt x="698" y="75"/>
                  </a:cubicBezTo>
                  <a:cubicBezTo>
                    <a:pt x="698" y="74"/>
                    <a:pt x="697" y="74"/>
                    <a:pt x="697" y="74"/>
                  </a:cubicBezTo>
                  <a:close/>
                  <a:moveTo>
                    <a:pt x="582" y="8"/>
                  </a:moveTo>
                  <a:cubicBezTo>
                    <a:pt x="582" y="8"/>
                    <a:pt x="582" y="8"/>
                    <a:pt x="583" y="8"/>
                  </a:cubicBezTo>
                  <a:cubicBezTo>
                    <a:pt x="582" y="8"/>
                    <a:pt x="582" y="8"/>
                    <a:pt x="582" y="8"/>
                  </a:cubicBezTo>
                  <a:close/>
                  <a:moveTo>
                    <a:pt x="1675" y="74"/>
                  </a:moveTo>
                  <a:cubicBezTo>
                    <a:pt x="1675" y="74"/>
                    <a:pt x="1675" y="75"/>
                    <a:pt x="1675" y="75"/>
                  </a:cubicBezTo>
                  <a:cubicBezTo>
                    <a:pt x="1675" y="74"/>
                    <a:pt x="1675" y="74"/>
                    <a:pt x="1675" y="74"/>
                  </a:cubicBezTo>
                  <a:close/>
                  <a:moveTo>
                    <a:pt x="608" y="75"/>
                  </a:moveTo>
                  <a:cubicBezTo>
                    <a:pt x="608" y="75"/>
                    <a:pt x="608" y="74"/>
                    <a:pt x="608" y="74"/>
                  </a:cubicBezTo>
                  <a:cubicBezTo>
                    <a:pt x="608" y="75"/>
                    <a:pt x="608" y="75"/>
                    <a:pt x="608" y="75"/>
                  </a:cubicBezTo>
                  <a:close/>
                  <a:moveTo>
                    <a:pt x="629" y="75"/>
                  </a:moveTo>
                  <a:cubicBezTo>
                    <a:pt x="630" y="75"/>
                    <a:pt x="630" y="75"/>
                    <a:pt x="630" y="74"/>
                  </a:cubicBezTo>
                  <a:cubicBezTo>
                    <a:pt x="629" y="75"/>
                    <a:pt x="629" y="75"/>
                    <a:pt x="629" y="75"/>
                  </a:cubicBezTo>
                  <a:close/>
                  <a:moveTo>
                    <a:pt x="680" y="75"/>
                  </a:moveTo>
                  <a:cubicBezTo>
                    <a:pt x="680" y="74"/>
                    <a:pt x="680" y="74"/>
                    <a:pt x="679" y="74"/>
                  </a:cubicBezTo>
                  <a:cubicBezTo>
                    <a:pt x="680" y="75"/>
                    <a:pt x="680" y="75"/>
                    <a:pt x="680" y="75"/>
                  </a:cubicBezTo>
                  <a:close/>
                  <a:moveTo>
                    <a:pt x="954" y="75"/>
                  </a:moveTo>
                  <a:cubicBezTo>
                    <a:pt x="954" y="75"/>
                    <a:pt x="954" y="74"/>
                    <a:pt x="953" y="74"/>
                  </a:cubicBezTo>
                  <a:cubicBezTo>
                    <a:pt x="953" y="75"/>
                    <a:pt x="953" y="75"/>
                    <a:pt x="954" y="75"/>
                  </a:cubicBezTo>
                  <a:close/>
                  <a:moveTo>
                    <a:pt x="966" y="74"/>
                  </a:moveTo>
                  <a:cubicBezTo>
                    <a:pt x="966" y="75"/>
                    <a:pt x="966" y="75"/>
                    <a:pt x="967" y="75"/>
                  </a:cubicBezTo>
                  <a:cubicBezTo>
                    <a:pt x="967" y="75"/>
                    <a:pt x="967" y="75"/>
                    <a:pt x="966" y="74"/>
                  </a:cubicBezTo>
                  <a:close/>
                  <a:moveTo>
                    <a:pt x="595" y="41"/>
                  </a:moveTo>
                  <a:cubicBezTo>
                    <a:pt x="595" y="41"/>
                    <a:pt x="595" y="41"/>
                    <a:pt x="595" y="41"/>
                  </a:cubicBezTo>
                  <a:cubicBezTo>
                    <a:pt x="595" y="41"/>
                    <a:pt x="595" y="41"/>
                    <a:pt x="595" y="41"/>
                  </a:cubicBezTo>
                  <a:close/>
                  <a:moveTo>
                    <a:pt x="1663" y="75"/>
                  </a:moveTo>
                  <a:cubicBezTo>
                    <a:pt x="1663" y="75"/>
                    <a:pt x="1663" y="75"/>
                    <a:pt x="1663" y="74"/>
                  </a:cubicBezTo>
                  <a:cubicBezTo>
                    <a:pt x="1663" y="75"/>
                    <a:pt x="1663" y="75"/>
                    <a:pt x="1663" y="75"/>
                  </a:cubicBezTo>
                  <a:close/>
                  <a:moveTo>
                    <a:pt x="619" y="75"/>
                  </a:moveTo>
                  <a:cubicBezTo>
                    <a:pt x="619" y="75"/>
                    <a:pt x="619" y="75"/>
                    <a:pt x="619" y="76"/>
                  </a:cubicBezTo>
                  <a:cubicBezTo>
                    <a:pt x="619" y="75"/>
                    <a:pt x="619" y="75"/>
                    <a:pt x="619" y="75"/>
                  </a:cubicBezTo>
                  <a:close/>
                  <a:moveTo>
                    <a:pt x="681" y="75"/>
                  </a:moveTo>
                  <a:cubicBezTo>
                    <a:pt x="681" y="75"/>
                    <a:pt x="680" y="75"/>
                    <a:pt x="680" y="75"/>
                  </a:cubicBezTo>
                  <a:cubicBezTo>
                    <a:pt x="680" y="75"/>
                    <a:pt x="681" y="75"/>
                    <a:pt x="681" y="75"/>
                  </a:cubicBezTo>
                  <a:close/>
                  <a:moveTo>
                    <a:pt x="1357" y="8"/>
                  </a:moveTo>
                  <a:cubicBezTo>
                    <a:pt x="1357" y="8"/>
                    <a:pt x="1358" y="8"/>
                    <a:pt x="1358" y="8"/>
                  </a:cubicBezTo>
                  <a:cubicBezTo>
                    <a:pt x="1358" y="8"/>
                    <a:pt x="1357" y="8"/>
                    <a:pt x="1357" y="8"/>
                  </a:cubicBezTo>
                  <a:close/>
                  <a:moveTo>
                    <a:pt x="799" y="41"/>
                  </a:moveTo>
                  <a:cubicBezTo>
                    <a:pt x="799" y="42"/>
                    <a:pt x="799" y="42"/>
                    <a:pt x="799" y="42"/>
                  </a:cubicBezTo>
                  <a:cubicBezTo>
                    <a:pt x="799" y="42"/>
                    <a:pt x="799" y="41"/>
                    <a:pt x="799" y="41"/>
                  </a:cubicBezTo>
                  <a:close/>
                  <a:moveTo>
                    <a:pt x="1382" y="8"/>
                  </a:moveTo>
                  <a:cubicBezTo>
                    <a:pt x="1382" y="8"/>
                    <a:pt x="1382" y="8"/>
                    <a:pt x="1383" y="8"/>
                  </a:cubicBezTo>
                  <a:cubicBezTo>
                    <a:pt x="1382" y="8"/>
                    <a:pt x="1382" y="8"/>
                    <a:pt x="1382" y="8"/>
                  </a:cubicBezTo>
                  <a:close/>
                  <a:moveTo>
                    <a:pt x="1675" y="75"/>
                  </a:moveTo>
                  <a:cubicBezTo>
                    <a:pt x="1675" y="75"/>
                    <a:pt x="1675" y="75"/>
                    <a:pt x="1676" y="75"/>
                  </a:cubicBezTo>
                  <a:cubicBezTo>
                    <a:pt x="1676" y="75"/>
                    <a:pt x="1676" y="75"/>
                    <a:pt x="1675" y="75"/>
                  </a:cubicBezTo>
                  <a:close/>
                  <a:moveTo>
                    <a:pt x="640" y="75"/>
                  </a:moveTo>
                  <a:cubicBezTo>
                    <a:pt x="639" y="75"/>
                    <a:pt x="639" y="75"/>
                    <a:pt x="639" y="76"/>
                  </a:cubicBezTo>
                  <a:cubicBezTo>
                    <a:pt x="640" y="76"/>
                    <a:pt x="640" y="75"/>
                    <a:pt x="640" y="75"/>
                  </a:cubicBezTo>
                  <a:close/>
                  <a:moveTo>
                    <a:pt x="682" y="75"/>
                  </a:moveTo>
                  <a:cubicBezTo>
                    <a:pt x="681" y="75"/>
                    <a:pt x="681" y="75"/>
                    <a:pt x="681" y="75"/>
                  </a:cubicBezTo>
                  <a:cubicBezTo>
                    <a:pt x="681" y="75"/>
                    <a:pt x="681" y="75"/>
                    <a:pt x="682" y="75"/>
                  </a:cubicBezTo>
                  <a:close/>
                  <a:moveTo>
                    <a:pt x="1502" y="8"/>
                  </a:moveTo>
                  <a:cubicBezTo>
                    <a:pt x="1503" y="8"/>
                    <a:pt x="1503" y="8"/>
                    <a:pt x="1503" y="8"/>
                  </a:cubicBezTo>
                  <a:cubicBezTo>
                    <a:pt x="1503" y="8"/>
                    <a:pt x="1502" y="8"/>
                    <a:pt x="1502" y="8"/>
                  </a:cubicBezTo>
                  <a:close/>
                  <a:moveTo>
                    <a:pt x="967" y="75"/>
                  </a:moveTo>
                  <a:cubicBezTo>
                    <a:pt x="967" y="75"/>
                    <a:pt x="967" y="76"/>
                    <a:pt x="967" y="76"/>
                  </a:cubicBezTo>
                  <a:cubicBezTo>
                    <a:pt x="967" y="75"/>
                    <a:pt x="967" y="75"/>
                    <a:pt x="967" y="75"/>
                  </a:cubicBezTo>
                  <a:close/>
                  <a:moveTo>
                    <a:pt x="1370" y="58"/>
                  </a:moveTo>
                  <a:cubicBezTo>
                    <a:pt x="1370" y="58"/>
                    <a:pt x="1371" y="58"/>
                    <a:pt x="1371" y="58"/>
                  </a:cubicBezTo>
                  <a:cubicBezTo>
                    <a:pt x="1370" y="58"/>
                    <a:pt x="1370" y="58"/>
                    <a:pt x="1370" y="58"/>
                  </a:cubicBezTo>
                  <a:close/>
                  <a:moveTo>
                    <a:pt x="875" y="48"/>
                  </a:moveTo>
                  <a:cubicBezTo>
                    <a:pt x="875" y="48"/>
                    <a:pt x="875" y="49"/>
                    <a:pt x="875" y="49"/>
                  </a:cubicBezTo>
                  <a:cubicBezTo>
                    <a:pt x="875" y="49"/>
                    <a:pt x="875" y="49"/>
                    <a:pt x="875" y="48"/>
                  </a:cubicBezTo>
                  <a:close/>
                  <a:moveTo>
                    <a:pt x="1033" y="49"/>
                  </a:moveTo>
                  <a:cubicBezTo>
                    <a:pt x="1034" y="49"/>
                    <a:pt x="1034" y="49"/>
                    <a:pt x="1034" y="49"/>
                  </a:cubicBezTo>
                  <a:cubicBezTo>
                    <a:pt x="1034" y="49"/>
                    <a:pt x="1033" y="49"/>
                    <a:pt x="1033" y="49"/>
                  </a:cubicBezTo>
                  <a:close/>
                  <a:moveTo>
                    <a:pt x="832" y="48"/>
                  </a:moveTo>
                  <a:cubicBezTo>
                    <a:pt x="832" y="48"/>
                    <a:pt x="832" y="49"/>
                    <a:pt x="832" y="49"/>
                  </a:cubicBezTo>
                  <a:cubicBezTo>
                    <a:pt x="832" y="49"/>
                    <a:pt x="832" y="49"/>
                    <a:pt x="832" y="48"/>
                  </a:cubicBezTo>
                  <a:close/>
                  <a:moveTo>
                    <a:pt x="608" y="76"/>
                  </a:moveTo>
                  <a:cubicBezTo>
                    <a:pt x="608" y="76"/>
                    <a:pt x="608" y="75"/>
                    <a:pt x="608" y="75"/>
                  </a:cubicBezTo>
                  <a:cubicBezTo>
                    <a:pt x="608" y="76"/>
                    <a:pt x="608" y="76"/>
                    <a:pt x="608" y="76"/>
                  </a:cubicBezTo>
                  <a:close/>
                  <a:moveTo>
                    <a:pt x="629" y="76"/>
                  </a:moveTo>
                  <a:cubicBezTo>
                    <a:pt x="629" y="76"/>
                    <a:pt x="629" y="76"/>
                    <a:pt x="629" y="75"/>
                  </a:cubicBezTo>
                  <a:cubicBezTo>
                    <a:pt x="629" y="76"/>
                    <a:pt x="629" y="76"/>
                    <a:pt x="629" y="76"/>
                  </a:cubicBezTo>
                  <a:close/>
                  <a:moveTo>
                    <a:pt x="752" y="49"/>
                  </a:moveTo>
                  <a:cubicBezTo>
                    <a:pt x="752" y="49"/>
                    <a:pt x="752" y="49"/>
                    <a:pt x="752" y="48"/>
                  </a:cubicBezTo>
                  <a:cubicBezTo>
                    <a:pt x="752" y="48"/>
                    <a:pt x="752" y="49"/>
                    <a:pt x="752" y="49"/>
                  </a:cubicBezTo>
                  <a:close/>
                  <a:moveTo>
                    <a:pt x="954" y="76"/>
                  </a:moveTo>
                  <a:cubicBezTo>
                    <a:pt x="954" y="76"/>
                    <a:pt x="954" y="75"/>
                    <a:pt x="954" y="75"/>
                  </a:cubicBezTo>
                  <a:cubicBezTo>
                    <a:pt x="954" y="76"/>
                    <a:pt x="954" y="76"/>
                    <a:pt x="954" y="76"/>
                  </a:cubicBezTo>
                  <a:close/>
                  <a:moveTo>
                    <a:pt x="1664" y="76"/>
                  </a:moveTo>
                  <a:cubicBezTo>
                    <a:pt x="1664" y="76"/>
                    <a:pt x="1664" y="75"/>
                    <a:pt x="1663" y="75"/>
                  </a:cubicBezTo>
                  <a:cubicBezTo>
                    <a:pt x="1663" y="76"/>
                    <a:pt x="1663" y="76"/>
                    <a:pt x="1664" y="76"/>
                  </a:cubicBezTo>
                  <a:close/>
                  <a:moveTo>
                    <a:pt x="1676" y="75"/>
                  </a:moveTo>
                  <a:cubicBezTo>
                    <a:pt x="1676" y="76"/>
                    <a:pt x="1676" y="76"/>
                    <a:pt x="1676" y="76"/>
                  </a:cubicBezTo>
                  <a:cubicBezTo>
                    <a:pt x="1676" y="76"/>
                    <a:pt x="1676" y="76"/>
                    <a:pt x="1676" y="75"/>
                  </a:cubicBezTo>
                  <a:close/>
                  <a:moveTo>
                    <a:pt x="619" y="76"/>
                  </a:moveTo>
                  <a:cubicBezTo>
                    <a:pt x="619" y="76"/>
                    <a:pt x="619" y="76"/>
                    <a:pt x="619" y="77"/>
                  </a:cubicBezTo>
                  <a:cubicBezTo>
                    <a:pt x="619" y="76"/>
                    <a:pt x="619" y="76"/>
                    <a:pt x="619" y="76"/>
                  </a:cubicBezTo>
                  <a:close/>
                  <a:moveTo>
                    <a:pt x="639" y="76"/>
                  </a:moveTo>
                  <a:cubicBezTo>
                    <a:pt x="639" y="76"/>
                    <a:pt x="639" y="76"/>
                    <a:pt x="639" y="76"/>
                  </a:cubicBezTo>
                  <a:cubicBezTo>
                    <a:pt x="639" y="76"/>
                    <a:pt x="639" y="76"/>
                    <a:pt x="639" y="76"/>
                  </a:cubicBezTo>
                  <a:close/>
                  <a:moveTo>
                    <a:pt x="683" y="76"/>
                  </a:moveTo>
                  <a:cubicBezTo>
                    <a:pt x="682" y="76"/>
                    <a:pt x="682" y="76"/>
                    <a:pt x="682" y="76"/>
                  </a:cubicBezTo>
                  <a:cubicBezTo>
                    <a:pt x="682" y="76"/>
                    <a:pt x="682" y="76"/>
                    <a:pt x="683" y="76"/>
                  </a:cubicBezTo>
                  <a:close/>
                  <a:moveTo>
                    <a:pt x="967" y="76"/>
                  </a:moveTo>
                  <a:cubicBezTo>
                    <a:pt x="967" y="76"/>
                    <a:pt x="967" y="76"/>
                    <a:pt x="967" y="76"/>
                  </a:cubicBezTo>
                  <a:cubicBezTo>
                    <a:pt x="967" y="76"/>
                    <a:pt x="967" y="76"/>
                    <a:pt x="967" y="76"/>
                  </a:cubicBezTo>
                  <a:close/>
                  <a:moveTo>
                    <a:pt x="1349" y="76"/>
                  </a:moveTo>
                  <a:cubicBezTo>
                    <a:pt x="1349" y="76"/>
                    <a:pt x="1350" y="76"/>
                    <a:pt x="1350" y="76"/>
                  </a:cubicBezTo>
                  <a:cubicBezTo>
                    <a:pt x="1349" y="76"/>
                    <a:pt x="1349" y="76"/>
                    <a:pt x="1349" y="76"/>
                  </a:cubicBezTo>
                  <a:close/>
                  <a:moveTo>
                    <a:pt x="1541" y="8"/>
                  </a:moveTo>
                  <a:cubicBezTo>
                    <a:pt x="1542" y="8"/>
                    <a:pt x="1542" y="8"/>
                    <a:pt x="1542" y="8"/>
                  </a:cubicBezTo>
                  <a:cubicBezTo>
                    <a:pt x="1542" y="8"/>
                    <a:pt x="1542" y="8"/>
                    <a:pt x="1541" y="8"/>
                  </a:cubicBezTo>
                  <a:close/>
                  <a:moveTo>
                    <a:pt x="609" y="77"/>
                  </a:moveTo>
                  <a:cubicBezTo>
                    <a:pt x="609" y="77"/>
                    <a:pt x="609" y="76"/>
                    <a:pt x="608" y="76"/>
                  </a:cubicBezTo>
                  <a:cubicBezTo>
                    <a:pt x="608" y="76"/>
                    <a:pt x="608" y="77"/>
                    <a:pt x="609" y="77"/>
                  </a:cubicBezTo>
                  <a:close/>
                  <a:moveTo>
                    <a:pt x="1566" y="8"/>
                  </a:moveTo>
                  <a:cubicBezTo>
                    <a:pt x="1566" y="8"/>
                    <a:pt x="1566" y="8"/>
                    <a:pt x="1567" y="8"/>
                  </a:cubicBezTo>
                  <a:cubicBezTo>
                    <a:pt x="1567" y="8"/>
                    <a:pt x="1566" y="8"/>
                    <a:pt x="1566" y="8"/>
                  </a:cubicBezTo>
                  <a:close/>
                  <a:moveTo>
                    <a:pt x="683" y="76"/>
                  </a:moveTo>
                  <a:cubicBezTo>
                    <a:pt x="683" y="76"/>
                    <a:pt x="683" y="76"/>
                    <a:pt x="683" y="76"/>
                  </a:cubicBezTo>
                  <a:cubicBezTo>
                    <a:pt x="683" y="76"/>
                    <a:pt x="683" y="76"/>
                    <a:pt x="683" y="76"/>
                  </a:cubicBezTo>
                  <a:close/>
                  <a:moveTo>
                    <a:pt x="698" y="76"/>
                  </a:moveTo>
                  <a:cubicBezTo>
                    <a:pt x="698" y="76"/>
                    <a:pt x="698" y="77"/>
                    <a:pt x="699" y="77"/>
                  </a:cubicBezTo>
                  <a:cubicBezTo>
                    <a:pt x="699" y="77"/>
                    <a:pt x="699" y="76"/>
                    <a:pt x="698" y="76"/>
                  </a:cubicBezTo>
                  <a:close/>
                  <a:moveTo>
                    <a:pt x="1709" y="8"/>
                  </a:moveTo>
                  <a:cubicBezTo>
                    <a:pt x="1710" y="8"/>
                    <a:pt x="1710" y="8"/>
                    <a:pt x="1710" y="8"/>
                  </a:cubicBezTo>
                  <a:cubicBezTo>
                    <a:pt x="1710" y="8"/>
                    <a:pt x="1710" y="8"/>
                    <a:pt x="1709" y="8"/>
                  </a:cubicBezTo>
                  <a:close/>
                  <a:moveTo>
                    <a:pt x="563" y="48"/>
                  </a:moveTo>
                  <a:cubicBezTo>
                    <a:pt x="563" y="49"/>
                    <a:pt x="564" y="49"/>
                    <a:pt x="564" y="49"/>
                  </a:cubicBezTo>
                  <a:cubicBezTo>
                    <a:pt x="564" y="48"/>
                    <a:pt x="563" y="48"/>
                    <a:pt x="563" y="48"/>
                  </a:cubicBezTo>
                  <a:close/>
                  <a:moveTo>
                    <a:pt x="1734" y="8"/>
                  </a:moveTo>
                  <a:cubicBezTo>
                    <a:pt x="1734" y="8"/>
                    <a:pt x="1735" y="8"/>
                    <a:pt x="1735" y="8"/>
                  </a:cubicBezTo>
                  <a:cubicBezTo>
                    <a:pt x="1735" y="8"/>
                    <a:pt x="1734" y="8"/>
                    <a:pt x="1734" y="8"/>
                  </a:cubicBezTo>
                  <a:close/>
                  <a:moveTo>
                    <a:pt x="1664" y="77"/>
                  </a:moveTo>
                  <a:cubicBezTo>
                    <a:pt x="1664" y="76"/>
                    <a:pt x="1664" y="76"/>
                    <a:pt x="1664" y="76"/>
                  </a:cubicBezTo>
                  <a:cubicBezTo>
                    <a:pt x="1664" y="76"/>
                    <a:pt x="1664" y="77"/>
                    <a:pt x="1664" y="77"/>
                  </a:cubicBezTo>
                  <a:close/>
                  <a:moveTo>
                    <a:pt x="1676" y="76"/>
                  </a:moveTo>
                  <a:cubicBezTo>
                    <a:pt x="1676" y="76"/>
                    <a:pt x="1676" y="77"/>
                    <a:pt x="1676" y="77"/>
                  </a:cubicBezTo>
                  <a:cubicBezTo>
                    <a:pt x="1676" y="77"/>
                    <a:pt x="1676" y="76"/>
                    <a:pt x="1676" y="76"/>
                  </a:cubicBezTo>
                  <a:close/>
                  <a:moveTo>
                    <a:pt x="602" y="59"/>
                  </a:moveTo>
                  <a:cubicBezTo>
                    <a:pt x="602" y="59"/>
                    <a:pt x="602" y="58"/>
                    <a:pt x="602" y="58"/>
                  </a:cubicBezTo>
                  <a:cubicBezTo>
                    <a:pt x="601" y="59"/>
                    <a:pt x="602" y="59"/>
                    <a:pt x="602" y="59"/>
                  </a:cubicBezTo>
                  <a:close/>
                  <a:moveTo>
                    <a:pt x="965" y="40"/>
                  </a:moveTo>
                  <a:cubicBezTo>
                    <a:pt x="965" y="40"/>
                    <a:pt x="965" y="41"/>
                    <a:pt x="965" y="41"/>
                  </a:cubicBezTo>
                  <a:cubicBezTo>
                    <a:pt x="965" y="41"/>
                    <a:pt x="965" y="40"/>
                    <a:pt x="965" y="40"/>
                  </a:cubicBezTo>
                  <a:close/>
                  <a:moveTo>
                    <a:pt x="619" y="77"/>
                  </a:moveTo>
                  <a:cubicBezTo>
                    <a:pt x="619" y="77"/>
                    <a:pt x="619" y="77"/>
                    <a:pt x="620" y="78"/>
                  </a:cubicBezTo>
                  <a:cubicBezTo>
                    <a:pt x="620" y="77"/>
                    <a:pt x="620" y="77"/>
                    <a:pt x="619" y="77"/>
                  </a:cubicBezTo>
                  <a:close/>
                  <a:moveTo>
                    <a:pt x="639" y="77"/>
                  </a:moveTo>
                  <a:cubicBezTo>
                    <a:pt x="639" y="77"/>
                    <a:pt x="639" y="77"/>
                    <a:pt x="639" y="77"/>
                  </a:cubicBezTo>
                  <a:cubicBezTo>
                    <a:pt x="639" y="77"/>
                    <a:pt x="639" y="77"/>
                    <a:pt x="639" y="77"/>
                  </a:cubicBezTo>
                  <a:close/>
                  <a:moveTo>
                    <a:pt x="684" y="77"/>
                  </a:moveTo>
                  <a:cubicBezTo>
                    <a:pt x="684" y="77"/>
                    <a:pt x="684" y="77"/>
                    <a:pt x="684" y="77"/>
                  </a:cubicBezTo>
                  <a:cubicBezTo>
                    <a:pt x="684" y="77"/>
                    <a:pt x="684" y="77"/>
                    <a:pt x="684" y="77"/>
                  </a:cubicBezTo>
                  <a:close/>
                  <a:moveTo>
                    <a:pt x="553" y="8"/>
                  </a:moveTo>
                  <a:cubicBezTo>
                    <a:pt x="553" y="8"/>
                    <a:pt x="553" y="8"/>
                    <a:pt x="553" y="8"/>
                  </a:cubicBezTo>
                  <a:cubicBezTo>
                    <a:pt x="553" y="8"/>
                    <a:pt x="553" y="8"/>
                    <a:pt x="553" y="8"/>
                  </a:cubicBezTo>
                  <a:close/>
                  <a:moveTo>
                    <a:pt x="968" y="77"/>
                  </a:moveTo>
                  <a:cubicBezTo>
                    <a:pt x="968" y="77"/>
                    <a:pt x="968" y="77"/>
                    <a:pt x="968" y="78"/>
                  </a:cubicBezTo>
                  <a:cubicBezTo>
                    <a:pt x="968" y="77"/>
                    <a:pt x="968" y="77"/>
                    <a:pt x="968" y="77"/>
                  </a:cubicBezTo>
                  <a:close/>
                  <a:moveTo>
                    <a:pt x="635" y="59"/>
                  </a:moveTo>
                  <a:cubicBezTo>
                    <a:pt x="636" y="59"/>
                    <a:pt x="636" y="59"/>
                    <a:pt x="636" y="58"/>
                  </a:cubicBezTo>
                  <a:cubicBezTo>
                    <a:pt x="635" y="59"/>
                    <a:pt x="635" y="59"/>
                    <a:pt x="635" y="59"/>
                  </a:cubicBezTo>
                  <a:close/>
                  <a:moveTo>
                    <a:pt x="1533" y="77"/>
                  </a:moveTo>
                  <a:cubicBezTo>
                    <a:pt x="1533" y="77"/>
                    <a:pt x="1533" y="77"/>
                    <a:pt x="1533" y="77"/>
                  </a:cubicBezTo>
                  <a:cubicBezTo>
                    <a:pt x="1533" y="77"/>
                    <a:pt x="1533" y="77"/>
                    <a:pt x="1533" y="77"/>
                  </a:cubicBezTo>
                  <a:close/>
                  <a:moveTo>
                    <a:pt x="1664" y="77"/>
                  </a:moveTo>
                  <a:cubicBezTo>
                    <a:pt x="1664" y="77"/>
                    <a:pt x="1664" y="77"/>
                    <a:pt x="1664" y="77"/>
                  </a:cubicBezTo>
                  <a:cubicBezTo>
                    <a:pt x="1664" y="77"/>
                    <a:pt x="1664" y="77"/>
                    <a:pt x="1664" y="77"/>
                  </a:cubicBezTo>
                  <a:close/>
                  <a:moveTo>
                    <a:pt x="1676" y="77"/>
                  </a:moveTo>
                  <a:cubicBezTo>
                    <a:pt x="1676" y="77"/>
                    <a:pt x="1676" y="77"/>
                    <a:pt x="1677" y="78"/>
                  </a:cubicBezTo>
                  <a:cubicBezTo>
                    <a:pt x="1677" y="77"/>
                    <a:pt x="1677" y="77"/>
                    <a:pt x="1676" y="77"/>
                  </a:cubicBezTo>
                  <a:close/>
                  <a:moveTo>
                    <a:pt x="1701" y="77"/>
                  </a:moveTo>
                  <a:cubicBezTo>
                    <a:pt x="1701" y="77"/>
                    <a:pt x="1701" y="77"/>
                    <a:pt x="1701" y="77"/>
                  </a:cubicBezTo>
                  <a:cubicBezTo>
                    <a:pt x="1701" y="77"/>
                    <a:pt x="1701" y="77"/>
                    <a:pt x="1701" y="77"/>
                  </a:cubicBezTo>
                  <a:close/>
                  <a:moveTo>
                    <a:pt x="609" y="78"/>
                  </a:moveTo>
                  <a:cubicBezTo>
                    <a:pt x="609" y="78"/>
                    <a:pt x="609" y="77"/>
                    <a:pt x="609" y="77"/>
                  </a:cubicBezTo>
                  <a:cubicBezTo>
                    <a:pt x="609" y="77"/>
                    <a:pt x="609" y="78"/>
                    <a:pt x="609" y="78"/>
                  </a:cubicBezTo>
                  <a:close/>
                  <a:moveTo>
                    <a:pt x="628" y="78"/>
                  </a:moveTo>
                  <a:cubicBezTo>
                    <a:pt x="629" y="78"/>
                    <a:pt x="629" y="77"/>
                    <a:pt x="629" y="77"/>
                  </a:cubicBezTo>
                  <a:cubicBezTo>
                    <a:pt x="628" y="77"/>
                    <a:pt x="628" y="78"/>
                    <a:pt x="628" y="78"/>
                  </a:cubicBezTo>
                  <a:close/>
                  <a:moveTo>
                    <a:pt x="955" y="78"/>
                  </a:moveTo>
                  <a:cubicBezTo>
                    <a:pt x="955" y="78"/>
                    <a:pt x="955" y="77"/>
                    <a:pt x="954" y="77"/>
                  </a:cubicBezTo>
                  <a:cubicBezTo>
                    <a:pt x="954" y="77"/>
                    <a:pt x="954" y="78"/>
                    <a:pt x="955" y="78"/>
                  </a:cubicBezTo>
                  <a:close/>
                  <a:moveTo>
                    <a:pt x="1348" y="78"/>
                  </a:moveTo>
                  <a:cubicBezTo>
                    <a:pt x="1348" y="78"/>
                    <a:pt x="1349" y="77"/>
                    <a:pt x="1349" y="77"/>
                  </a:cubicBezTo>
                  <a:cubicBezTo>
                    <a:pt x="1348" y="77"/>
                    <a:pt x="1348" y="78"/>
                    <a:pt x="1348" y="78"/>
                  </a:cubicBezTo>
                  <a:close/>
                  <a:moveTo>
                    <a:pt x="646" y="58"/>
                  </a:moveTo>
                  <a:cubicBezTo>
                    <a:pt x="646" y="58"/>
                    <a:pt x="646" y="59"/>
                    <a:pt x="646" y="59"/>
                  </a:cubicBezTo>
                  <a:cubicBezTo>
                    <a:pt x="646" y="59"/>
                    <a:pt x="646" y="59"/>
                    <a:pt x="646" y="58"/>
                  </a:cubicBezTo>
                  <a:close/>
                  <a:moveTo>
                    <a:pt x="639" y="77"/>
                  </a:moveTo>
                  <a:cubicBezTo>
                    <a:pt x="638" y="78"/>
                    <a:pt x="638" y="78"/>
                    <a:pt x="638" y="78"/>
                  </a:cubicBezTo>
                  <a:cubicBezTo>
                    <a:pt x="639" y="78"/>
                    <a:pt x="639" y="78"/>
                    <a:pt x="639" y="77"/>
                  </a:cubicBezTo>
                  <a:close/>
                  <a:moveTo>
                    <a:pt x="570" y="52"/>
                  </a:moveTo>
                  <a:cubicBezTo>
                    <a:pt x="571" y="53"/>
                    <a:pt x="571" y="53"/>
                    <a:pt x="571" y="53"/>
                  </a:cubicBezTo>
                  <a:cubicBezTo>
                    <a:pt x="571" y="53"/>
                    <a:pt x="571" y="52"/>
                    <a:pt x="570" y="52"/>
                  </a:cubicBezTo>
                  <a:close/>
                  <a:moveTo>
                    <a:pt x="1671" y="55"/>
                  </a:moveTo>
                  <a:cubicBezTo>
                    <a:pt x="1671" y="56"/>
                    <a:pt x="1671" y="56"/>
                    <a:pt x="1671" y="56"/>
                  </a:cubicBezTo>
                  <a:cubicBezTo>
                    <a:pt x="1671" y="56"/>
                    <a:pt x="1671" y="56"/>
                    <a:pt x="1671" y="55"/>
                  </a:cubicBezTo>
                  <a:close/>
                  <a:moveTo>
                    <a:pt x="583" y="8"/>
                  </a:moveTo>
                  <a:cubicBezTo>
                    <a:pt x="583" y="8"/>
                    <a:pt x="583" y="8"/>
                    <a:pt x="584" y="8"/>
                  </a:cubicBezTo>
                  <a:cubicBezTo>
                    <a:pt x="584" y="8"/>
                    <a:pt x="583" y="8"/>
                    <a:pt x="583" y="8"/>
                  </a:cubicBezTo>
                  <a:close/>
                  <a:moveTo>
                    <a:pt x="968" y="78"/>
                  </a:moveTo>
                  <a:cubicBezTo>
                    <a:pt x="968" y="78"/>
                    <a:pt x="968" y="78"/>
                    <a:pt x="968" y="78"/>
                  </a:cubicBezTo>
                  <a:cubicBezTo>
                    <a:pt x="968" y="78"/>
                    <a:pt x="968" y="78"/>
                    <a:pt x="968" y="78"/>
                  </a:cubicBezTo>
                  <a:close/>
                  <a:moveTo>
                    <a:pt x="1016" y="8"/>
                  </a:moveTo>
                  <a:cubicBezTo>
                    <a:pt x="1016" y="8"/>
                    <a:pt x="1017" y="8"/>
                    <a:pt x="1017" y="8"/>
                  </a:cubicBezTo>
                  <a:cubicBezTo>
                    <a:pt x="1017" y="8"/>
                    <a:pt x="1017" y="8"/>
                    <a:pt x="1016" y="8"/>
                  </a:cubicBezTo>
                  <a:close/>
                  <a:moveTo>
                    <a:pt x="1665" y="78"/>
                  </a:moveTo>
                  <a:cubicBezTo>
                    <a:pt x="1665" y="78"/>
                    <a:pt x="1664" y="78"/>
                    <a:pt x="1664" y="77"/>
                  </a:cubicBezTo>
                  <a:cubicBezTo>
                    <a:pt x="1664" y="78"/>
                    <a:pt x="1664" y="78"/>
                    <a:pt x="1665" y="78"/>
                  </a:cubicBezTo>
                  <a:close/>
                  <a:moveTo>
                    <a:pt x="1677" y="78"/>
                  </a:moveTo>
                  <a:cubicBezTo>
                    <a:pt x="1677" y="78"/>
                    <a:pt x="1677" y="78"/>
                    <a:pt x="1677" y="78"/>
                  </a:cubicBezTo>
                  <a:cubicBezTo>
                    <a:pt x="1677" y="78"/>
                    <a:pt x="1677" y="78"/>
                    <a:pt x="1677" y="78"/>
                  </a:cubicBezTo>
                  <a:close/>
                  <a:moveTo>
                    <a:pt x="609" y="79"/>
                  </a:moveTo>
                  <a:cubicBezTo>
                    <a:pt x="609" y="78"/>
                    <a:pt x="609" y="78"/>
                    <a:pt x="609" y="78"/>
                  </a:cubicBezTo>
                  <a:cubicBezTo>
                    <a:pt x="609" y="78"/>
                    <a:pt x="609" y="78"/>
                    <a:pt x="609" y="79"/>
                  </a:cubicBezTo>
                  <a:close/>
                  <a:moveTo>
                    <a:pt x="620" y="78"/>
                  </a:moveTo>
                  <a:cubicBezTo>
                    <a:pt x="620" y="78"/>
                    <a:pt x="620" y="78"/>
                    <a:pt x="620" y="79"/>
                  </a:cubicBezTo>
                  <a:cubicBezTo>
                    <a:pt x="620" y="78"/>
                    <a:pt x="620" y="78"/>
                    <a:pt x="620" y="78"/>
                  </a:cubicBezTo>
                  <a:close/>
                  <a:moveTo>
                    <a:pt x="1356" y="8"/>
                  </a:moveTo>
                  <a:cubicBezTo>
                    <a:pt x="1356" y="8"/>
                    <a:pt x="1357" y="8"/>
                    <a:pt x="1357" y="8"/>
                  </a:cubicBezTo>
                  <a:cubicBezTo>
                    <a:pt x="1357" y="8"/>
                    <a:pt x="1356" y="8"/>
                    <a:pt x="1356" y="8"/>
                  </a:cubicBezTo>
                  <a:close/>
                  <a:moveTo>
                    <a:pt x="955" y="79"/>
                  </a:moveTo>
                  <a:cubicBezTo>
                    <a:pt x="955" y="78"/>
                    <a:pt x="955" y="78"/>
                    <a:pt x="955" y="78"/>
                  </a:cubicBezTo>
                  <a:cubicBezTo>
                    <a:pt x="955" y="78"/>
                    <a:pt x="955" y="78"/>
                    <a:pt x="955" y="79"/>
                  </a:cubicBezTo>
                  <a:close/>
                  <a:moveTo>
                    <a:pt x="1532" y="79"/>
                  </a:moveTo>
                  <a:cubicBezTo>
                    <a:pt x="1532" y="78"/>
                    <a:pt x="1532" y="78"/>
                    <a:pt x="1532" y="78"/>
                  </a:cubicBezTo>
                  <a:cubicBezTo>
                    <a:pt x="1532" y="78"/>
                    <a:pt x="1532" y="78"/>
                    <a:pt x="1532" y="79"/>
                  </a:cubicBezTo>
                  <a:close/>
                  <a:moveTo>
                    <a:pt x="1700" y="79"/>
                  </a:moveTo>
                  <a:cubicBezTo>
                    <a:pt x="1700" y="78"/>
                    <a:pt x="1700" y="78"/>
                    <a:pt x="1700" y="78"/>
                  </a:cubicBezTo>
                  <a:cubicBezTo>
                    <a:pt x="1700" y="78"/>
                    <a:pt x="1700" y="78"/>
                    <a:pt x="1700" y="79"/>
                  </a:cubicBezTo>
                  <a:close/>
                  <a:moveTo>
                    <a:pt x="628" y="79"/>
                  </a:moveTo>
                  <a:cubicBezTo>
                    <a:pt x="628" y="79"/>
                    <a:pt x="628" y="79"/>
                    <a:pt x="628" y="78"/>
                  </a:cubicBezTo>
                  <a:cubicBezTo>
                    <a:pt x="628" y="78"/>
                    <a:pt x="628" y="79"/>
                    <a:pt x="628" y="79"/>
                  </a:cubicBezTo>
                  <a:close/>
                  <a:moveTo>
                    <a:pt x="1554" y="59"/>
                  </a:moveTo>
                  <a:cubicBezTo>
                    <a:pt x="1554" y="59"/>
                    <a:pt x="1554" y="59"/>
                    <a:pt x="1555" y="58"/>
                  </a:cubicBezTo>
                  <a:cubicBezTo>
                    <a:pt x="1554" y="58"/>
                    <a:pt x="1554" y="58"/>
                    <a:pt x="1554" y="59"/>
                  </a:cubicBezTo>
                  <a:close/>
                  <a:moveTo>
                    <a:pt x="1383" y="8"/>
                  </a:moveTo>
                  <a:cubicBezTo>
                    <a:pt x="1383" y="8"/>
                    <a:pt x="1383" y="8"/>
                    <a:pt x="1383" y="8"/>
                  </a:cubicBezTo>
                  <a:cubicBezTo>
                    <a:pt x="1383" y="8"/>
                    <a:pt x="1383" y="8"/>
                    <a:pt x="1383" y="8"/>
                  </a:cubicBezTo>
                  <a:close/>
                  <a:moveTo>
                    <a:pt x="1429" y="8"/>
                  </a:moveTo>
                  <a:cubicBezTo>
                    <a:pt x="1429" y="8"/>
                    <a:pt x="1429" y="8"/>
                    <a:pt x="1430" y="8"/>
                  </a:cubicBezTo>
                  <a:cubicBezTo>
                    <a:pt x="1429" y="8"/>
                    <a:pt x="1429" y="8"/>
                    <a:pt x="1429" y="8"/>
                  </a:cubicBezTo>
                  <a:close/>
                  <a:moveTo>
                    <a:pt x="1347" y="79"/>
                  </a:moveTo>
                  <a:cubicBezTo>
                    <a:pt x="1348" y="79"/>
                    <a:pt x="1348" y="79"/>
                    <a:pt x="1348" y="78"/>
                  </a:cubicBezTo>
                  <a:cubicBezTo>
                    <a:pt x="1348" y="78"/>
                    <a:pt x="1347" y="79"/>
                    <a:pt x="1347" y="79"/>
                  </a:cubicBezTo>
                  <a:close/>
                  <a:moveTo>
                    <a:pt x="1677" y="78"/>
                  </a:moveTo>
                  <a:cubicBezTo>
                    <a:pt x="1677" y="79"/>
                    <a:pt x="1677" y="79"/>
                    <a:pt x="1677" y="79"/>
                  </a:cubicBezTo>
                  <a:cubicBezTo>
                    <a:pt x="1677" y="79"/>
                    <a:pt x="1677" y="78"/>
                    <a:pt x="1677" y="78"/>
                  </a:cubicBezTo>
                  <a:close/>
                  <a:moveTo>
                    <a:pt x="1452" y="8"/>
                  </a:moveTo>
                  <a:cubicBezTo>
                    <a:pt x="1453" y="8"/>
                    <a:pt x="1453" y="8"/>
                    <a:pt x="1453" y="8"/>
                  </a:cubicBezTo>
                  <a:cubicBezTo>
                    <a:pt x="1453" y="8"/>
                    <a:pt x="1453" y="8"/>
                    <a:pt x="1452" y="8"/>
                  </a:cubicBezTo>
                  <a:close/>
                  <a:moveTo>
                    <a:pt x="638" y="78"/>
                  </a:moveTo>
                  <a:cubicBezTo>
                    <a:pt x="638" y="79"/>
                    <a:pt x="638" y="79"/>
                    <a:pt x="638" y="79"/>
                  </a:cubicBezTo>
                  <a:cubicBezTo>
                    <a:pt x="638" y="79"/>
                    <a:pt x="638" y="79"/>
                    <a:pt x="638" y="78"/>
                  </a:cubicBezTo>
                  <a:close/>
                  <a:moveTo>
                    <a:pt x="969" y="79"/>
                  </a:moveTo>
                  <a:cubicBezTo>
                    <a:pt x="969" y="79"/>
                    <a:pt x="969" y="79"/>
                    <a:pt x="969" y="79"/>
                  </a:cubicBezTo>
                  <a:cubicBezTo>
                    <a:pt x="969" y="79"/>
                    <a:pt x="969" y="79"/>
                    <a:pt x="969" y="79"/>
                  </a:cubicBezTo>
                  <a:close/>
                  <a:moveTo>
                    <a:pt x="642" y="42"/>
                  </a:moveTo>
                  <a:cubicBezTo>
                    <a:pt x="642" y="42"/>
                    <a:pt x="642" y="42"/>
                    <a:pt x="642" y="41"/>
                  </a:cubicBezTo>
                  <a:cubicBezTo>
                    <a:pt x="642" y="41"/>
                    <a:pt x="642" y="42"/>
                    <a:pt x="642" y="42"/>
                  </a:cubicBezTo>
                  <a:close/>
                  <a:moveTo>
                    <a:pt x="1541" y="8"/>
                  </a:moveTo>
                  <a:cubicBezTo>
                    <a:pt x="1541" y="8"/>
                    <a:pt x="1541" y="8"/>
                    <a:pt x="1541" y="8"/>
                  </a:cubicBezTo>
                  <a:cubicBezTo>
                    <a:pt x="1541" y="8"/>
                    <a:pt x="1541" y="8"/>
                    <a:pt x="1541" y="8"/>
                  </a:cubicBezTo>
                  <a:close/>
                  <a:moveTo>
                    <a:pt x="1709" y="8"/>
                  </a:moveTo>
                  <a:cubicBezTo>
                    <a:pt x="1709" y="8"/>
                    <a:pt x="1709" y="8"/>
                    <a:pt x="1709" y="8"/>
                  </a:cubicBezTo>
                  <a:cubicBezTo>
                    <a:pt x="1709" y="8"/>
                    <a:pt x="1709" y="8"/>
                    <a:pt x="1709" y="8"/>
                  </a:cubicBezTo>
                  <a:close/>
                  <a:moveTo>
                    <a:pt x="1665" y="79"/>
                  </a:moveTo>
                  <a:cubicBezTo>
                    <a:pt x="1665" y="79"/>
                    <a:pt x="1665" y="79"/>
                    <a:pt x="1665" y="78"/>
                  </a:cubicBezTo>
                  <a:cubicBezTo>
                    <a:pt x="1665" y="79"/>
                    <a:pt x="1665" y="79"/>
                    <a:pt x="1665" y="79"/>
                  </a:cubicBezTo>
                  <a:close/>
                  <a:moveTo>
                    <a:pt x="610" y="80"/>
                  </a:moveTo>
                  <a:cubicBezTo>
                    <a:pt x="610" y="79"/>
                    <a:pt x="610" y="79"/>
                    <a:pt x="610" y="79"/>
                  </a:cubicBezTo>
                  <a:cubicBezTo>
                    <a:pt x="609" y="79"/>
                    <a:pt x="610" y="79"/>
                    <a:pt x="610" y="80"/>
                  </a:cubicBezTo>
                  <a:close/>
                  <a:moveTo>
                    <a:pt x="584" y="8"/>
                  </a:moveTo>
                  <a:cubicBezTo>
                    <a:pt x="584" y="9"/>
                    <a:pt x="584" y="9"/>
                    <a:pt x="584" y="9"/>
                  </a:cubicBezTo>
                  <a:cubicBezTo>
                    <a:pt x="584" y="8"/>
                    <a:pt x="584" y="8"/>
                    <a:pt x="584" y="8"/>
                  </a:cubicBezTo>
                  <a:close/>
                  <a:moveTo>
                    <a:pt x="956" y="80"/>
                  </a:moveTo>
                  <a:cubicBezTo>
                    <a:pt x="956" y="79"/>
                    <a:pt x="955" y="79"/>
                    <a:pt x="955" y="79"/>
                  </a:cubicBezTo>
                  <a:cubicBezTo>
                    <a:pt x="955" y="79"/>
                    <a:pt x="955" y="79"/>
                    <a:pt x="956" y="80"/>
                  </a:cubicBezTo>
                  <a:close/>
                  <a:moveTo>
                    <a:pt x="1531" y="80"/>
                  </a:moveTo>
                  <a:cubicBezTo>
                    <a:pt x="1532" y="79"/>
                    <a:pt x="1532" y="79"/>
                    <a:pt x="1532" y="79"/>
                  </a:cubicBezTo>
                  <a:cubicBezTo>
                    <a:pt x="1531" y="79"/>
                    <a:pt x="1531" y="79"/>
                    <a:pt x="1531" y="80"/>
                  </a:cubicBezTo>
                  <a:close/>
                  <a:moveTo>
                    <a:pt x="1677" y="79"/>
                  </a:moveTo>
                  <a:cubicBezTo>
                    <a:pt x="1677" y="79"/>
                    <a:pt x="1677" y="79"/>
                    <a:pt x="1678" y="80"/>
                  </a:cubicBezTo>
                  <a:cubicBezTo>
                    <a:pt x="1678" y="79"/>
                    <a:pt x="1678" y="79"/>
                    <a:pt x="1677" y="79"/>
                  </a:cubicBezTo>
                  <a:close/>
                  <a:moveTo>
                    <a:pt x="1699" y="80"/>
                  </a:moveTo>
                  <a:cubicBezTo>
                    <a:pt x="1700" y="79"/>
                    <a:pt x="1700" y="79"/>
                    <a:pt x="1700" y="79"/>
                  </a:cubicBezTo>
                  <a:cubicBezTo>
                    <a:pt x="1699" y="79"/>
                    <a:pt x="1699" y="79"/>
                    <a:pt x="1699" y="80"/>
                  </a:cubicBezTo>
                  <a:close/>
                  <a:moveTo>
                    <a:pt x="628" y="80"/>
                  </a:moveTo>
                  <a:cubicBezTo>
                    <a:pt x="628" y="80"/>
                    <a:pt x="628" y="80"/>
                    <a:pt x="628" y="79"/>
                  </a:cubicBezTo>
                  <a:cubicBezTo>
                    <a:pt x="628" y="79"/>
                    <a:pt x="628" y="80"/>
                    <a:pt x="628" y="80"/>
                  </a:cubicBezTo>
                  <a:close/>
                  <a:moveTo>
                    <a:pt x="638" y="79"/>
                  </a:moveTo>
                  <a:cubicBezTo>
                    <a:pt x="638" y="79"/>
                    <a:pt x="638" y="80"/>
                    <a:pt x="638" y="80"/>
                  </a:cubicBezTo>
                  <a:cubicBezTo>
                    <a:pt x="638" y="80"/>
                    <a:pt x="638" y="80"/>
                    <a:pt x="638" y="79"/>
                  </a:cubicBezTo>
                  <a:close/>
                  <a:moveTo>
                    <a:pt x="687" y="80"/>
                  </a:moveTo>
                  <a:cubicBezTo>
                    <a:pt x="687" y="80"/>
                    <a:pt x="687" y="79"/>
                    <a:pt x="687" y="79"/>
                  </a:cubicBezTo>
                  <a:cubicBezTo>
                    <a:pt x="687" y="80"/>
                    <a:pt x="687" y="80"/>
                    <a:pt x="687" y="80"/>
                  </a:cubicBezTo>
                  <a:close/>
                  <a:moveTo>
                    <a:pt x="908" y="40"/>
                  </a:moveTo>
                  <a:cubicBezTo>
                    <a:pt x="908" y="41"/>
                    <a:pt x="908" y="41"/>
                    <a:pt x="908" y="41"/>
                  </a:cubicBezTo>
                  <a:cubicBezTo>
                    <a:pt x="908" y="41"/>
                    <a:pt x="908" y="40"/>
                    <a:pt x="908" y="40"/>
                  </a:cubicBezTo>
                  <a:close/>
                  <a:moveTo>
                    <a:pt x="1355" y="9"/>
                  </a:moveTo>
                  <a:cubicBezTo>
                    <a:pt x="1356" y="9"/>
                    <a:pt x="1356" y="9"/>
                    <a:pt x="1356" y="8"/>
                  </a:cubicBezTo>
                  <a:cubicBezTo>
                    <a:pt x="1356" y="8"/>
                    <a:pt x="1356" y="8"/>
                    <a:pt x="1355" y="9"/>
                  </a:cubicBezTo>
                  <a:close/>
                  <a:moveTo>
                    <a:pt x="1383" y="8"/>
                  </a:moveTo>
                  <a:cubicBezTo>
                    <a:pt x="1383" y="8"/>
                    <a:pt x="1384" y="9"/>
                    <a:pt x="1384" y="9"/>
                  </a:cubicBezTo>
                  <a:cubicBezTo>
                    <a:pt x="1384" y="8"/>
                    <a:pt x="1384" y="8"/>
                    <a:pt x="1383" y="8"/>
                  </a:cubicBezTo>
                  <a:close/>
                  <a:moveTo>
                    <a:pt x="1347" y="80"/>
                  </a:moveTo>
                  <a:cubicBezTo>
                    <a:pt x="1347" y="80"/>
                    <a:pt x="1347" y="80"/>
                    <a:pt x="1347" y="79"/>
                  </a:cubicBezTo>
                  <a:cubicBezTo>
                    <a:pt x="1347" y="79"/>
                    <a:pt x="1347" y="80"/>
                    <a:pt x="1347" y="80"/>
                  </a:cubicBezTo>
                  <a:close/>
                  <a:moveTo>
                    <a:pt x="1722" y="59"/>
                  </a:moveTo>
                  <a:cubicBezTo>
                    <a:pt x="1722" y="59"/>
                    <a:pt x="1723" y="59"/>
                    <a:pt x="1723" y="58"/>
                  </a:cubicBezTo>
                  <a:cubicBezTo>
                    <a:pt x="1722" y="58"/>
                    <a:pt x="1722" y="58"/>
                    <a:pt x="1722" y="59"/>
                  </a:cubicBezTo>
                  <a:close/>
                  <a:moveTo>
                    <a:pt x="1665" y="80"/>
                  </a:moveTo>
                  <a:cubicBezTo>
                    <a:pt x="1665" y="80"/>
                    <a:pt x="1665" y="79"/>
                    <a:pt x="1665" y="79"/>
                  </a:cubicBezTo>
                  <a:cubicBezTo>
                    <a:pt x="1665" y="79"/>
                    <a:pt x="1665" y="80"/>
                    <a:pt x="1665" y="80"/>
                  </a:cubicBezTo>
                  <a:close/>
                  <a:moveTo>
                    <a:pt x="1428" y="9"/>
                  </a:moveTo>
                  <a:cubicBezTo>
                    <a:pt x="1428" y="9"/>
                    <a:pt x="1429" y="9"/>
                    <a:pt x="1429" y="8"/>
                  </a:cubicBezTo>
                  <a:cubicBezTo>
                    <a:pt x="1429" y="8"/>
                    <a:pt x="1428" y="8"/>
                    <a:pt x="1428" y="9"/>
                  </a:cubicBezTo>
                  <a:close/>
                  <a:moveTo>
                    <a:pt x="1453" y="8"/>
                  </a:moveTo>
                  <a:cubicBezTo>
                    <a:pt x="1453" y="9"/>
                    <a:pt x="1454" y="9"/>
                    <a:pt x="1454" y="9"/>
                  </a:cubicBezTo>
                  <a:cubicBezTo>
                    <a:pt x="1454" y="8"/>
                    <a:pt x="1454" y="8"/>
                    <a:pt x="1453" y="8"/>
                  </a:cubicBezTo>
                  <a:close/>
                  <a:moveTo>
                    <a:pt x="1501" y="9"/>
                  </a:moveTo>
                  <a:cubicBezTo>
                    <a:pt x="1502" y="9"/>
                    <a:pt x="1502" y="9"/>
                    <a:pt x="1502" y="8"/>
                  </a:cubicBezTo>
                  <a:cubicBezTo>
                    <a:pt x="1502" y="8"/>
                    <a:pt x="1501" y="8"/>
                    <a:pt x="1501" y="9"/>
                  </a:cubicBezTo>
                  <a:close/>
                  <a:moveTo>
                    <a:pt x="956" y="80"/>
                  </a:moveTo>
                  <a:cubicBezTo>
                    <a:pt x="956" y="80"/>
                    <a:pt x="956" y="80"/>
                    <a:pt x="956" y="80"/>
                  </a:cubicBezTo>
                  <a:cubicBezTo>
                    <a:pt x="956" y="80"/>
                    <a:pt x="956" y="80"/>
                    <a:pt x="956" y="80"/>
                  </a:cubicBezTo>
                  <a:close/>
                  <a:moveTo>
                    <a:pt x="969" y="80"/>
                  </a:moveTo>
                  <a:cubicBezTo>
                    <a:pt x="969" y="80"/>
                    <a:pt x="969" y="80"/>
                    <a:pt x="970" y="80"/>
                  </a:cubicBezTo>
                  <a:cubicBezTo>
                    <a:pt x="970" y="80"/>
                    <a:pt x="970" y="80"/>
                    <a:pt x="969" y="80"/>
                  </a:cubicBezTo>
                  <a:close/>
                  <a:moveTo>
                    <a:pt x="1220" y="80"/>
                  </a:moveTo>
                  <a:cubicBezTo>
                    <a:pt x="1220" y="80"/>
                    <a:pt x="1220" y="80"/>
                    <a:pt x="1220" y="80"/>
                  </a:cubicBezTo>
                  <a:cubicBezTo>
                    <a:pt x="1220" y="80"/>
                    <a:pt x="1220" y="80"/>
                    <a:pt x="1220" y="80"/>
                  </a:cubicBezTo>
                  <a:close/>
                  <a:moveTo>
                    <a:pt x="1678" y="80"/>
                  </a:moveTo>
                  <a:cubicBezTo>
                    <a:pt x="1678" y="80"/>
                    <a:pt x="1678" y="80"/>
                    <a:pt x="1678" y="80"/>
                  </a:cubicBezTo>
                  <a:cubicBezTo>
                    <a:pt x="1678" y="80"/>
                    <a:pt x="1678" y="80"/>
                    <a:pt x="1678" y="80"/>
                  </a:cubicBezTo>
                  <a:close/>
                  <a:moveTo>
                    <a:pt x="1540" y="9"/>
                  </a:moveTo>
                  <a:cubicBezTo>
                    <a:pt x="1540" y="9"/>
                    <a:pt x="1540" y="9"/>
                    <a:pt x="1540" y="8"/>
                  </a:cubicBezTo>
                  <a:cubicBezTo>
                    <a:pt x="1540" y="8"/>
                    <a:pt x="1540" y="8"/>
                    <a:pt x="1540" y="9"/>
                  </a:cubicBezTo>
                  <a:close/>
                  <a:moveTo>
                    <a:pt x="1568" y="8"/>
                  </a:moveTo>
                  <a:cubicBezTo>
                    <a:pt x="1568" y="9"/>
                    <a:pt x="1568" y="9"/>
                    <a:pt x="1568" y="9"/>
                  </a:cubicBezTo>
                  <a:cubicBezTo>
                    <a:pt x="1568" y="8"/>
                    <a:pt x="1568" y="8"/>
                    <a:pt x="1568" y="8"/>
                  </a:cubicBezTo>
                  <a:close/>
                  <a:moveTo>
                    <a:pt x="1708" y="9"/>
                  </a:moveTo>
                  <a:cubicBezTo>
                    <a:pt x="1708" y="9"/>
                    <a:pt x="1708" y="9"/>
                    <a:pt x="1709" y="8"/>
                  </a:cubicBezTo>
                  <a:cubicBezTo>
                    <a:pt x="1708" y="8"/>
                    <a:pt x="1708" y="8"/>
                    <a:pt x="1708" y="9"/>
                  </a:cubicBezTo>
                  <a:close/>
                  <a:moveTo>
                    <a:pt x="1346" y="81"/>
                  </a:moveTo>
                  <a:cubicBezTo>
                    <a:pt x="1347" y="80"/>
                    <a:pt x="1347" y="80"/>
                    <a:pt x="1347" y="80"/>
                  </a:cubicBezTo>
                  <a:cubicBezTo>
                    <a:pt x="1346" y="80"/>
                    <a:pt x="1346" y="80"/>
                    <a:pt x="1346" y="81"/>
                  </a:cubicBezTo>
                  <a:close/>
                  <a:moveTo>
                    <a:pt x="1358" y="80"/>
                  </a:moveTo>
                  <a:cubicBezTo>
                    <a:pt x="1358" y="80"/>
                    <a:pt x="1358" y="80"/>
                    <a:pt x="1358" y="81"/>
                  </a:cubicBezTo>
                  <a:cubicBezTo>
                    <a:pt x="1358" y="81"/>
                    <a:pt x="1358" y="80"/>
                    <a:pt x="1358" y="80"/>
                  </a:cubicBezTo>
                  <a:close/>
                  <a:moveTo>
                    <a:pt x="1736" y="8"/>
                  </a:moveTo>
                  <a:cubicBezTo>
                    <a:pt x="1736" y="9"/>
                    <a:pt x="1736" y="9"/>
                    <a:pt x="1737" y="9"/>
                  </a:cubicBezTo>
                  <a:cubicBezTo>
                    <a:pt x="1736" y="8"/>
                    <a:pt x="1736" y="8"/>
                    <a:pt x="1736" y="8"/>
                  </a:cubicBezTo>
                  <a:close/>
                  <a:moveTo>
                    <a:pt x="1467" y="80"/>
                  </a:moveTo>
                  <a:cubicBezTo>
                    <a:pt x="1467" y="80"/>
                    <a:pt x="1467" y="80"/>
                    <a:pt x="1467" y="81"/>
                  </a:cubicBezTo>
                  <a:cubicBezTo>
                    <a:pt x="1468" y="80"/>
                    <a:pt x="1468" y="80"/>
                    <a:pt x="1467" y="80"/>
                  </a:cubicBezTo>
                  <a:close/>
                  <a:moveTo>
                    <a:pt x="1666" y="81"/>
                  </a:moveTo>
                  <a:cubicBezTo>
                    <a:pt x="1666" y="80"/>
                    <a:pt x="1665" y="80"/>
                    <a:pt x="1665" y="80"/>
                  </a:cubicBezTo>
                  <a:cubicBezTo>
                    <a:pt x="1665" y="80"/>
                    <a:pt x="1665" y="80"/>
                    <a:pt x="1666" y="81"/>
                  </a:cubicBezTo>
                  <a:close/>
                  <a:moveTo>
                    <a:pt x="551" y="9"/>
                  </a:moveTo>
                  <a:cubicBezTo>
                    <a:pt x="551" y="9"/>
                    <a:pt x="552" y="9"/>
                    <a:pt x="552" y="9"/>
                  </a:cubicBezTo>
                  <a:cubicBezTo>
                    <a:pt x="551" y="9"/>
                    <a:pt x="551" y="9"/>
                    <a:pt x="551" y="9"/>
                  </a:cubicBezTo>
                  <a:close/>
                  <a:moveTo>
                    <a:pt x="638" y="80"/>
                  </a:moveTo>
                  <a:cubicBezTo>
                    <a:pt x="637" y="80"/>
                    <a:pt x="637" y="81"/>
                    <a:pt x="637" y="81"/>
                  </a:cubicBezTo>
                  <a:cubicBezTo>
                    <a:pt x="638" y="81"/>
                    <a:pt x="638" y="80"/>
                    <a:pt x="638" y="80"/>
                  </a:cubicBezTo>
                  <a:close/>
                  <a:moveTo>
                    <a:pt x="956" y="81"/>
                  </a:moveTo>
                  <a:cubicBezTo>
                    <a:pt x="956" y="81"/>
                    <a:pt x="956" y="80"/>
                    <a:pt x="956" y="80"/>
                  </a:cubicBezTo>
                  <a:cubicBezTo>
                    <a:pt x="956" y="81"/>
                    <a:pt x="956" y="81"/>
                    <a:pt x="956" y="81"/>
                  </a:cubicBezTo>
                  <a:close/>
                  <a:moveTo>
                    <a:pt x="584" y="9"/>
                  </a:moveTo>
                  <a:cubicBezTo>
                    <a:pt x="585" y="9"/>
                    <a:pt x="585" y="9"/>
                    <a:pt x="585" y="9"/>
                  </a:cubicBezTo>
                  <a:cubicBezTo>
                    <a:pt x="585" y="9"/>
                    <a:pt x="585" y="9"/>
                    <a:pt x="584" y="9"/>
                  </a:cubicBezTo>
                  <a:close/>
                  <a:moveTo>
                    <a:pt x="611" y="81"/>
                  </a:moveTo>
                  <a:cubicBezTo>
                    <a:pt x="611" y="81"/>
                    <a:pt x="611" y="81"/>
                    <a:pt x="610" y="81"/>
                  </a:cubicBezTo>
                  <a:cubicBezTo>
                    <a:pt x="610" y="81"/>
                    <a:pt x="610" y="81"/>
                    <a:pt x="611" y="81"/>
                  </a:cubicBezTo>
                  <a:close/>
                  <a:moveTo>
                    <a:pt x="1018" y="9"/>
                  </a:moveTo>
                  <a:cubicBezTo>
                    <a:pt x="1019" y="9"/>
                    <a:pt x="1019" y="9"/>
                    <a:pt x="1019" y="9"/>
                  </a:cubicBezTo>
                  <a:cubicBezTo>
                    <a:pt x="1019" y="9"/>
                    <a:pt x="1019" y="9"/>
                    <a:pt x="1018" y="9"/>
                  </a:cubicBezTo>
                  <a:close/>
                  <a:moveTo>
                    <a:pt x="1355" y="9"/>
                  </a:moveTo>
                  <a:cubicBezTo>
                    <a:pt x="1355" y="9"/>
                    <a:pt x="1355" y="9"/>
                    <a:pt x="1355" y="9"/>
                  </a:cubicBezTo>
                  <a:cubicBezTo>
                    <a:pt x="1355" y="9"/>
                    <a:pt x="1355" y="9"/>
                    <a:pt x="1355" y="9"/>
                  </a:cubicBezTo>
                  <a:close/>
                  <a:moveTo>
                    <a:pt x="1042" y="81"/>
                  </a:moveTo>
                  <a:cubicBezTo>
                    <a:pt x="1042" y="81"/>
                    <a:pt x="1042" y="81"/>
                    <a:pt x="1042" y="81"/>
                  </a:cubicBezTo>
                  <a:cubicBezTo>
                    <a:pt x="1043" y="81"/>
                    <a:pt x="1042" y="81"/>
                    <a:pt x="1042" y="81"/>
                  </a:cubicBezTo>
                  <a:close/>
                  <a:moveTo>
                    <a:pt x="1220" y="81"/>
                  </a:moveTo>
                  <a:cubicBezTo>
                    <a:pt x="1220" y="81"/>
                    <a:pt x="1220" y="81"/>
                    <a:pt x="1220" y="81"/>
                  </a:cubicBezTo>
                  <a:cubicBezTo>
                    <a:pt x="1220" y="81"/>
                    <a:pt x="1220" y="81"/>
                    <a:pt x="1220" y="81"/>
                  </a:cubicBezTo>
                  <a:close/>
                  <a:moveTo>
                    <a:pt x="1346" y="81"/>
                  </a:moveTo>
                  <a:cubicBezTo>
                    <a:pt x="1346" y="81"/>
                    <a:pt x="1346" y="81"/>
                    <a:pt x="1346" y="81"/>
                  </a:cubicBezTo>
                  <a:cubicBezTo>
                    <a:pt x="1346" y="81"/>
                    <a:pt x="1346" y="81"/>
                    <a:pt x="1346" y="81"/>
                  </a:cubicBezTo>
                  <a:close/>
                  <a:moveTo>
                    <a:pt x="1530" y="81"/>
                  </a:moveTo>
                  <a:cubicBezTo>
                    <a:pt x="1531" y="81"/>
                    <a:pt x="1531" y="81"/>
                    <a:pt x="1531" y="81"/>
                  </a:cubicBezTo>
                  <a:cubicBezTo>
                    <a:pt x="1530" y="81"/>
                    <a:pt x="1530" y="81"/>
                    <a:pt x="1530" y="81"/>
                  </a:cubicBezTo>
                  <a:close/>
                  <a:moveTo>
                    <a:pt x="1698" y="81"/>
                  </a:moveTo>
                  <a:cubicBezTo>
                    <a:pt x="1699" y="81"/>
                    <a:pt x="1699" y="81"/>
                    <a:pt x="1699" y="81"/>
                  </a:cubicBezTo>
                  <a:cubicBezTo>
                    <a:pt x="1698" y="81"/>
                    <a:pt x="1698" y="81"/>
                    <a:pt x="1698" y="81"/>
                  </a:cubicBezTo>
                  <a:close/>
                  <a:moveTo>
                    <a:pt x="627" y="82"/>
                  </a:moveTo>
                  <a:cubicBezTo>
                    <a:pt x="627" y="82"/>
                    <a:pt x="627" y="81"/>
                    <a:pt x="627" y="81"/>
                  </a:cubicBezTo>
                  <a:cubicBezTo>
                    <a:pt x="627" y="81"/>
                    <a:pt x="627" y="81"/>
                    <a:pt x="627" y="82"/>
                  </a:cubicBezTo>
                  <a:close/>
                  <a:moveTo>
                    <a:pt x="1210" y="53"/>
                  </a:moveTo>
                  <a:cubicBezTo>
                    <a:pt x="1210" y="53"/>
                    <a:pt x="1210" y="53"/>
                    <a:pt x="1210" y="52"/>
                  </a:cubicBezTo>
                  <a:cubicBezTo>
                    <a:pt x="1210" y="53"/>
                    <a:pt x="1210" y="53"/>
                    <a:pt x="1210" y="53"/>
                  </a:cubicBezTo>
                  <a:close/>
                  <a:moveTo>
                    <a:pt x="760" y="81"/>
                  </a:moveTo>
                  <a:cubicBezTo>
                    <a:pt x="760" y="81"/>
                    <a:pt x="760" y="82"/>
                    <a:pt x="761" y="82"/>
                  </a:cubicBezTo>
                  <a:cubicBezTo>
                    <a:pt x="761" y="81"/>
                    <a:pt x="761" y="81"/>
                    <a:pt x="760" y="81"/>
                  </a:cubicBezTo>
                  <a:close/>
                  <a:moveTo>
                    <a:pt x="957" y="82"/>
                  </a:moveTo>
                  <a:cubicBezTo>
                    <a:pt x="957" y="81"/>
                    <a:pt x="957" y="81"/>
                    <a:pt x="956" y="81"/>
                  </a:cubicBezTo>
                  <a:cubicBezTo>
                    <a:pt x="956" y="81"/>
                    <a:pt x="956" y="82"/>
                    <a:pt x="957" y="82"/>
                  </a:cubicBezTo>
                  <a:close/>
                  <a:moveTo>
                    <a:pt x="673" y="59"/>
                  </a:moveTo>
                  <a:cubicBezTo>
                    <a:pt x="673" y="59"/>
                    <a:pt x="673" y="59"/>
                    <a:pt x="673" y="59"/>
                  </a:cubicBezTo>
                  <a:cubicBezTo>
                    <a:pt x="673" y="59"/>
                    <a:pt x="673" y="59"/>
                    <a:pt x="673" y="59"/>
                  </a:cubicBezTo>
                  <a:close/>
                  <a:moveTo>
                    <a:pt x="1428" y="9"/>
                  </a:moveTo>
                  <a:cubicBezTo>
                    <a:pt x="1428" y="9"/>
                    <a:pt x="1428" y="9"/>
                    <a:pt x="1428" y="9"/>
                  </a:cubicBezTo>
                  <a:cubicBezTo>
                    <a:pt x="1428" y="9"/>
                    <a:pt x="1428" y="9"/>
                    <a:pt x="1428" y="9"/>
                  </a:cubicBezTo>
                  <a:close/>
                  <a:moveTo>
                    <a:pt x="1467" y="81"/>
                  </a:moveTo>
                  <a:cubicBezTo>
                    <a:pt x="1467" y="81"/>
                    <a:pt x="1467" y="81"/>
                    <a:pt x="1467" y="82"/>
                  </a:cubicBezTo>
                  <a:cubicBezTo>
                    <a:pt x="1467" y="81"/>
                    <a:pt x="1467" y="81"/>
                    <a:pt x="1467" y="81"/>
                  </a:cubicBezTo>
                  <a:close/>
                  <a:moveTo>
                    <a:pt x="1542" y="81"/>
                  </a:moveTo>
                  <a:cubicBezTo>
                    <a:pt x="1541" y="81"/>
                    <a:pt x="1541" y="81"/>
                    <a:pt x="1541" y="82"/>
                  </a:cubicBezTo>
                  <a:cubicBezTo>
                    <a:pt x="1542" y="82"/>
                    <a:pt x="1542" y="81"/>
                    <a:pt x="1542" y="81"/>
                  </a:cubicBezTo>
                  <a:close/>
                  <a:moveTo>
                    <a:pt x="1666" y="82"/>
                  </a:moveTo>
                  <a:cubicBezTo>
                    <a:pt x="1666" y="81"/>
                    <a:pt x="1666" y="81"/>
                    <a:pt x="1666" y="81"/>
                  </a:cubicBezTo>
                  <a:cubicBezTo>
                    <a:pt x="1666" y="81"/>
                    <a:pt x="1666" y="81"/>
                    <a:pt x="1666" y="82"/>
                  </a:cubicBezTo>
                  <a:close/>
                  <a:moveTo>
                    <a:pt x="1710" y="81"/>
                  </a:moveTo>
                  <a:cubicBezTo>
                    <a:pt x="1710" y="81"/>
                    <a:pt x="1709" y="81"/>
                    <a:pt x="1709" y="82"/>
                  </a:cubicBezTo>
                  <a:cubicBezTo>
                    <a:pt x="1710" y="82"/>
                    <a:pt x="1710" y="81"/>
                    <a:pt x="1710" y="81"/>
                  </a:cubicBezTo>
                  <a:close/>
                  <a:moveTo>
                    <a:pt x="1454" y="9"/>
                  </a:moveTo>
                  <a:cubicBezTo>
                    <a:pt x="1454" y="9"/>
                    <a:pt x="1454" y="9"/>
                    <a:pt x="1455" y="9"/>
                  </a:cubicBezTo>
                  <a:cubicBezTo>
                    <a:pt x="1455" y="9"/>
                    <a:pt x="1454" y="9"/>
                    <a:pt x="1454" y="9"/>
                  </a:cubicBezTo>
                  <a:close/>
                  <a:moveTo>
                    <a:pt x="688" y="82"/>
                  </a:moveTo>
                  <a:cubicBezTo>
                    <a:pt x="688" y="82"/>
                    <a:pt x="688" y="81"/>
                    <a:pt x="688" y="81"/>
                  </a:cubicBezTo>
                  <a:cubicBezTo>
                    <a:pt x="688" y="82"/>
                    <a:pt x="688" y="82"/>
                    <a:pt x="688" y="82"/>
                  </a:cubicBezTo>
                  <a:close/>
                  <a:moveTo>
                    <a:pt x="1569" y="42"/>
                  </a:moveTo>
                  <a:cubicBezTo>
                    <a:pt x="1569" y="42"/>
                    <a:pt x="1569" y="42"/>
                    <a:pt x="1569" y="42"/>
                  </a:cubicBezTo>
                  <a:cubicBezTo>
                    <a:pt x="1569" y="42"/>
                    <a:pt x="1568" y="42"/>
                    <a:pt x="1569" y="42"/>
                  </a:cubicBezTo>
                  <a:close/>
                  <a:moveTo>
                    <a:pt x="1042" y="81"/>
                  </a:moveTo>
                  <a:cubicBezTo>
                    <a:pt x="1042" y="82"/>
                    <a:pt x="1043" y="82"/>
                    <a:pt x="1043" y="82"/>
                  </a:cubicBezTo>
                  <a:cubicBezTo>
                    <a:pt x="1043" y="82"/>
                    <a:pt x="1043" y="82"/>
                    <a:pt x="1042" y="81"/>
                  </a:cubicBezTo>
                  <a:close/>
                  <a:moveTo>
                    <a:pt x="1357" y="81"/>
                  </a:moveTo>
                  <a:cubicBezTo>
                    <a:pt x="1357" y="81"/>
                    <a:pt x="1357" y="82"/>
                    <a:pt x="1357" y="82"/>
                  </a:cubicBezTo>
                  <a:cubicBezTo>
                    <a:pt x="1357" y="82"/>
                    <a:pt x="1357" y="82"/>
                    <a:pt x="1357" y="81"/>
                  </a:cubicBezTo>
                  <a:close/>
                  <a:moveTo>
                    <a:pt x="1530" y="82"/>
                  </a:moveTo>
                  <a:cubicBezTo>
                    <a:pt x="1530" y="82"/>
                    <a:pt x="1530" y="82"/>
                    <a:pt x="1530" y="81"/>
                  </a:cubicBezTo>
                  <a:cubicBezTo>
                    <a:pt x="1530" y="81"/>
                    <a:pt x="1530" y="82"/>
                    <a:pt x="1530" y="82"/>
                  </a:cubicBezTo>
                  <a:close/>
                  <a:moveTo>
                    <a:pt x="1679" y="81"/>
                  </a:moveTo>
                  <a:cubicBezTo>
                    <a:pt x="1678" y="82"/>
                    <a:pt x="1679" y="82"/>
                    <a:pt x="1679" y="82"/>
                  </a:cubicBezTo>
                  <a:cubicBezTo>
                    <a:pt x="1679" y="82"/>
                    <a:pt x="1679" y="81"/>
                    <a:pt x="1679" y="81"/>
                  </a:cubicBezTo>
                  <a:close/>
                  <a:moveTo>
                    <a:pt x="1698" y="82"/>
                  </a:moveTo>
                  <a:cubicBezTo>
                    <a:pt x="1698" y="82"/>
                    <a:pt x="1698" y="82"/>
                    <a:pt x="1698" y="81"/>
                  </a:cubicBezTo>
                  <a:cubicBezTo>
                    <a:pt x="1698" y="81"/>
                    <a:pt x="1698" y="82"/>
                    <a:pt x="1698" y="82"/>
                  </a:cubicBezTo>
                  <a:close/>
                  <a:moveTo>
                    <a:pt x="621" y="82"/>
                  </a:moveTo>
                  <a:cubicBezTo>
                    <a:pt x="621" y="82"/>
                    <a:pt x="621" y="82"/>
                    <a:pt x="621" y="83"/>
                  </a:cubicBezTo>
                  <a:cubicBezTo>
                    <a:pt x="621" y="82"/>
                    <a:pt x="621" y="82"/>
                    <a:pt x="621" y="82"/>
                  </a:cubicBezTo>
                  <a:close/>
                  <a:moveTo>
                    <a:pt x="760" y="82"/>
                  </a:moveTo>
                  <a:cubicBezTo>
                    <a:pt x="760" y="82"/>
                    <a:pt x="761" y="82"/>
                    <a:pt x="761" y="83"/>
                  </a:cubicBezTo>
                  <a:cubicBezTo>
                    <a:pt x="761" y="82"/>
                    <a:pt x="761" y="82"/>
                    <a:pt x="760" y="82"/>
                  </a:cubicBezTo>
                  <a:close/>
                  <a:moveTo>
                    <a:pt x="1209" y="82"/>
                  </a:moveTo>
                  <a:cubicBezTo>
                    <a:pt x="1209" y="82"/>
                    <a:pt x="1209" y="82"/>
                    <a:pt x="1209" y="82"/>
                  </a:cubicBezTo>
                  <a:cubicBezTo>
                    <a:pt x="1209" y="82"/>
                    <a:pt x="1209" y="82"/>
                    <a:pt x="1209" y="82"/>
                  </a:cubicBezTo>
                  <a:close/>
                  <a:moveTo>
                    <a:pt x="1220" y="82"/>
                  </a:moveTo>
                  <a:cubicBezTo>
                    <a:pt x="1220" y="82"/>
                    <a:pt x="1220" y="82"/>
                    <a:pt x="1221" y="82"/>
                  </a:cubicBezTo>
                  <a:cubicBezTo>
                    <a:pt x="1221" y="82"/>
                    <a:pt x="1221" y="82"/>
                    <a:pt x="1220" y="82"/>
                  </a:cubicBezTo>
                  <a:close/>
                  <a:moveTo>
                    <a:pt x="1539" y="9"/>
                  </a:moveTo>
                  <a:cubicBezTo>
                    <a:pt x="1539" y="9"/>
                    <a:pt x="1539" y="9"/>
                    <a:pt x="1540" y="9"/>
                  </a:cubicBezTo>
                  <a:cubicBezTo>
                    <a:pt x="1539" y="9"/>
                    <a:pt x="1539" y="9"/>
                    <a:pt x="1539" y="9"/>
                  </a:cubicBezTo>
                  <a:close/>
                  <a:moveTo>
                    <a:pt x="1666" y="82"/>
                  </a:moveTo>
                  <a:cubicBezTo>
                    <a:pt x="1666" y="82"/>
                    <a:pt x="1666" y="82"/>
                    <a:pt x="1666" y="82"/>
                  </a:cubicBezTo>
                  <a:cubicBezTo>
                    <a:pt x="1666" y="82"/>
                    <a:pt x="1666" y="82"/>
                    <a:pt x="1666" y="82"/>
                  </a:cubicBezTo>
                  <a:close/>
                  <a:moveTo>
                    <a:pt x="627" y="83"/>
                  </a:moveTo>
                  <a:cubicBezTo>
                    <a:pt x="627" y="83"/>
                    <a:pt x="627" y="82"/>
                    <a:pt x="627" y="82"/>
                  </a:cubicBezTo>
                  <a:cubicBezTo>
                    <a:pt x="627" y="82"/>
                    <a:pt x="627" y="82"/>
                    <a:pt x="627" y="83"/>
                  </a:cubicBezTo>
                  <a:close/>
                  <a:moveTo>
                    <a:pt x="637" y="82"/>
                  </a:moveTo>
                  <a:cubicBezTo>
                    <a:pt x="637" y="82"/>
                    <a:pt x="637" y="82"/>
                    <a:pt x="637" y="83"/>
                  </a:cubicBezTo>
                  <a:cubicBezTo>
                    <a:pt x="637" y="83"/>
                    <a:pt x="637" y="82"/>
                    <a:pt x="637" y="82"/>
                  </a:cubicBezTo>
                  <a:close/>
                  <a:moveTo>
                    <a:pt x="1568" y="9"/>
                  </a:moveTo>
                  <a:cubicBezTo>
                    <a:pt x="1569" y="9"/>
                    <a:pt x="1569" y="9"/>
                    <a:pt x="1569" y="9"/>
                  </a:cubicBezTo>
                  <a:cubicBezTo>
                    <a:pt x="1569" y="9"/>
                    <a:pt x="1569" y="9"/>
                    <a:pt x="1568" y="9"/>
                  </a:cubicBezTo>
                  <a:close/>
                  <a:moveTo>
                    <a:pt x="1707" y="9"/>
                  </a:moveTo>
                  <a:cubicBezTo>
                    <a:pt x="1707" y="9"/>
                    <a:pt x="1708" y="9"/>
                    <a:pt x="1708" y="9"/>
                  </a:cubicBezTo>
                  <a:cubicBezTo>
                    <a:pt x="1707" y="9"/>
                    <a:pt x="1707" y="9"/>
                    <a:pt x="1707" y="9"/>
                  </a:cubicBezTo>
                  <a:close/>
                  <a:moveTo>
                    <a:pt x="1345" y="83"/>
                  </a:moveTo>
                  <a:cubicBezTo>
                    <a:pt x="1346" y="83"/>
                    <a:pt x="1346" y="82"/>
                    <a:pt x="1346" y="82"/>
                  </a:cubicBezTo>
                  <a:cubicBezTo>
                    <a:pt x="1345" y="82"/>
                    <a:pt x="1345" y="82"/>
                    <a:pt x="1345" y="83"/>
                  </a:cubicBezTo>
                  <a:close/>
                  <a:moveTo>
                    <a:pt x="1737" y="9"/>
                  </a:moveTo>
                  <a:cubicBezTo>
                    <a:pt x="1737" y="9"/>
                    <a:pt x="1737" y="9"/>
                    <a:pt x="1737" y="9"/>
                  </a:cubicBezTo>
                  <a:cubicBezTo>
                    <a:pt x="1737" y="9"/>
                    <a:pt x="1737" y="9"/>
                    <a:pt x="1737" y="9"/>
                  </a:cubicBezTo>
                  <a:close/>
                  <a:moveTo>
                    <a:pt x="1530" y="83"/>
                  </a:moveTo>
                  <a:cubicBezTo>
                    <a:pt x="1530" y="83"/>
                    <a:pt x="1530" y="82"/>
                    <a:pt x="1530" y="82"/>
                  </a:cubicBezTo>
                  <a:cubicBezTo>
                    <a:pt x="1530" y="82"/>
                    <a:pt x="1530" y="83"/>
                    <a:pt x="1530" y="83"/>
                  </a:cubicBezTo>
                  <a:close/>
                  <a:moveTo>
                    <a:pt x="1541" y="82"/>
                  </a:moveTo>
                  <a:cubicBezTo>
                    <a:pt x="1541" y="82"/>
                    <a:pt x="1541" y="82"/>
                    <a:pt x="1541" y="83"/>
                  </a:cubicBezTo>
                  <a:cubicBezTo>
                    <a:pt x="1541" y="83"/>
                    <a:pt x="1541" y="82"/>
                    <a:pt x="1541" y="82"/>
                  </a:cubicBezTo>
                  <a:close/>
                  <a:moveTo>
                    <a:pt x="1679" y="82"/>
                  </a:moveTo>
                  <a:cubicBezTo>
                    <a:pt x="1679" y="82"/>
                    <a:pt x="1679" y="83"/>
                    <a:pt x="1679" y="83"/>
                  </a:cubicBezTo>
                  <a:cubicBezTo>
                    <a:pt x="1679" y="82"/>
                    <a:pt x="1679" y="82"/>
                    <a:pt x="1679" y="82"/>
                  </a:cubicBezTo>
                  <a:close/>
                  <a:moveTo>
                    <a:pt x="1698" y="83"/>
                  </a:moveTo>
                  <a:cubicBezTo>
                    <a:pt x="1698" y="83"/>
                    <a:pt x="1698" y="82"/>
                    <a:pt x="1698" y="82"/>
                  </a:cubicBezTo>
                  <a:cubicBezTo>
                    <a:pt x="1698" y="82"/>
                    <a:pt x="1698" y="82"/>
                    <a:pt x="1698" y="83"/>
                  </a:cubicBezTo>
                  <a:close/>
                  <a:moveTo>
                    <a:pt x="1709" y="82"/>
                  </a:moveTo>
                  <a:cubicBezTo>
                    <a:pt x="1709" y="82"/>
                    <a:pt x="1709" y="82"/>
                    <a:pt x="1709" y="83"/>
                  </a:cubicBezTo>
                  <a:cubicBezTo>
                    <a:pt x="1709" y="83"/>
                    <a:pt x="1709" y="82"/>
                    <a:pt x="1709" y="82"/>
                  </a:cubicBezTo>
                  <a:close/>
                  <a:moveTo>
                    <a:pt x="611" y="83"/>
                  </a:moveTo>
                  <a:cubicBezTo>
                    <a:pt x="611" y="83"/>
                    <a:pt x="611" y="83"/>
                    <a:pt x="611" y="82"/>
                  </a:cubicBezTo>
                  <a:cubicBezTo>
                    <a:pt x="611" y="83"/>
                    <a:pt x="611" y="83"/>
                    <a:pt x="611" y="83"/>
                  </a:cubicBezTo>
                  <a:close/>
                  <a:moveTo>
                    <a:pt x="830" y="52"/>
                  </a:moveTo>
                  <a:cubicBezTo>
                    <a:pt x="830" y="52"/>
                    <a:pt x="830" y="52"/>
                    <a:pt x="830" y="53"/>
                  </a:cubicBezTo>
                  <a:cubicBezTo>
                    <a:pt x="830" y="53"/>
                    <a:pt x="830" y="52"/>
                    <a:pt x="830" y="52"/>
                  </a:cubicBezTo>
                  <a:close/>
                  <a:moveTo>
                    <a:pt x="1043" y="82"/>
                  </a:moveTo>
                  <a:cubicBezTo>
                    <a:pt x="1043" y="83"/>
                    <a:pt x="1043" y="83"/>
                    <a:pt x="1043" y="83"/>
                  </a:cubicBezTo>
                  <a:cubicBezTo>
                    <a:pt x="1043" y="83"/>
                    <a:pt x="1043" y="83"/>
                    <a:pt x="1043" y="82"/>
                  </a:cubicBezTo>
                  <a:close/>
                  <a:moveTo>
                    <a:pt x="1221" y="82"/>
                  </a:moveTo>
                  <a:cubicBezTo>
                    <a:pt x="1221" y="83"/>
                    <a:pt x="1221" y="83"/>
                    <a:pt x="1221" y="83"/>
                  </a:cubicBezTo>
                  <a:cubicBezTo>
                    <a:pt x="1221" y="83"/>
                    <a:pt x="1221" y="83"/>
                    <a:pt x="1221" y="82"/>
                  </a:cubicBezTo>
                  <a:close/>
                  <a:moveTo>
                    <a:pt x="1667" y="83"/>
                  </a:moveTo>
                  <a:cubicBezTo>
                    <a:pt x="1667" y="83"/>
                    <a:pt x="1667" y="83"/>
                    <a:pt x="1666" y="82"/>
                  </a:cubicBezTo>
                  <a:cubicBezTo>
                    <a:pt x="1666" y="83"/>
                    <a:pt x="1666" y="83"/>
                    <a:pt x="1667" y="83"/>
                  </a:cubicBezTo>
                  <a:close/>
                  <a:moveTo>
                    <a:pt x="621" y="83"/>
                  </a:moveTo>
                  <a:cubicBezTo>
                    <a:pt x="621" y="83"/>
                    <a:pt x="621" y="83"/>
                    <a:pt x="622" y="84"/>
                  </a:cubicBezTo>
                  <a:cubicBezTo>
                    <a:pt x="622" y="83"/>
                    <a:pt x="622" y="83"/>
                    <a:pt x="621" y="83"/>
                  </a:cubicBezTo>
                  <a:close/>
                  <a:moveTo>
                    <a:pt x="550" y="9"/>
                  </a:moveTo>
                  <a:cubicBezTo>
                    <a:pt x="551" y="9"/>
                    <a:pt x="551" y="9"/>
                    <a:pt x="551" y="9"/>
                  </a:cubicBezTo>
                  <a:cubicBezTo>
                    <a:pt x="551" y="9"/>
                    <a:pt x="550" y="9"/>
                    <a:pt x="550" y="9"/>
                  </a:cubicBezTo>
                  <a:close/>
                  <a:moveTo>
                    <a:pt x="761" y="83"/>
                  </a:moveTo>
                  <a:cubicBezTo>
                    <a:pt x="761" y="83"/>
                    <a:pt x="761" y="83"/>
                    <a:pt x="761" y="83"/>
                  </a:cubicBezTo>
                  <a:cubicBezTo>
                    <a:pt x="761" y="83"/>
                    <a:pt x="761" y="83"/>
                    <a:pt x="761" y="83"/>
                  </a:cubicBezTo>
                  <a:close/>
                  <a:moveTo>
                    <a:pt x="958" y="83"/>
                  </a:moveTo>
                  <a:cubicBezTo>
                    <a:pt x="958" y="83"/>
                    <a:pt x="957" y="83"/>
                    <a:pt x="957" y="83"/>
                  </a:cubicBezTo>
                  <a:cubicBezTo>
                    <a:pt x="957" y="83"/>
                    <a:pt x="957" y="83"/>
                    <a:pt x="958" y="83"/>
                  </a:cubicBezTo>
                  <a:close/>
                  <a:moveTo>
                    <a:pt x="1031" y="83"/>
                  </a:moveTo>
                  <a:cubicBezTo>
                    <a:pt x="1031" y="83"/>
                    <a:pt x="1031" y="83"/>
                    <a:pt x="1031" y="83"/>
                  </a:cubicBezTo>
                  <a:cubicBezTo>
                    <a:pt x="1031" y="83"/>
                    <a:pt x="1031" y="83"/>
                    <a:pt x="1031" y="83"/>
                  </a:cubicBezTo>
                  <a:close/>
                  <a:moveTo>
                    <a:pt x="980" y="9"/>
                  </a:moveTo>
                  <a:cubicBezTo>
                    <a:pt x="980" y="9"/>
                    <a:pt x="980" y="9"/>
                    <a:pt x="981" y="9"/>
                  </a:cubicBezTo>
                  <a:cubicBezTo>
                    <a:pt x="980" y="9"/>
                    <a:pt x="980" y="9"/>
                    <a:pt x="980" y="9"/>
                  </a:cubicBezTo>
                  <a:close/>
                  <a:moveTo>
                    <a:pt x="1345" y="83"/>
                  </a:moveTo>
                  <a:cubicBezTo>
                    <a:pt x="1345" y="83"/>
                    <a:pt x="1345" y="83"/>
                    <a:pt x="1345" y="83"/>
                  </a:cubicBezTo>
                  <a:cubicBezTo>
                    <a:pt x="1345" y="83"/>
                    <a:pt x="1345" y="83"/>
                    <a:pt x="1345" y="83"/>
                  </a:cubicBezTo>
                  <a:close/>
                  <a:moveTo>
                    <a:pt x="1466" y="83"/>
                  </a:moveTo>
                  <a:cubicBezTo>
                    <a:pt x="1466" y="83"/>
                    <a:pt x="1466" y="83"/>
                    <a:pt x="1466" y="83"/>
                  </a:cubicBezTo>
                  <a:cubicBezTo>
                    <a:pt x="1466" y="83"/>
                    <a:pt x="1466" y="83"/>
                    <a:pt x="1466" y="83"/>
                  </a:cubicBezTo>
                  <a:close/>
                  <a:moveTo>
                    <a:pt x="1541" y="83"/>
                  </a:moveTo>
                  <a:cubicBezTo>
                    <a:pt x="1540" y="83"/>
                    <a:pt x="1540" y="83"/>
                    <a:pt x="1540" y="83"/>
                  </a:cubicBezTo>
                  <a:cubicBezTo>
                    <a:pt x="1541" y="83"/>
                    <a:pt x="1541" y="83"/>
                    <a:pt x="1541" y="83"/>
                  </a:cubicBezTo>
                  <a:close/>
                  <a:moveTo>
                    <a:pt x="1679" y="83"/>
                  </a:moveTo>
                  <a:cubicBezTo>
                    <a:pt x="1679" y="83"/>
                    <a:pt x="1679" y="83"/>
                    <a:pt x="1680" y="83"/>
                  </a:cubicBezTo>
                  <a:cubicBezTo>
                    <a:pt x="1680" y="83"/>
                    <a:pt x="1679" y="83"/>
                    <a:pt x="1679" y="83"/>
                  </a:cubicBezTo>
                  <a:close/>
                  <a:moveTo>
                    <a:pt x="1709" y="83"/>
                  </a:moveTo>
                  <a:cubicBezTo>
                    <a:pt x="1708" y="83"/>
                    <a:pt x="1708" y="83"/>
                    <a:pt x="1708" y="83"/>
                  </a:cubicBezTo>
                  <a:cubicBezTo>
                    <a:pt x="1709" y="83"/>
                    <a:pt x="1709" y="83"/>
                    <a:pt x="1709" y="83"/>
                  </a:cubicBezTo>
                  <a:close/>
                  <a:moveTo>
                    <a:pt x="1019" y="9"/>
                  </a:moveTo>
                  <a:cubicBezTo>
                    <a:pt x="1020" y="9"/>
                    <a:pt x="1020" y="9"/>
                    <a:pt x="1020" y="9"/>
                  </a:cubicBezTo>
                  <a:cubicBezTo>
                    <a:pt x="1020" y="9"/>
                    <a:pt x="1020" y="9"/>
                    <a:pt x="1019" y="9"/>
                  </a:cubicBezTo>
                  <a:close/>
                  <a:moveTo>
                    <a:pt x="626" y="84"/>
                  </a:moveTo>
                  <a:cubicBezTo>
                    <a:pt x="626" y="84"/>
                    <a:pt x="627" y="83"/>
                    <a:pt x="626" y="83"/>
                  </a:cubicBezTo>
                  <a:cubicBezTo>
                    <a:pt x="626" y="83"/>
                    <a:pt x="626" y="84"/>
                    <a:pt x="626" y="84"/>
                  </a:cubicBezTo>
                  <a:close/>
                  <a:moveTo>
                    <a:pt x="750" y="53"/>
                  </a:moveTo>
                  <a:cubicBezTo>
                    <a:pt x="750" y="53"/>
                    <a:pt x="750" y="52"/>
                    <a:pt x="750" y="52"/>
                  </a:cubicBezTo>
                  <a:cubicBezTo>
                    <a:pt x="750" y="52"/>
                    <a:pt x="750" y="53"/>
                    <a:pt x="750" y="53"/>
                  </a:cubicBezTo>
                  <a:close/>
                  <a:moveTo>
                    <a:pt x="1354" y="9"/>
                  </a:moveTo>
                  <a:cubicBezTo>
                    <a:pt x="1354" y="9"/>
                    <a:pt x="1355" y="9"/>
                    <a:pt x="1355" y="9"/>
                  </a:cubicBezTo>
                  <a:cubicBezTo>
                    <a:pt x="1354" y="9"/>
                    <a:pt x="1354" y="9"/>
                    <a:pt x="1354" y="9"/>
                  </a:cubicBezTo>
                  <a:close/>
                  <a:moveTo>
                    <a:pt x="1043" y="83"/>
                  </a:moveTo>
                  <a:cubicBezTo>
                    <a:pt x="1043" y="83"/>
                    <a:pt x="1043" y="84"/>
                    <a:pt x="1044" y="84"/>
                  </a:cubicBezTo>
                  <a:cubicBezTo>
                    <a:pt x="1044" y="83"/>
                    <a:pt x="1043" y="83"/>
                    <a:pt x="1043" y="83"/>
                  </a:cubicBezTo>
                  <a:close/>
                  <a:moveTo>
                    <a:pt x="1221" y="83"/>
                  </a:moveTo>
                  <a:cubicBezTo>
                    <a:pt x="1221" y="83"/>
                    <a:pt x="1221" y="84"/>
                    <a:pt x="1221" y="84"/>
                  </a:cubicBezTo>
                  <a:cubicBezTo>
                    <a:pt x="1221" y="83"/>
                    <a:pt x="1221" y="83"/>
                    <a:pt x="1221" y="83"/>
                  </a:cubicBezTo>
                  <a:close/>
                  <a:moveTo>
                    <a:pt x="1356" y="83"/>
                  </a:moveTo>
                  <a:cubicBezTo>
                    <a:pt x="1356" y="83"/>
                    <a:pt x="1356" y="83"/>
                    <a:pt x="1356" y="84"/>
                  </a:cubicBezTo>
                  <a:cubicBezTo>
                    <a:pt x="1356" y="84"/>
                    <a:pt x="1356" y="83"/>
                    <a:pt x="1356" y="83"/>
                  </a:cubicBezTo>
                  <a:close/>
                  <a:moveTo>
                    <a:pt x="1414" y="84"/>
                  </a:moveTo>
                  <a:cubicBezTo>
                    <a:pt x="1414" y="83"/>
                    <a:pt x="1414" y="83"/>
                    <a:pt x="1413" y="83"/>
                  </a:cubicBezTo>
                  <a:cubicBezTo>
                    <a:pt x="1413" y="83"/>
                    <a:pt x="1413" y="84"/>
                    <a:pt x="1414" y="84"/>
                  </a:cubicBezTo>
                  <a:close/>
                  <a:moveTo>
                    <a:pt x="1529" y="84"/>
                  </a:moveTo>
                  <a:cubicBezTo>
                    <a:pt x="1529" y="84"/>
                    <a:pt x="1529" y="83"/>
                    <a:pt x="1529" y="83"/>
                  </a:cubicBezTo>
                  <a:cubicBezTo>
                    <a:pt x="1529" y="83"/>
                    <a:pt x="1529" y="83"/>
                    <a:pt x="1529" y="84"/>
                  </a:cubicBezTo>
                  <a:close/>
                  <a:moveTo>
                    <a:pt x="1385" y="9"/>
                  </a:moveTo>
                  <a:cubicBezTo>
                    <a:pt x="1385" y="9"/>
                    <a:pt x="1385" y="9"/>
                    <a:pt x="1385" y="9"/>
                  </a:cubicBezTo>
                  <a:cubicBezTo>
                    <a:pt x="1385" y="9"/>
                    <a:pt x="1385" y="9"/>
                    <a:pt x="1385" y="9"/>
                  </a:cubicBezTo>
                  <a:close/>
                  <a:moveTo>
                    <a:pt x="1697" y="84"/>
                  </a:moveTo>
                  <a:cubicBezTo>
                    <a:pt x="1697" y="84"/>
                    <a:pt x="1698" y="83"/>
                    <a:pt x="1698" y="83"/>
                  </a:cubicBezTo>
                  <a:cubicBezTo>
                    <a:pt x="1697" y="83"/>
                    <a:pt x="1697" y="83"/>
                    <a:pt x="1697" y="84"/>
                  </a:cubicBezTo>
                  <a:close/>
                  <a:moveTo>
                    <a:pt x="612" y="84"/>
                  </a:moveTo>
                  <a:cubicBezTo>
                    <a:pt x="612" y="84"/>
                    <a:pt x="612" y="83"/>
                    <a:pt x="611" y="83"/>
                  </a:cubicBezTo>
                  <a:cubicBezTo>
                    <a:pt x="611" y="84"/>
                    <a:pt x="611" y="84"/>
                    <a:pt x="612" y="84"/>
                  </a:cubicBezTo>
                  <a:close/>
                  <a:moveTo>
                    <a:pt x="958" y="84"/>
                  </a:moveTo>
                  <a:cubicBezTo>
                    <a:pt x="958" y="84"/>
                    <a:pt x="958" y="84"/>
                    <a:pt x="958" y="83"/>
                  </a:cubicBezTo>
                  <a:cubicBezTo>
                    <a:pt x="958" y="84"/>
                    <a:pt x="958" y="84"/>
                    <a:pt x="958" y="84"/>
                  </a:cubicBezTo>
                  <a:close/>
                  <a:moveTo>
                    <a:pt x="1345" y="84"/>
                  </a:moveTo>
                  <a:cubicBezTo>
                    <a:pt x="1345" y="84"/>
                    <a:pt x="1345" y="84"/>
                    <a:pt x="1345" y="83"/>
                  </a:cubicBezTo>
                  <a:cubicBezTo>
                    <a:pt x="1345" y="84"/>
                    <a:pt x="1345" y="84"/>
                    <a:pt x="1345" y="84"/>
                  </a:cubicBezTo>
                  <a:close/>
                  <a:moveTo>
                    <a:pt x="1540" y="83"/>
                  </a:moveTo>
                  <a:cubicBezTo>
                    <a:pt x="1540" y="84"/>
                    <a:pt x="1540" y="84"/>
                    <a:pt x="1540" y="84"/>
                  </a:cubicBezTo>
                  <a:cubicBezTo>
                    <a:pt x="1540" y="84"/>
                    <a:pt x="1540" y="84"/>
                    <a:pt x="1540" y="83"/>
                  </a:cubicBezTo>
                  <a:close/>
                  <a:moveTo>
                    <a:pt x="1680" y="83"/>
                  </a:moveTo>
                  <a:cubicBezTo>
                    <a:pt x="1679" y="84"/>
                    <a:pt x="1680" y="84"/>
                    <a:pt x="1680" y="84"/>
                  </a:cubicBezTo>
                  <a:cubicBezTo>
                    <a:pt x="1680" y="84"/>
                    <a:pt x="1680" y="84"/>
                    <a:pt x="1680" y="83"/>
                  </a:cubicBezTo>
                  <a:close/>
                  <a:moveTo>
                    <a:pt x="1708" y="83"/>
                  </a:moveTo>
                  <a:cubicBezTo>
                    <a:pt x="1708" y="84"/>
                    <a:pt x="1708" y="84"/>
                    <a:pt x="1708" y="84"/>
                  </a:cubicBezTo>
                  <a:cubicBezTo>
                    <a:pt x="1708" y="84"/>
                    <a:pt x="1708" y="84"/>
                    <a:pt x="1708" y="83"/>
                  </a:cubicBezTo>
                  <a:close/>
                  <a:moveTo>
                    <a:pt x="622" y="84"/>
                  </a:moveTo>
                  <a:cubicBezTo>
                    <a:pt x="622" y="84"/>
                    <a:pt x="622" y="84"/>
                    <a:pt x="622" y="85"/>
                  </a:cubicBezTo>
                  <a:cubicBezTo>
                    <a:pt x="622" y="84"/>
                    <a:pt x="622" y="84"/>
                    <a:pt x="622" y="84"/>
                  </a:cubicBezTo>
                  <a:close/>
                  <a:moveTo>
                    <a:pt x="1427" y="9"/>
                  </a:moveTo>
                  <a:cubicBezTo>
                    <a:pt x="1427" y="9"/>
                    <a:pt x="1427" y="9"/>
                    <a:pt x="1428" y="9"/>
                  </a:cubicBezTo>
                  <a:cubicBezTo>
                    <a:pt x="1427" y="9"/>
                    <a:pt x="1427" y="9"/>
                    <a:pt x="1427" y="9"/>
                  </a:cubicBezTo>
                  <a:close/>
                  <a:moveTo>
                    <a:pt x="636" y="84"/>
                  </a:moveTo>
                  <a:cubicBezTo>
                    <a:pt x="636" y="84"/>
                    <a:pt x="636" y="84"/>
                    <a:pt x="636" y="84"/>
                  </a:cubicBezTo>
                  <a:cubicBezTo>
                    <a:pt x="636" y="84"/>
                    <a:pt x="636" y="84"/>
                    <a:pt x="636" y="84"/>
                  </a:cubicBezTo>
                  <a:close/>
                  <a:moveTo>
                    <a:pt x="1032" y="84"/>
                  </a:moveTo>
                  <a:cubicBezTo>
                    <a:pt x="1032" y="84"/>
                    <a:pt x="1032" y="84"/>
                    <a:pt x="1031" y="84"/>
                  </a:cubicBezTo>
                  <a:cubicBezTo>
                    <a:pt x="1031" y="84"/>
                    <a:pt x="1031" y="84"/>
                    <a:pt x="1032" y="84"/>
                  </a:cubicBezTo>
                  <a:close/>
                  <a:moveTo>
                    <a:pt x="637" y="55"/>
                  </a:moveTo>
                  <a:cubicBezTo>
                    <a:pt x="637" y="55"/>
                    <a:pt x="637" y="55"/>
                    <a:pt x="637" y="55"/>
                  </a:cubicBezTo>
                  <a:cubicBezTo>
                    <a:pt x="637" y="55"/>
                    <a:pt x="637" y="55"/>
                    <a:pt x="637" y="55"/>
                  </a:cubicBezTo>
                  <a:close/>
                  <a:moveTo>
                    <a:pt x="1210" y="84"/>
                  </a:moveTo>
                  <a:cubicBezTo>
                    <a:pt x="1210" y="84"/>
                    <a:pt x="1210" y="84"/>
                    <a:pt x="1209" y="84"/>
                  </a:cubicBezTo>
                  <a:cubicBezTo>
                    <a:pt x="1209" y="84"/>
                    <a:pt x="1209" y="84"/>
                    <a:pt x="1210" y="84"/>
                  </a:cubicBezTo>
                  <a:close/>
                  <a:moveTo>
                    <a:pt x="1221" y="84"/>
                  </a:moveTo>
                  <a:cubicBezTo>
                    <a:pt x="1221" y="84"/>
                    <a:pt x="1222" y="84"/>
                    <a:pt x="1222" y="84"/>
                  </a:cubicBezTo>
                  <a:cubicBezTo>
                    <a:pt x="1222" y="84"/>
                    <a:pt x="1222" y="84"/>
                    <a:pt x="1221" y="84"/>
                  </a:cubicBezTo>
                  <a:close/>
                  <a:moveTo>
                    <a:pt x="1356" y="84"/>
                  </a:moveTo>
                  <a:cubicBezTo>
                    <a:pt x="1356" y="84"/>
                    <a:pt x="1355" y="84"/>
                    <a:pt x="1355" y="84"/>
                  </a:cubicBezTo>
                  <a:cubicBezTo>
                    <a:pt x="1356" y="84"/>
                    <a:pt x="1356" y="84"/>
                    <a:pt x="1356" y="84"/>
                  </a:cubicBezTo>
                  <a:close/>
                  <a:moveTo>
                    <a:pt x="1466" y="84"/>
                  </a:moveTo>
                  <a:cubicBezTo>
                    <a:pt x="1466" y="84"/>
                    <a:pt x="1466" y="84"/>
                    <a:pt x="1466" y="84"/>
                  </a:cubicBezTo>
                  <a:cubicBezTo>
                    <a:pt x="1466" y="84"/>
                    <a:pt x="1466" y="84"/>
                    <a:pt x="1466" y="84"/>
                  </a:cubicBezTo>
                  <a:close/>
                  <a:moveTo>
                    <a:pt x="1529" y="85"/>
                  </a:moveTo>
                  <a:cubicBezTo>
                    <a:pt x="1529" y="84"/>
                    <a:pt x="1529" y="84"/>
                    <a:pt x="1529" y="84"/>
                  </a:cubicBezTo>
                  <a:cubicBezTo>
                    <a:pt x="1529" y="84"/>
                    <a:pt x="1529" y="84"/>
                    <a:pt x="1529" y="85"/>
                  </a:cubicBezTo>
                  <a:close/>
                  <a:moveTo>
                    <a:pt x="1697" y="85"/>
                  </a:moveTo>
                  <a:cubicBezTo>
                    <a:pt x="1697" y="84"/>
                    <a:pt x="1697" y="84"/>
                    <a:pt x="1697" y="84"/>
                  </a:cubicBezTo>
                  <a:cubicBezTo>
                    <a:pt x="1697" y="84"/>
                    <a:pt x="1697" y="84"/>
                    <a:pt x="1697" y="85"/>
                  </a:cubicBezTo>
                  <a:close/>
                  <a:moveTo>
                    <a:pt x="612" y="85"/>
                  </a:moveTo>
                  <a:cubicBezTo>
                    <a:pt x="612" y="85"/>
                    <a:pt x="612" y="84"/>
                    <a:pt x="612" y="84"/>
                  </a:cubicBezTo>
                  <a:cubicBezTo>
                    <a:pt x="612" y="84"/>
                    <a:pt x="612" y="85"/>
                    <a:pt x="612" y="85"/>
                  </a:cubicBezTo>
                  <a:close/>
                  <a:moveTo>
                    <a:pt x="750" y="85"/>
                  </a:moveTo>
                  <a:cubicBezTo>
                    <a:pt x="750" y="85"/>
                    <a:pt x="750" y="84"/>
                    <a:pt x="749" y="84"/>
                  </a:cubicBezTo>
                  <a:cubicBezTo>
                    <a:pt x="749" y="84"/>
                    <a:pt x="749" y="85"/>
                    <a:pt x="750" y="85"/>
                  </a:cubicBezTo>
                  <a:close/>
                  <a:moveTo>
                    <a:pt x="1044" y="84"/>
                  </a:moveTo>
                  <a:cubicBezTo>
                    <a:pt x="1044" y="84"/>
                    <a:pt x="1044" y="85"/>
                    <a:pt x="1044" y="85"/>
                  </a:cubicBezTo>
                  <a:cubicBezTo>
                    <a:pt x="1044" y="85"/>
                    <a:pt x="1044" y="84"/>
                    <a:pt x="1044" y="84"/>
                  </a:cubicBezTo>
                  <a:close/>
                  <a:moveTo>
                    <a:pt x="1414" y="85"/>
                  </a:moveTo>
                  <a:cubicBezTo>
                    <a:pt x="1414" y="84"/>
                    <a:pt x="1414" y="84"/>
                    <a:pt x="1414" y="84"/>
                  </a:cubicBezTo>
                  <a:cubicBezTo>
                    <a:pt x="1414" y="84"/>
                    <a:pt x="1414" y="85"/>
                    <a:pt x="1414" y="85"/>
                  </a:cubicBezTo>
                  <a:close/>
                  <a:moveTo>
                    <a:pt x="1540" y="84"/>
                  </a:moveTo>
                  <a:cubicBezTo>
                    <a:pt x="1540" y="84"/>
                    <a:pt x="1540" y="85"/>
                    <a:pt x="1540" y="85"/>
                  </a:cubicBezTo>
                  <a:cubicBezTo>
                    <a:pt x="1540" y="85"/>
                    <a:pt x="1540" y="84"/>
                    <a:pt x="1540" y="84"/>
                  </a:cubicBezTo>
                  <a:close/>
                  <a:moveTo>
                    <a:pt x="1667" y="85"/>
                  </a:moveTo>
                  <a:cubicBezTo>
                    <a:pt x="1667" y="84"/>
                    <a:pt x="1667" y="84"/>
                    <a:pt x="1667" y="84"/>
                  </a:cubicBezTo>
                  <a:cubicBezTo>
                    <a:pt x="1667" y="84"/>
                    <a:pt x="1667" y="85"/>
                    <a:pt x="1667" y="85"/>
                  </a:cubicBezTo>
                  <a:close/>
                  <a:moveTo>
                    <a:pt x="1680" y="84"/>
                  </a:moveTo>
                  <a:cubicBezTo>
                    <a:pt x="1680" y="84"/>
                    <a:pt x="1680" y="85"/>
                    <a:pt x="1680" y="85"/>
                  </a:cubicBezTo>
                  <a:cubicBezTo>
                    <a:pt x="1680" y="85"/>
                    <a:pt x="1680" y="84"/>
                    <a:pt x="1680" y="84"/>
                  </a:cubicBezTo>
                  <a:close/>
                  <a:moveTo>
                    <a:pt x="1708" y="84"/>
                  </a:moveTo>
                  <a:cubicBezTo>
                    <a:pt x="1708" y="84"/>
                    <a:pt x="1708" y="85"/>
                    <a:pt x="1708" y="85"/>
                  </a:cubicBezTo>
                  <a:cubicBezTo>
                    <a:pt x="1708" y="85"/>
                    <a:pt x="1708" y="84"/>
                    <a:pt x="1708" y="84"/>
                  </a:cubicBezTo>
                  <a:close/>
                  <a:moveTo>
                    <a:pt x="1683" y="42"/>
                  </a:moveTo>
                  <a:cubicBezTo>
                    <a:pt x="1683" y="42"/>
                    <a:pt x="1683" y="42"/>
                    <a:pt x="1683" y="42"/>
                  </a:cubicBezTo>
                  <a:cubicBezTo>
                    <a:pt x="1683" y="42"/>
                    <a:pt x="1683" y="42"/>
                    <a:pt x="1683" y="42"/>
                  </a:cubicBezTo>
                  <a:close/>
                  <a:moveTo>
                    <a:pt x="1538" y="9"/>
                  </a:moveTo>
                  <a:cubicBezTo>
                    <a:pt x="1539" y="9"/>
                    <a:pt x="1539" y="9"/>
                    <a:pt x="1539" y="9"/>
                  </a:cubicBezTo>
                  <a:cubicBezTo>
                    <a:pt x="1539" y="9"/>
                    <a:pt x="1538" y="9"/>
                    <a:pt x="1538" y="9"/>
                  </a:cubicBezTo>
                  <a:close/>
                  <a:moveTo>
                    <a:pt x="762" y="84"/>
                  </a:moveTo>
                  <a:cubicBezTo>
                    <a:pt x="762" y="85"/>
                    <a:pt x="762" y="85"/>
                    <a:pt x="762" y="85"/>
                  </a:cubicBezTo>
                  <a:cubicBezTo>
                    <a:pt x="762" y="85"/>
                    <a:pt x="762" y="85"/>
                    <a:pt x="762" y="84"/>
                  </a:cubicBezTo>
                  <a:close/>
                  <a:moveTo>
                    <a:pt x="959" y="85"/>
                  </a:moveTo>
                  <a:cubicBezTo>
                    <a:pt x="959" y="85"/>
                    <a:pt x="959" y="85"/>
                    <a:pt x="958" y="84"/>
                  </a:cubicBezTo>
                  <a:cubicBezTo>
                    <a:pt x="958" y="85"/>
                    <a:pt x="958" y="85"/>
                    <a:pt x="959" y="85"/>
                  </a:cubicBezTo>
                  <a:close/>
                  <a:moveTo>
                    <a:pt x="1569" y="9"/>
                  </a:moveTo>
                  <a:cubicBezTo>
                    <a:pt x="1569" y="9"/>
                    <a:pt x="1570" y="9"/>
                    <a:pt x="1570" y="9"/>
                  </a:cubicBezTo>
                  <a:cubicBezTo>
                    <a:pt x="1570" y="9"/>
                    <a:pt x="1569" y="9"/>
                    <a:pt x="1569" y="9"/>
                  </a:cubicBezTo>
                  <a:close/>
                  <a:moveTo>
                    <a:pt x="1344" y="85"/>
                  </a:moveTo>
                  <a:cubicBezTo>
                    <a:pt x="1345" y="85"/>
                    <a:pt x="1345" y="85"/>
                    <a:pt x="1345" y="84"/>
                  </a:cubicBezTo>
                  <a:cubicBezTo>
                    <a:pt x="1344" y="85"/>
                    <a:pt x="1344" y="85"/>
                    <a:pt x="1344" y="85"/>
                  </a:cubicBezTo>
                  <a:close/>
                  <a:moveTo>
                    <a:pt x="1466" y="84"/>
                  </a:moveTo>
                  <a:cubicBezTo>
                    <a:pt x="1465" y="85"/>
                    <a:pt x="1465" y="85"/>
                    <a:pt x="1465" y="85"/>
                  </a:cubicBezTo>
                  <a:cubicBezTo>
                    <a:pt x="1466" y="85"/>
                    <a:pt x="1466" y="85"/>
                    <a:pt x="1466" y="84"/>
                  </a:cubicBezTo>
                  <a:close/>
                  <a:moveTo>
                    <a:pt x="622" y="85"/>
                  </a:moveTo>
                  <a:cubicBezTo>
                    <a:pt x="622" y="85"/>
                    <a:pt x="622" y="85"/>
                    <a:pt x="622" y="86"/>
                  </a:cubicBezTo>
                  <a:cubicBezTo>
                    <a:pt x="622" y="85"/>
                    <a:pt x="622" y="85"/>
                    <a:pt x="622" y="85"/>
                  </a:cubicBezTo>
                  <a:close/>
                  <a:moveTo>
                    <a:pt x="626" y="86"/>
                  </a:moveTo>
                  <a:cubicBezTo>
                    <a:pt x="626" y="85"/>
                    <a:pt x="626" y="85"/>
                    <a:pt x="626" y="85"/>
                  </a:cubicBezTo>
                  <a:cubicBezTo>
                    <a:pt x="626" y="85"/>
                    <a:pt x="626" y="85"/>
                    <a:pt x="626" y="86"/>
                  </a:cubicBezTo>
                  <a:close/>
                  <a:moveTo>
                    <a:pt x="1044" y="85"/>
                  </a:moveTo>
                  <a:cubicBezTo>
                    <a:pt x="1044" y="85"/>
                    <a:pt x="1044" y="85"/>
                    <a:pt x="1045" y="85"/>
                  </a:cubicBezTo>
                  <a:cubicBezTo>
                    <a:pt x="1045" y="85"/>
                    <a:pt x="1045" y="85"/>
                    <a:pt x="1044" y="85"/>
                  </a:cubicBezTo>
                  <a:close/>
                  <a:moveTo>
                    <a:pt x="1210" y="85"/>
                  </a:moveTo>
                  <a:cubicBezTo>
                    <a:pt x="1210" y="85"/>
                    <a:pt x="1210" y="85"/>
                    <a:pt x="1210" y="85"/>
                  </a:cubicBezTo>
                  <a:cubicBezTo>
                    <a:pt x="1210" y="85"/>
                    <a:pt x="1210" y="85"/>
                    <a:pt x="1210" y="85"/>
                  </a:cubicBezTo>
                  <a:close/>
                  <a:moveTo>
                    <a:pt x="1222" y="85"/>
                  </a:moveTo>
                  <a:cubicBezTo>
                    <a:pt x="1222" y="85"/>
                    <a:pt x="1222" y="85"/>
                    <a:pt x="1222" y="86"/>
                  </a:cubicBezTo>
                  <a:cubicBezTo>
                    <a:pt x="1222" y="85"/>
                    <a:pt x="1222" y="85"/>
                    <a:pt x="1222" y="85"/>
                  </a:cubicBezTo>
                  <a:close/>
                  <a:moveTo>
                    <a:pt x="1355" y="85"/>
                  </a:moveTo>
                  <a:cubicBezTo>
                    <a:pt x="1355" y="85"/>
                    <a:pt x="1355" y="85"/>
                    <a:pt x="1355" y="85"/>
                  </a:cubicBezTo>
                  <a:cubicBezTo>
                    <a:pt x="1355" y="85"/>
                    <a:pt x="1355" y="85"/>
                    <a:pt x="1355" y="85"/>
                  </a:cubicBezTo>
                  <a:close/>
                  <a:moveTo>
                    <a:pt x="1414" y="85"/>
                  </a:moveTo>
                  <a:cubicBezTo>
                    <a:pt x="1414" y="85"/>
                    <a:pt x="1414" y="85"/>
                    <a:pt x="1414" y="85"/>
                  </a:cubicBezTo>
                  <a:cubicBezTo>
                    <a:pt x="1414" y="85"/>
                    <a:pt x="1414" y="85"/>
                    <a:pt x="1414" y="85"/>
                  </a:cubicBezTo>
                  <a:close/>
                  <a:moveTo>
                    <a:pt x="1528" y="86"/>
                  </a:moveTo>
                  <a:cubicBezTo>
                    <a:pt x="1529" y="85"/>
                    <a:pt x="1529" y="85"/>
                    <a:pt x="1529" y="85"/>
                  </a:cubicBezTo>
                  <a:cubicBezTo>
                    <a:pt x="1528" y="85"/>
                    <a:pt x="1528" y="85"/>
                    <a:pt x="1528" y="86"/>
                  </a:cubicBezTo>
                  <a:close/>
                  <a:moveTo>
                    <a:pt x="1668" y="86"/>
                  </a:moveTo>
                  <a:cubicBezTo>
                    <a:pt x="1668" y="85"/>
                    <a:pt x="1668" y="85"/>
                    <a:pt x="1667" y="85"/>
                  </a:cubicBezTo>
                  <a:cubicBezTo>
                    <a:pt x="1667" y="85"/>
                    <a:pt x="1667" y="85"/>
                    <a:pt x="1668" y="86"/>
                  </a:cubicBezTo>
                  <a:close/>
                  <a:moveTo>
                    <a:pt x="1680" y="85"/>
                  </a:moveTo>
                  <a:cubicBezTo>
                    <a:pt x="1680" y="85"/>
                    <a:pt x="1680" y="85"/>
                    <a:pt x="1681" y="86"/>
                  </a:cubicBezTo>
                  <a:cubicBezTo>
                    <a:pt x="1681" y="85"/>
                    <a:pt x="1681" y="85"/>
                    <a:pt x="1680" y="85"/>
                  </a:cubicBezTo>
                  <a:close/>
                  <a:moveTo>
                    <a:pt x="1697" y="86"/>
                  </a:moveTo>
                  <a:cubicBezTo>
                    <a:pt x="1697" y="85"/>
                    <a:pt x="1697" y="85"/>
                    <a:pt x="1697" y="85"/>
                  </a:cubicBezTo>
                  <a:cubicBezTo>
                    <a:pt x="1697" y="85"/>
                    <a:pt x="1697" y="85"/>
                    <a:pt x="1697" y="86"/>
                  </a:cubicBezTo>
                  <a:close/>
                  <a:moveTo>
                    <a:pt x="612" y="86"/>
                  </a:moveTo>
                  <a:cubicBezTo>
                    <a:pt x="612" y="86"/>
                    <a:pt x="612" y="85"/>
                    <a:pt x="612" y="85"/>
                  </a:cubicBezTo>
                  <a:cubicBezTo>
                    <a:pt x="612" y="85"/>
                    <a:pt x="612" y="86"/>
                    <a:pt x="612" y="86"/>
                  </a:cubicBezTo>
                  <a:close/>
                  <a:moveTo>
                    <a:pt x="750" y="86"/>
                  </a:moveTo>
                  <a:cubicBezTo>
                    <a:pt x="750" y="86"/>
                    <a:pt x="750" y="85"/>
                    <a:pt x="750" y="85"/>
                  </a:cubicBezTo>
                  <a:cubicBezTo>
                    <a:pt x="750" y="85"/>
                    <a:pt x="750" y="86"/>
                    <a:pt x="750" y="86"/>
                  </a:cubicBezTo>
                  <a:close/>
                  <a:moveTo>
                    <a:pt x="1294" y="48"/>
                  </a:moveTo>
                  <a:cubicBezTo>
                    <a:pt x="1294" y="48"/>
                    <a:pt x="1293" y="48"/>
                    <a:pt x="1293" y="49"/>
                  </a:cubicBezTo>
                  <a:cubicBezTo>
                    <a:pt x="1294" y="48"/>
                    <a:pt x="1294" y="48"/>
                    <a:pt x="1294" y="48"/>
                  </a:cubicBezTo>
                  <a:close/>
                  <a:moveTo>
                    <a:pt x="1465" y="85"/>
                  </a:moveTo>
                  <a:cubicBezTo>
                    <a:pt x="1465" y="85"/>
                    <a:pt x="1465" y="86"/>
                    <a:pt x="1465" y="86"/>
                  </a:cubicBezTo>
                  <a:cubicBezTo>
                    <a:pt x="1465" y="86"/>
                    <a:pt x="1465" y="85"/>
                    <a:pt x="1465" y="85"/>
                  </a:cubicBezTo>
                  <a:close/>
                  <a:moveTo>
                    <a:pt x="1540" y="85"/>
                  </a:moveTo>
                  <a:cubicBezTo>
                    <a:pt x="1539" y="85"/>
                    <a:pt x="1539" y="86"/>
                    <a:pt x="1539" y="86"/>
                  </a:cubicBezTo>
                  <a:cubicBezTo>
                    <a:pt x="1540" y="86"/>
                    <a:pt x="1540" y="85"/>
                    <a:pt x="1540" y="85"/>
                  </a:cubicBezTo>
                  <a:close/>
                  <a:moveTo>
                    <a:pt x="1708" y="85"/>
                  </a:moveTo>
                  <a:cubicBezTo>
                    <a:pt x="1707" y="85"/>
                    <a:pt x="1707" y="86"/>
                    <a:pt x="1707" y="86"/>
                  </a:cubicBezTo>
                  <a:cubicBezTo>
                    <a:pt x="1708" y="86"/>
                    <a:pt x="1708" y="85"/>
                    <a:pt x="1708" y="85"/>
                  </a:cubicBezTo>
                  <a:close/>
                  <a:moveTo>
                    <a:pt x="636" y="85"/>
                  </a:moveTo>
                  <a:cubicBezTo>
                    <a:pt x="635" y="86"/>
                    <a:pt x="635" y="86"/>
                    <a:pt x="635" y="86"/>
                  </a:cubicBezTo>
                  <a:cubicBezTo>
                    <a:pt x="636" y="86"/>
                    <a:pt x="636" y="86"/>
                    <a:pt x="636" y="85"/>
                  </a:cubicBezTo>
                  <a:close/>
                  <a:moveTo>
                    <a:pt x="763" y="86"/>
                  </a:moveTo>
                  <a:cubicBezTo>
                    <a:pt x="763" y="86"/>
                    <a:pt x="763" y="86"/>
                    <a:pt x="763" y="86"/>
                  </a:cubicBezTo>
                  <a:cubicBezTo>
                    <a:pt x="763" y="86"/>
                    <a:pt x="763" y="86"/>
                    <a:pt x="763" y="86"/>
                  </a:cubicBezTo>
                  <a:close/>
                  <a:moveTo>
                    <a:pt x="959" y="86"/>
                  </a:moveTo>
                  <a:cubicBezTo>
                    <a:pt x="959" y="86"/>
                    <a:pt x="959" y="86"/>
                    <a:pt x="959" y="86"/>
                  </a:cubicBezTo>
                  <a:cubicBezTo>
                    <a:pt x="959" y="86"/>
                    <a:pt x="959" y="86"/>
                    <a:pt x="959" y="86"/>
                  </a:cubicBezTo>
                  <a:close/>
                  <a:moveTo>
                    <a:pt x="1668" y="9"/>
                  </a:moveTo>
                  <a:cubicBezTo>
                    <a:pt x="1668" y="9"/>
                    <a:pt x="1668" y="9"/>
                    <a:pt x="1668" y="9"/>
                  </a:cubicBezTo>
                  <a:cubicBezTo>
                    <a:pt x="1668" y="9"/>
                    <a:pt x="1668" y="9"/>
                    <a:pt x="1668" y="9"/>
                  </a:cubicBezTo>
                  <a:close/>
                  <a:moveTo>
                    <a:pt x="1032" y="86"/>
                  </a:moveTo>
                  <a:cubicBezTo>
                    <a:pt x="1032" y="86"/>
                    <a:pt x="1032" y="86"/>
                    <a:pt x="1032" y="85"/>
                  </a:cubicBezTo>
                  <a:cubicBezTo>
                    <a:pt x="1032" y="86"/>
                    <a:pt x="1032" y="86"/>
                    <a:pt x="1032" y="86"/>
                  </a:cubicBezTo>
                  <a:close/>
                  <a:moveTo>
                    <a:pt x="1210" y="86"/>
                  </a:moveTo>
                  <a:cubicBezTo>
                    <a:pt x="1210" y="86"/>
                    <a:pt x="1210" y="86"/>
                    <a:pt x="1210" y="85"/>
                  </a:cubicBezTo>
                  <a:cubicBezTo>
                    <a:pt x="1210" y="86"/>
                    <a:pt x="1210" y="86"/>
                    <a:pt x="1210" y="86"/>
                  </a:cubicBezTo>
                  <a:close/>
                  <a:moveTo>
                    <a:pt x="1706" y="9"/>
                  </a:moveTo>
                  <a:cubicBezTo>
                    <a:pt x="1707" y="9"/>
                    <a:pt x="1707" y="9"/>
                    <a:pt x="1707" y="9"/>
                  </a:cubicBezTo>
                  <a:cubicBezTo>
                    <a:pt x="1707" y="9"/>
                    <a:pt x="1706" y="9"/>
                    <a:pt x="1706" y="9"/>
                  </a:cubicBezTo>
                  <a:close/>
                  <a:moveTo>
                    <a:pt x="1668" y="86"/>
                  </a:moveTo>
                  <a:cubicBezTo>
                    <a:pt x="1668" y="86"/>
                    <a:pt x="1668" y="86"/>
                    <a:pt x="1668" y="85"/>
                  </a:cubicBezTo>
                  <a:cubicBezTo>
                    <a:pt x="1668" y="86"/>
                    <a:pt x="1668" y="86"/>
                    <a:pt x="1668" y="86"/>
                  </a:cubicBezTo>
                  <a:close/>
                  <a:moveTo>
                    <a:pt x="1681" y="86"/>
                  </a:moveTo>
                  <a:cubicBezTo>
                    <a:pt x="1681" y="86"/>
                    <a:pt x="1681" y="86"/>
                    <a:pt x="1681" y="86"/>
                  </a:cubicBezTo>
                  <a:cubicBezTo>
                    <a:pt x="1681" y="86"/>
                    <a:pt x="1681" y="86"/>
                    <a:pt x="1681" y="86"/>
                  </a:cubicBezTo>
                  <a:close/>
                  <a:moveTo>
                    <a:pt x="588" y="86"/>
                  </a:moveTo>
                  <a:cubicBezTo>
                    <a:pt x="588" y="86"/>
                    <a:pt x="588" y="86"/>
                    <a:pt x="588" y="87"/>
                  </a:cubicBezTo>
                  <a:cubicBezTo>
                    <a:pt x="588" y="86"/>
                    <a:pt x="588" y="86"/>
                    <a:pt x="588" y="86"/>
                  </a:cubicBezTo>
                  <a:close/>
                  <a:moveTo>
                    <a:pt x="613" y="87"/>
                  </a:moveTo>
                  <a:cubicBezTo>
                    <a:pt x="613" y="86"/>
                    <a:pt x="613" y="86"/>
                    <a:pt x="612" y="86"/>
                  </a:cubicBezTo>
                  <a:cubicBezTo>
                    <a:pt x="612" y="86"/>
                    <a:pt x="612" y="86"/>
                    <a:pt x="613" y="87"/>
                  </a:cubicBezTo>
                  <a:close/>
                  <a:moveTo>
                    <a:pt x="622" y="86"/>
                  </a:moveTo>
                  <a:cubicBezTo>
                    <a:pt x="622" y="86"/>
                    <a:pt x="622" y="86"/>
                    <a:pt x="623" y="87"/>
                  </a:cubicBezTo>
                  <a:cubicBezTo>
                    <a:pt x="623" y="86"/>
                    <a:pt x="623" y="86"/>
                    <a:pt x="622" y="86"/>
                  </a:cubicBezTo>
                  <a:close/>
                  <a:moveTo>
                    <a:pt x="625" y="87"/>
                  </a:moveTo>
                  <a:cubicBezTo>
                    <a:pt x="625" y="86"/>
                    <a:pt x="625" y="86"/>
                    <a:pt x="625" y="86"/>
                  </a:cubicBezTo>
                  <a:cubicBezTo>
                    <a:pt x="625" y="86"/>
                    <a:pt x="625" y="86"/>
                    <a:pt x="625" y="87"/>
                  </a:cubicBezTo>
                  <a:close/>
                  <a:moveTo>
                    <a:pt x="642" y="41"/>
                  </a:moveTo>
                  <a:cubicBezTo>
                    <a:pt x="642" y="41"/>
                    <a:pt x="642" y="41"/>
                    <a:pt x="642" y="40"/>
                  </a:cubicBezTo>
                  <a:cubicBezTo>
                    <a:pt x="642" y="40"/>
                    <a:pt x="642" y="41"/>
                    <a:pt x="642" y="41"/>
                  </a:cubicBezTo>
                  <a:close/>
                  <a:moveTo>
                    <a:pt x="750" y="87"/>
                  </a:moveTo>
                  <a:cubicBezTo>
                    <a:pt x="750" y="86"/>
                    <a:pt x="750" y="86"/>
                    <a:pt x="750" y="86"/>
                  </a:cubicBezTo>
                  <a:cubicBezTo>
                    <a:pt x="750" y="86"/>
                    <a:pt x="750" y="86"/>
                    <a:pt x="750" y="87"/>
                  </a:cubicBezTo>
                  <a:close/>
                  <a:moveTo>
                    <a:pt x="1737" y="9"/>
                  </a:moveTo>
                  <a:cubicBezTo>
                    <a:pt x="1737" y="9"/>
                    <a:pt x="1738" y="9"/>
                    <a:pt x="1738" y="9"/>
                  </a:cubicBezTo>
                  <a:cubicBezTo>
                    <a:pt x="1738" y="9"/>
                    <a:pt x="1738" y="9"/>
                    <a:pt x="1737" y="9"/>
                  </a:cubicBezTo>
                  <a:close/>
                  <a:moveTo>
                    <a:pt x="550" y="10"/>
                  </a:moveTo>
                  <a:cubicBezTo>
                    <a:pt x="550" y="10"/>
                    <a:pt x="550" y="10"/>
                    <a:pt x="550" y="9"/>
                  </a:cubicBezTo>
                  <a:cubicBezTo>
                    <a:pt x="550" y="9"/>
                    <a:pt x="550" y="9"/>
                    <a:pt x="550" y="10"/>
                  </a:cubicBezTo>
                  <a:close/>
                  <a:moveTo>
                    <a:pt x="1415" y="87"/>
                  </a:moveTo>
                  <a:cubicBezTo>
                    <a:pt x="1415" y="86"/>
                    <a:pt x="1415" y="86"/>
                    <a:pt x="1414" y="86"/>
                  </a:cubicBezTo>
                  <a:cubicBezTo>
                    <a:pt x="1414" y="86"/>
                    <a:pt x="1414" y="86"/>
                    <a:pt x="1415" y="87"/>
                  </a:cubicBezTo>
                  <a:close/>
                  <a:moveTo>
                    <a:pt x="1465" y="86"/>
                  </a:moveTo>
                  <a:cubicBezTo>
                    <a:pt x="1465" y="86"/>
                    <a:pt x="1465" y="86"/>
                    <a:pt x="1465" y="87"/>
                  </a:cubicBezTo>
                  <a:cubicBezTo>
                    <a:pt x="1465" y="86"/>
                    <a:pt x="1465" y="86"/>
                    <a:pt x="1465" y="86"/>
                  </a:cubicBezTo>
                  <a:close/>
                  <a:moveTo>
                    <a:pt x="979" y="10"/>
                  </a:moveTo>
                  <a:cubicBezTo>
                    <a:pt x="979" y="10"/>
                    <a:pt x="980" y="9"/>
                    <a:pt x="980" y="9"/>
                  </a:cubicBezTo>
                  <a:cubicBezTo>
                    <a:pt x="980" y="9"/>
                    <a:pt x="979" y="9"/>
                    <a:pt x="979" y="10"/>
                  </a:cubicBezTo>
                  <a:close/>
                  <a:moveTo>
                    <a:pt x="1020" y="9"/>
                  </a:moveTo>
                  <a:cubicBezTo>
                    <a:pt x="1020" y="10"/>
                    <a:pt x="1021" y="10"/>
                    <a:pt x="1021" y="10"/>
                  </a:cubicBezTo>
                  <a:cubicBezTo>
                    <a:pt x="1021" y="9"/>
                    <a:pt x="1021" y="9"/>
                    <a:pt x="1020" y="9"/>
                  </a:cubicBezTo>
                  <a:close/>
                  <a:moveTo>
                    <a:pt x="1353" y="10"/>
                  </a:moveTo>
                  <a:cubicBezTo>
                    <a:pt x="1354" y="10"/>
                    <a:pt x="1354" y="10"/>
                    <a:pt x="1354" y="9"/>
                  </a:cubicBezTo>
                  <a:cubicBezTo>
                    <a:pt x="1354" y="9"/>
                    <a:pt x="1354" y="9"/>
                    <a:pt x="1353" y="10"/>
                  </a:cubicBezTo>
                  <a:close/>
                  <a:moveTo>
                    <a:pt x="1385" y="9"/>
                  </a:moveTo>
                  <a:cubicBezTo>
                    <a:pt x="1386" y="10"/>
                    <a:pt x="1386" y="10"/>
                    <a:pt x="1386" y="10"/>
                  </a:cubicBezTo>
                  <a:cubicBezTo>
                    <a:pt x="1386" y="9"/>
                    <a:pt x="1386" y="9"/>
                    <a:pt x="1385" y="9"/>
                  </a:cubicBezTo>
                  <a:close/>
                  <a:moveTo>
                    <a:pt x="1292" y="41"/>
                  </a:moveTo>
                  <a:cubicBezTo>
                    <a:pt x="1292" y="40"/>
                    <a:pt x="1292" y="40"/>
                    <a:pt x="1292" y="40"/>
                  </a:cubicBezTo>
                  <a:cubicBezTo>
                    <a:pt x="1292" y="40"/>
                    <a:pt x="1292" y="40"/>
                    <a:pt x="1292" y="41"/>
                  </a:cubicBezTo>
                  <a:close/>
                  <a:moveTo>
                    <a:pt x="1033" y="87"/>
                  </a:moveTo>
                  <a:cubicBezTo>
                    <a:pt x="1033" y="87"/>
                    <a:pt x="1033" y="86"/>
                    <a:pt x="1032" y="86"/>
                  </a:cubicBezTo>
                  <a:cubicBezTo>
                    <a:pt x="1032" y="86"/>
                    <a:pt x="1032" y="87"/>
                    <a:pt x="1033" y="87"/>
                  </a:cubicBezTo>
                  <a:close/>
                  <a:moveTo>
                    <a:pt x="1045" y="86"/>
                  </a:moveTo>
                  <a:cubicBezTo>
                    <a:pt x="1045" y="87"/>
                    <a:pt x="1045" y="87"/>
                    <a:pt x="1046" y="87"/>
                  </a:cubicBezTo>
                  <a:cubicBezTo>
                    <a:pt x="1046" y="87"/>
                    <a:pt x="1046" y="86"/>
                    <a:pt x="1045" y="86"/>
                  </a:cubicBezTo>
                  <a:close/>
                  <a:moveTo>
                    <a:pt x="1737" y="42"/>
                  </a:moveTo>
                  <a:cubicBezTo>
                    <a:pt x="1737" y="42"/>
                    <a:pt x="1737" y="42"/>
                    <a:pt x="1737" y="42"/>
                  </a:cubicBezTo>
                  <a:cubicBezTo>
                    <a:pt x="1737" y="42"/>
                    <a:pt x="1737" y="42"/>
                    <a:pt x="1737" y="42"/>
                  </a:cubicBezTo>
                  <a:close/>
                  <a:moveTo>
                    <a:pt x="1681" y="86"/>
                  </a:moveTo>
                  <a:cubicBezTo>
                    <a:pt x="1681" y="87"/>
                    <a:pt x="1681" y="87"/>
                    <a:pt x="1681" y="87"/>
                  </a:cubicBezTo>
                  <a:cubicBezTo>
                    <a:pt x="1681" y="87"/>
                    <a:pt x="1681" y="86"/>
                    <a:pt x="1681" y="86"/>
                  </a:cubicBezTo>
                  <a:close/>
                  <a:moveTo>
                    <a:pt x="1455" y="9"/>
                  </a:moveTo>
                  <a:cubicBezTo>
                    <a:pt x="1455" y="10"/>
                    <a:pt x="1455" y="10"/>
                    <a:pt x="1456" y="10"/>
                  </a:cubicBezTo>
                  <a:cubicBezTo>
                    <a:pt x="1456" y="9"/>
                    <a:pt x="1455" y="9"/>
                    <a:pt x="1455" y="9"/>
                  </a:cubicBezTo>
                  <a:close/>
                  <a:moveTo>
                    <a:pt x="1500" y="10"/>
                  </a:moveTo>
                  <a:cubicBezTo>
                    <a:pt x="1500" y="10"/>
                    <a:pt x="1500" y="10"/>
                    <a:pt x="1501" y="9"/>
                  </a:cubicBezTo>
                  <a:cubicBezTo>
                    <a:pt x="1500" y="9"/>
                    <a:pt x="1500" y="9"/>
                    <a:pt x="1500" y="10"/>
                  </a:cubicBezTo>
                  <a:close/>
                  <a:moveTo>
                    <a:pt x="1538" y="10"/>
                  </a:moveTo>
                  <a:cubicBezTo>
                    <a:pt x="1538" y="10"/>
                    <a:pt x="1538" y="10"/>
                    <a:pt x="1538" y="9"/>
                  </a:cubicBezTo>
                  <a:cubicBezTo>
                    <a:pt x="1538" y="9"/>
                    <a:pt x="1538" y="9"/>
                    <a:pt x="1538" y="10"/>
                  </a:cubicBezTo>
                  <a:close/>
                  <a:moveTo>
                    <a:pt x="646" y="59"/>
                  </a:moveTo>
                  <a:cubicBezTo>
                    <a:pt x="646" y="59"/>
                    <a:pt x="646" y="59"/>
                    <a:pt x="646" y="60"/>
                  </a:cubicBezTo>
                  <a:cubicBezTo>
                    <a:pt x="646" y="60"/>
                    <a:pt x="646" y="59"/>
                    <a:pt x="646" y="59"/>
                  </a:cubicBezTo>
                  <a:close/>
                  <a:moveTo>
                    <a:pt x="1290" y="54"/>
                  </a:moveTo>
                  <a:cubicBezTo>
                    <a:pt x="1290" y="54"/>
                    <a:pt x="1290" y="54"/>
                    <a:pt x="1290" y="55"/>
                  </a:cubicBezTo>
                  <a:cubicBezTo>
                    <a:pt x="1290" y="54"/>
                    <a:pt x="1290" y="54"/>
                    <a:pt x="1290" y="54"/>
                  </a:cubicBezTo>
                  <a:close/>
                  <a:moveTo>
                    <a:pt x="1669" y="9"/>
                  </a:moveTo>
                  <a:cubicBezTo>
                    <a:pt x="1669" y="10"/>
                    <a:pt x="1669" y="10"/>
                    <a:pt x="1669" y="10"/>
                  </a:cubicBezTo>
                  <a:cubicBezTo>
                    <a:pt x="1669" y="9"/>
                    <a:pt x="1669" y="9"/>
                    <a:pt x="1669" y="9"/>
                  </a:cubicBezTo>
                  <a:close/>
                  <a:moveTo>
                    <a:pt x="660" y="60"/>
                  </a:moveTo>
                  <a:cubicBezTo>
                    <a:pt x="660" y="59"/>
                    <a:pt x="660" y="59"/>
                    <a:pt x="659" y="59"/>
                  </a:cubicBezTo>
                  <a:cubicBezTo>
                    <a:pt x="659" y="59"/>
                    <a:pt x="659" y="60"/>
                    <a:pt x="660" y="60"/>
                  </a:cubicBezTo>
                  <a:close/>
                  <a:moveTo>
                    <a:pt x="1211" y="87"/>
                  </a:moveTo>
                  <a:cubicBezTo>
                    <a:pt x="1211" y="87"/>
                    <a:pt x="1211" y="87"/>
                    <a:pt x="1210" y="86"/>
                  </a:cubicBezTo>
                  <a:cubicBezTo>
                    <a:pt x="1210" y="87"/>
                    <a:pt x="1210" y="87"/>
                    <a:pt x="1211" y="87"/>
                  </a:cubicBezTo>
                  <a:close/>
                  <a:moveTo>
                    <a:pt x="1369" y="59"/>
                  </a:moveTo>
                  <a:cubicBezTo>
                    <a:pt x="1369" y="59"/>
                    <a:pt x="1369" y="59"/>
                    <a:pt x="1369" y="59"/>
                  </a:cubicBezTo>
                  <a:cubicBezTo>
                    <a:pt x="1369" y="59"/>
                    <a:pt x="1369" y="59"/>
                    <a:pt x="1369" y="59"/>
                  </a:cubicBezTo>
                  <a:close/>
                  <a:moveTo>
                    <a:pt x="1415" y="87"/>
                  </a:moveTo>
                  <a:cubicBezTo>
                    <a:pt x="1415" y="87"/>
                    <a:pt x="1415" y="87"/>
                    <a:pt x="1415" y="86"/>
                  </a:cubicBezTo>
                  <a:cubicBezTo>
                    <a:pt x="1415" y="87"/>
                    <a:pt x="1415" y="87"/>
                    <a:pt x="1415" y="87"/>
                  </a:cubicBezTo>
                  <a:close/>
                  <a:moveTo>
                    <a:pt x="1465" y="87"/>
                  </a:moveTo>
                  <a:cubicBezTo>
                    <a:pt x="1464" y="87"/>
                    <a:pt x="1464" y="87"/>
                    <a:pt x="1464" y="87"/>
                  </a:cubicBezTo>
                  <a:cubicBezTo>
                    <a:pt x="1465" y="87"/>
                    <a:pt x="1465" y="87"/>
                    <a:pt x="1465" y="87"/>
                  </a:cubicBezTo>
                  <a:close/>
                  <a:moveTo>
                    <a:pt x="1668" y="87"/>
                  </a:moveTo>
                  <a:cubicBezTo>
                    <a:pt x="1668" y="87"/>
                    <a:pt x="1668" y="87"/>
                    <a:pt x="1668" y="86"/>
                  </a:cubicBezTo>
                  <a:cubicBezTo>
                    <a:pt x="1668" y="87"/>
                    <a:pt x="1668" y="87"/>
                    <a:pt x="1668" y="87"/>
                  </a:cubicBezTo>
                  <a:close/>
                  <a:moveTo>
                    <a:pt x="588" y="87"/>
                  </a:moveTo>
                  <a:cubicBezTo>
                    <a:pt x="588" y="87"/>
                    <a:pt x="588" y="87"/>
                    <a:pt x="588" y="88"/>
                  </a:cubicBezTo>
                  <a:cubicBezTo>
                    <a:pt x="588" y="87"/>
                    <a:pt x="588" y="87"/>
                    <a:pt x="588" y="87"/>
                  </a:cubicBezTo>
                  <a:close/>
                  <a:moveTo>
                    <a:pt x="613" y="88"/>
                  </a:moveTo>
                  <a:cubicBezTo>
                    <a:pt x="613" y="87"/>
                    <a:pt x="613" y="87"/>
                    <a:pt x="613" y="87"/>
                  </a:cubicBezTo>
                  <a:cubicBezTo>
                    <a:pt x="613" y="87"/>
                    <a:pt x="613" y="87"/>
                    <a:pt x="613" y="88"/>
                  </a:cubicBezTo>
                  <a:close/>
                  <a:moveTo>
                    <a:pt x="960" y="88"/>
                  </a:moveTo>
                  <a:cubicBezTo>
                    <a:pt x="960" y="87"/>
                    <a:pt x="960" y="87"/>
                    <a:pt x="960" y="87"/>
                  </a:cubicBezTo>
                  <a:cubicBezTo>
                    <a:pt x="960" y="87"/>
                    <a:pt x="960" y="87"/>
                    <a:pt x="960" y="88"/>
                  </a:cubicBezTo>
                  <a:close/>
                  <a:moveTo>
                    <a:pt x="976" y="87"/>
                  </a:moveTo>
                  <a:cubicBezTo>
                    <a:pt x="977" y="87"/>
                    <a:pt x="977" y="87"/>
                    <a:pt x="977" y="87"/>
                  </a:cubicBezTo>
                  <a:cubicBezTo>
                    <a:pt x="977" y="87"/>
                    <a:pt x="977" y="87"/>
                    <a:pt x="976" y="87"/>
                  </a:cubicBezTo>
                  <a:close/>
                  <a:moveTo>
                    <a:pt x="1020" y="87"/>
                  </a:moveTo>
                  <a:cubicBezTo>
                    <a:pt x="1020" y="87"/>
                    <a:pt x="1020" y="87"/>
                    <a:pt x="1021" y="87"/>
                  </a:cubicBezTo>
                  <a:cubicBezTo>
                    <a:pt x="1020" y="87"/>
                    <a:pt x="1020" y="87"/>
                    <a:pt x="1020" y="87"/>
                  </a:cubicBezTo>
                  <a:close/>
                  <a:moveTo>
                    <a:pt x="1706" y="10"/>
                  </a:moveTo>
                  <a:cubicBezTo>
                    <a:pt x="1706" y="10"/>
                    <a:pt x="1706" y="10"/>
                    <a:pt x="1706" y="9"/>
                  </a:cubicBezTo>
                  <a:cubicBezTo>
                    <a:pt x="1706" y="9"/>
                    <a:pt x="1706" y="9"/>
                    <a:pt x="1706" y="10"/>
                  </a:cubicBezTo>
                  <a:close/>
                  <a:moveTo>
                    <a:pt x="1082" y="87"/>
                  </a:moveTo>
                  <a:cubicBezTo>
                    <a:pt x="1082" y="87"/>
                    <a:pt x="1082" y="87"/>
                    <a:pt x="1083" y="87"/>
                  </a:cubicBezTo>
                  <a:cubicBezTo>
                    <a:pt x="1082" y="87"/>
                    <a:pt x="1082" y="87"/>
                    <a:pt x="1082" y="87"/>
                  </a:cubicBezTo>
                  <a:close/>
                  <a:moveTo>
                    <a:pt x="1212" y="49"/>
                  </a:moveTo>
                  <a:cubicBezTo>
                    <a:pt x="1212" y="48"/>
                    <a:pt x="1212" y="48"/>
                    <a:pt x="1212" y="48"/>
                  </a:cubicBezTo>
                  <a:cubicBezTo>
                    <a:pt x="1212" y="48"/>
                    <a:pt x="1212" y="48"/>
                    <a:pt x="1212" y="49"/>
                  </a:cubicBezTo>
                  <a:close/>
                  <a:moveTo>
                    <a:pt x="749" y="55"/>
                  </a:moveTo>
                  <a:cubicBezTo>
                    <a:pt x="749" y="54"/>
                    <a:pt x="749" y="54"/>
                    <a:pt x="749" y="54"/>
                  </a:cubicBezTo>
                  <a:cubicBezTo>
                    <a:pt x="749" y="54"/>
                    <a:pt x="749" y="54"/>
                    <a:pt x="749" y="55"/>
                  </a:cubicBezTo>
                  <a:close/>
                  <a:moveTo>
                    <a:pt x="1681" y="87"/>
                  </a:moveTo>
                  <a:cubicBezTo>
                    <a:pt x="1681" y="87"/>
                    <a:pt x="1681" y="88"/>
                    <a:pt x="1682" y="88"/>
                  </a:cubicBezTo>
                  <a:cubicBezTo>
                    <a:pt x="1682" y="87"/>
                    <a:pt x="1682" y="87"/>
                    <a:pt x="1681" y="87"/>
                  </a:cubicBezTo>
                  <a:close/>
                  <a:moveTo>
                    <a:pt x="635" y="87"/>
                  </a:moveTo>
                  <a:cubicBezTo>
                    <a:pt x="635" y="87"/>
                    <a:pt x="635" y="88"/>
                    <a:pt x="635" y="88"/>
                  </a:cubicBezTo>
                  <a:cubicBezTo>
                    <a:pt x="635" y="88"/>
                    <a:pt x="635" y="87"/>
                    <a:pt x="635" y="87"/>
                  </a:cubicBezTo>
                  <a:close/>
                  <a:moveTo>
                    <a:pt x="857" y="49"/>
                  </a:moveTo>
                  <a:cubicBezTo>
                    <a:pt x="857" y="49"/>
                    <a:pt x="857" y="49"/>
                    <a:pt x="857" y="49"/>
                  </a:cubicBezTo>
                  <a:cubicBezTo>
                    <a:pt x="857" y="49"/>
                    <a:pt x="857" y="49"/>
                    <a:pt x="857" y="49"/>
                  </a:cubicBezTo>
                  <a:close/>
                  <a:moveTo>
                    <a:pt x="688" y="88"/>
                  </a:moveTo>
                  <a:cubicBezTo>
                    <a:pt x="688" y="88"/>
                    <a:pt x="688" y="88"/>
                    <a:pt x="688" y="87"/>
                  </a:cubicBezTo>
                  <a:cubicBezTo>
                    <a:pt x="688" y="87"/>
                    <a:pt x="688" y="88"/>
                    <a:pt x="688" y="88"/>
                  </a:cubicBezTo>
                  <a:close/>
                  <a:moveTo>
                    <a:pt x="1141" y="49"/>
                  </a:moveTo>
                  <a:cubicBezTo>
                    <a:pt x="1141" y="48"/>
                    <a:pt x="1141" y="48"/>
                    <a:pt x="1141" y="48"/>
                  </a:cubicBezTo>
                  <a:cubicBezTo>
                    <a:pt x="1141" y="48"/>
                    <a:pt x="1141" y="48"/>
                    <a:pt x="1141" y="49"/>
                  </a:cubicBezTo>
                  <a:close/>
                  <a:moveTo>
                    <a:pt x="799" y="88"/>
                  </a:moveTo>
                  <a:cubicBezTo>
                    <a:pt x="800" y="88"/>
                    <a:pt x="800" y="88"/>
                    <a:pt x="800" y="87"/>
                  </a:cubicBezTo>
                  <a:cubicBezTo>
                    <a:pt x="800" y="87"/>
                    <a:pt x="799" y="87"/>
                    <a:pt x="799" y="88"/>
                  </a:cubicBezTo>
                  <a:close/>
                  <a:moveTo>
                    <a:pt x="1019" y="88"/>
                  </a:moveTo>
                  <a:cubicBezTo>
                    <a:pt x="1020" y="88"/>
                    <a:pt x="1020" y="88"/>
                    <a:pt x="1020" y="87"/>
                  </a:cubicBezTo>
                  <a:cubicBezTo>
                    <a:pt x="1020" y="87"/>
                    <a:pt x="1019" y="87"/>
                    <a:pt x="1019" y="88"/>
                  </a:cubicBezTo>
                  <a:close/>
                  <a:moveTo>
                    <a:pt x="1186" y="87"/>
                  </a:moveTo>
                  <a:cubicBezTo>
                    <a:pt x="1186" y="88"/>
                    <a:pt x="1186" y="88"/>
                    <a:pt x="1186" y="88"/>
                  </a:cubicBezTo>
                  <a:cubicBezTo>
                    <a:pt x="1186" y="88"/>
                    <a:pt x="1186" y="87"/>
                    <a:pt x="1186" y="87"/>
                  </a:cubicBezTo>
                  <a:close/>
                  <a:moveTo>
                    <a:pt x="1211" y="88"/>
                  </a:moveTo>
                  <a:cubicBezTo>
                    <a:pt x="1211" y="88"/>
                    <a:pt x="1211" y="87"/>
                    <a:pt x="1211" y="87"/>
                  </a:cubicBezTo>
                  <a:cubicBezTo>
                    <a:pt x="1211" y="87"/>
                    <a:pt x="1211" y="88"/>
                    <a:pt x="1211" y="88"/>
                  </a:cubicBezTo>
                  <a:close/>
                  <a:moveTo>
                    <a:pt x="1664" y="59"/>
                  </a:moveTo>
                  <a:cubicBezTo>
                    <a:pt x="1664" y="59"/>
                    <a:pt x="1665" y="59"/>
                    <a:pt x="1665" y="59"/>
                  </a:cubicBezTo>
                  <a:cubicBezTo>
                    <a:pt x="1665" y="59"/>
                    <a:pt x="1664" y="59"/>
                    <a:pt x="1664" y="59"/>
                  </a:cubicBezTo>
                  <a:close/>
                  <a:moveTo>
                    <a:pt x="1415" y="88"/>
                  </a:moveTo>
                  <a:cubicBezTo>
                    <a:pt x="1415" y="88"/>
                    <a:pt x="1415" y="87"/>
                    <a:pt x="1415" y="87"/>
                  </a:cubicBezTo>
                  <a:cubicBezTo>
                    <a:pt x="1415" y="88"/>
                    <a:pt x="1415" y="88"/>
                    <a:pt x="1415" y="88"/>
                  </a:cubicBezTo>
                  <a:close/>
                  <a:moveTo>
                    <a:pt x="1464" y="87"/>
                  </a:moveTo>
                  <a:cubicBezTo>
                    <a:pt x="1464" y="87"/>
                    <a:pt x="1464" y="88"/>
                    <a:pt x="1464" y="88"/>
                  </a:cubicBezTo>
                  <a:cubicBezTo>
                    <a:pt x="1464" y="88"/>
                    <a:pt x="1464" y="88"/>
                    <a:pt x="1464" y="87"/>
                  </a:cubicBezTo>
                  <a:close/>
                  <a:moveTo>
                    <a:pt x="607" y="42"/>
                  </a:moveTo>
                  <a:cubicBezTo>
                    <a:pt x="607" y="42"/>
                    <a:pt x="607" y="43"/>
                    <a:pt x="607" y="43"/>
                  </a:cubicBezTo>
                  <a:cubicBezTo>
                    <a:pt x="607" y="42"/>
                    <a:pt x="607" y="42"/>
                    <a:pt x="607" y="42"/>
                  </a:cubicBezTo>
                  <a:close/>
                  <a:moveTo>
                    <a:pt x="1669" y="88"/>
                  </a:moveTo>
                  <a:cubicBezTo>
                    <a:pt x="1669" y="88"/>
                    <a:pt x="1669" y="87"/>
                    <a:pt x="1668" y="87"/>
                  </a:cubicBezTo>
                  <a:cubicBezTo>
                    <a:pt x="1668" y="87"/>
                    <a:pt x="1668" y="88"/>
                    <a:pt x="1669" y="88"/>
                  </a:cubicBezTo>
                  <a:close/>
                  <a:moveTo>
                    <a:pt x="978" y="10"/>
                  </a:moveTo>
                  <a:cubicBezTo>
                    <a:pt x="978" y="10"/>
                    <a:pt x="979" y="10"/>
                    <a:pt x="979" y="10"/>
                  </a:cubicBezTo>
                  <a:cubicBezTo>
                    <a:pt x="979" y="10"/>
                    <a:pt x="978" y="10"/>
                    <a:pt x="978" y="10"/>
                  </a:cubicBezTo>
                  <a:close/>
                  <a:moveTo>
                    <a:pt x="1353" y="10"/>
                  </a:moveTo>
                  <a:cubicBezTo>
                    <a:pt x="1353" y="10"/>
                    <a:pt x="1353" y="10"/>
                    <a:pt x="1353" y="10"/>
                  </a:cubicBezTo>
                  <a:cubicBezTo>
                    <a:pt x="1353" y="10"/>
                    <a:pt x="1353" y="10"/>
                    <a:pt x="1353" y="10"/>
                  </a:cubicBezTo>
                  <a:close/>
                  <a:moveTo>
                    <a:pt x="1386" y="10"/>
                  </a:moveTo>
                  <a:cubicBezTo>
                    <a:pt x="1386" y="10"/>
                    <a:pt x="1386" y="10"/>
                    <a:pt x="1387" y="10"/>
                  </a:cubicBezTo>
                  <a:cubicBezTo>
                    <a:pt x="1387" y="10"/>
                    <a:pt x="1386" y="10"/>
                    <a:pt x="1386" y="10"/>
                  </a:cubicBezTo>
                  <a:close/>
                  <a:moveTo>
                    <a:pt x="1426" y="10"/>
                  </a:moveTo>
                  <a:cubicBezTo>
                    <a:pt x="1426" y="10"/>
                    <a:pt x="1426" y="10"/>
                    <a:pt x="1426" y="10"/>
                  </a:cubicBezTo>
                  <a:cubicBezTo>
                    <a:pt x="1426" y="10"/>
                    <a:pt x="1426" y="10"/>
                    <a:pt x="1426" y="10"/>
                  </a:cubicBezTo>
                  <a:close/>
                  <a:moveTo>
                    <a:pt x="625" y="88"/>
                  </a:moveTo>
                  <a:cubicBezTo>
                    <a:pt x="625" y="88"/>
                    <a:pt x="625" y="88"/>
                    <a:pt x="625" y="88"/>
                  </a:cubicBezTo>
                  <a:cubicBezTo>
                    <a:pt x="624" y="88"/>
                    <a:pt x="624" y="88"/>
                    <a:pt x="625" y="88"/>
                  </a:cubicBezTo>
                  <a:close/>
                  <a:moveTo>
                    <a:pt x="661" y="43"/>
                  </a:moveTo>
                  <a:cubicBezTo>
                    <a:pt x="661" y="43"/>
                    <a:pt x="661" y="42"/>
                    <a:pt x="661" y="42"/>
                  </a:cubicBezTo>
                  <a:cubicBezTo>
                    <a:pt x="661" y="42"/>
                    <a:pt x="661" y="42"/>
                    <a:pt x="661" y="43"/>
                  </a:cubicBezTo>
                  <a:close/>
                  <a:moveTo>
                    <a:pt x="977" y="88"/>
                  </a:moveTo>
                  <a:cubicBezTo>
                    <a:pt x="978" y="88"/>
                    <a:pt x="978" y="88"/>
                    <a:pt x="978" y="88"/>
                  </a:cubicBezTo>
                  <a:cubicBezTo>
                    <a:pt x="978" y="88"/>
                    <a:pt x="978" y="88"/>
                    <a:pt x="977" y="88"/>
                  </a:cubicBezTo>
                  <a:close/>
                  <a:moveTo>
                    <a:pt x="1019" y="88"/>
                  </a:moveTo>
                  <a:cubicBezTo>
                    <a:pt x="1019" y="88"/>
                    <a:pt x="1019" y="88"/>
                    <a:pt x="1019" y="88"/>
                  </a:cubicBezTo>
                  <a:cubicBezTo>
                    <a:pt x="1019" y="88"/>
                    <a:pt x="1019" y="88"/>
                    <a:pt x="1019" y="88"/>
                  </a:cubicBezTo>
                  <a:close/>
                  <a:moveTo>
                    <a:pt x="1081" y="88"/>
                  </a:moveTo>
                  <a:cubicBezTo>
                    <a:pt x="1081" y="88"/>
                    <a:pt x="1081" y="88"/>
                    <a:pt x="1082" y="88"/>
                  </a:cubicBezTo>
                  <a:cubicBezTo>
                    <a:pt x="1081" y="88"/>
                    <a:pt x="1081" y="88"/>
                    <a:pt x="1081" y="88"/>
                  </a:cubicBezTo>
                  <a:close/>
                  <a:moveTo>
                    <a:pt x="1259" y="88"/>
                  </a:moveTo>
                  <a:cubicBezTo>
                    <a:pt x="1259" y="88"/>
                    <a:pt x="1259" y="88"/>
                    <a:pt x="1259" y="88"/>
                  </a:cubicBezTo>
                  <a:cubicBezTo>
                    <a:pt x="1259" y="88"/>
                    <a:pt x="1259" y="88"/>
                    <a:pt x="1259" y="88"/>
                  </a:cubicBezTo>
                  <a:close/>
                  <a:moveTo>
                    <a:pt x="649" y="52"/>
                  </a:moveTo>
                  <a:cubicBezTo>
                    <a:pt x="649" y="52"/>
                    <a:pt x="648" y="52"/>
                    <a:pt x="648" y="53"/>
                  </a:cubicBezTo>
                  <a:cubicBezTo>
                    <a:pt x="649" y="53"/>
                    <a:pt x="649" y="52"/>
                    <a:pt x="649" y="52"/>
                  </a:cubicBezTo>
                  <a:close/>
                  <a:moveTo>
                    <a:pt x="1570" y="10"/>
                  </a:moveTo>
                  <a:cubicBezTo>
                    <a:pt x="1570" y="10"/>
                    <a:pt x="1571" y="10"/>
                    <a:pt x="1571" y="10"/>
                  </a:cubicBezTo>
                  <a:cubicBezTo>
                    <a:pt x="1571" y="10"/>
                    <a:pt x="1571" y="10"/>
                    <a:pt x="1570" y="10"/>
                  </a:cubicBezTo>
                  <a:close/>
                  <a:moveTo>
                    <a:pt x="1034" y="49"/>
                  </a:moveTo>
                  <a:cubicBezTo>
                    <a:pt x="1034" y="48"/>
                    <a:pt x="1034" y="48"/>
                    <a:pt x="1034" y="48"/>
                  </a:cubicBezTo>
                  <a:cubicBezTo>
                    <a:pt x="1034" y="48"/>
                    <a:pt x="1034" y="48"/>
                    <a:pt x="1034" y="49"/>
                  </a:cubicBezTo>
                  <a:close/>
                  <a:moveTo>
                    <a:pt x="798" y="88"/>
                  </a:moveTo>
                  <a:cubicBezTo>
                    <a:pt x="798" y="88"/>
                    <a:pt x="799" y="88"/>
                    <a:pt x="799" y="88"/>
                  </a:cubicBezTo>
                  <a:cubicBezTo>
                    <a:pt x="799" y="88"/>
                    <a:pt x="798" y="88"/>
                    <a:pt x="798" y="88"/>
                  </a:cubicBezTo>
                  <a:close/>
                  <a:moveTo>
                    <a:pt x="1211" y="89"/>
                  </a:moveTo>
                  <a:cubicBezTo>
                    <a:pt x="1211" y="88"/>
                    <a:pt x="1211" y="88"/>
                    <a:pt x="1211" y="88"/>
                  </a:cubicBezTo>
                  <a:cubicBezTo>
                    <a:pt x="1211" y="88"/>
                    <a:pt x="1211" y="88"/>
                    <a:pt x="1211" y="89"/>
                  </a:cubicBezTo>
                  <a:close/>
                  <a:moveTo>
                    <a:pt x="1416" y="89"/>
                  </a:moveTo>
                  <a:cubicBezTo>
                    <a:pt x="1416" y="88"/>
                    <a:pt x="1416" y="88"/>
                    <a:pt x="1415" y="88"/>
                  </a:cubicBezTo>
                  <a:cubicBezTo>
                    <a:pt x="1415" y="88"/>
                    <a:pt x="1415" y="88"/>
                    <a:pt x="1416" y="89"/>
                  </a:cubicBezTo>
                  <a:close/>
                  <a:moveTo>
                    <a:pt x="1464" y="88"/>
                  </a:moveTo>
                  <a:cubicBezTo>
                    <a:pt x="1464" y="88"/>
                    <a:pt x="1464" y="88"/>
                    <a:pt x="1464" y="89"/>
                  </a:cubicBezTo>
                  <a:cubicBezTo>
                    <a:pt x="1464" y="88"/>
                    <a:pt x="1464" y="88"/>
                    <a:pt x="1464" y="88"/>
                  </a:cubicBezTo>
                  <a:close/>
                  <a:moveTo>
                    <a:pt x="599" y="53"/>
                  </a:moveTo>
                  <a:cubicBezTo>
                    <a:pt x="599" y="52"/>
                    <a:pt x="599" y="52"/>
                    <a:pt x="599" y="52"/>
                  </a:cubicBezTo>
                  <a:cubicBezTo>
                    <a:pt x="599" y="52"/>
                    <a:pt x="599" y="53"/>
                    <a:pt x="599" y="53"/>
                  </a:cubicBezTo>
                  <a:close/>
                  <a:moveTo>
                    <a:pt x="1669" y="89"/>
                  </a:moveTo>
                  <a:cubicBezTo>
                    <a:pt x="1669" y="88"/>
                    <a:pt x="1669" y="88"/>
                    <a:pt x="1669" y="88"/>
                  </a:cubicBezTo>
                  <a:cubicBezTo>
                    <a:pt x="1669" y="88"/>
                    <a:pt x="1669" y="88"/>
                    <a:pt x="1669" y="89"/>
                  </a:cubicBezTo>
                  <a:close/>
                  <a:moveTo>
                    <a:pt x="648" y="54"/>
                  </a:moveTo>
                  <a:cubicBezTo>
                    <a:pt x="648" y="54"/>
                    <a:pt x="648" y="54"/>
                    <a:pt x="648" y="55"/>
                  </a:cubicBezTo>
                  <a:cubicBezTo>
                    <a:pt x="648" y="54"/>
                    <a:pt x="648" y="54"/>
                    <a:pt x="648" y="54"/>
                  </a:cubicBezTo>
                  <a:close/>
                  <a:moveTo>
                    <a:pt x="634" y="88"/>
                  </a:moveTo>
                  <a:cubicBezTo>
                    <a:pt x="634" y="88"/>
                    <a:pt x="634" y="89"/>
                    <a:pt x="634" y="89"/>
                  </a:cubicBezTo>
                  <a:cubicBezTo>
                    <a:pt x="635" y="89"/>
                    <a:pt x="635" y="88"/>
                    <a:pt x="634" y="88"/>
                  </a:cubicBezTo>
                  <a:close/>
                  <a:moveTo>
                    <a:pt x="612" y="56"/>
                  </a:moveTo>
                  <a:cubicBezTo>
                    <a:pt x="612" y="56"/>
                    <a:pt x="612" y="57"/>
                    <a:pt x="612" y="57"/>
                  </a:cubicBezTo>
                  <a:cubicBezTo>
                    <a:pt x="612" y="56"/>
                    <a:pt x="612" y="56"/>
                    <a:pt x="612" y="56"/>
                  </a:cubicBezTo>
                  <a:close/>
                  <a:moveTo>
                    <a:pt x="687" y="89"/>
                  </a:moveTo>
                  <a:cubicBezTo>
                    <a:pt x="688" y="89"/>
                    <a:pt x="688" y="89"/>
                    <a:pt x="688" y="88"/>
                  </a:cubicBezTo>
                  <a:cubicBezTo>
                    <a:pt x="688" y="88"/>
                    <a:pt x="687" y="89"/>
                    <a:pt x="687" y="89"/>
                  </a:cubicBezTo>
                  <a:close/>
                  <a:moveTo>
                    <a:pt x="1669" y="10"/>
                  </a:moveTo>
                  <a:cubicBezTo>
                    <a:pt x="1670" y="10"/>
                    <a:pt x="1670" y="10"/>
                    <a:pt x="1670" y="10"/>
                  </a:cubicBezTo>
                  <a:cubicBezTo>
                    <a:pt x="1670" y="10"/>
                    <a:pt x="1670" y="10"/>
                    <a:pt x="1669" y="10"/>
                  </a:cubicBezTo>
                  <a:close/>
                  <a:moveTo>
                    <a:pt x="1080" y="89"/>
                  </a:moveTo>
                  <a:cubicBezTo>
                    <a:pt x="1080" y="89"/>
                    <a:pt x="1080" y="89"/>
                    <a:pt x="1080" y="88"/>
                  </a:cubicBezTo>
                  <a:cubicBezTo>
                    <a:pt x="1080" y="88"/>
                    <a:pt x="1080" y="88"/>
                    <a:pt x="1080" y="89"/>
                  </a:cubicBezTo>
                  <a:close/>
                  <a:moveTo>
                    <a:pt x="1186" y="88"/>
                  </a:moveTo>
                  <a:cubicBezTo>
                    <a:pt x="1186" y="89"/>
                    <a:pt x="1186" y="89"/>
                    <a:pt x="1187" y="89"/>
                  </a:cubicBezTo>
                  <a:cubicBezTo>
                    <a:pt x="1187" y="89"/>
                    <a:pt x="1187" y="88"/>
                    <a:pt x="1186" y="88"/>
                  </a:cubicBezTo>
                  <a:close/>
                  <a:moveTo>
                    <a:pt x="1258" y="89"/>
                  </a:moveTo>
                  <a:cubicBezTo>
                    <a:pt x="1258" y="89"/>
                    <a:pt x="1258" y="89"/>
                    <a:pt x="1258" y="88"/>
                  </a:cubicBezTo>
                  <a:cubicBezTo>
                    <a:pt x="1258" y="88"/>
                    <a:pt x="1258" y="88"/>
                    <a:pt x="1258" y="89"/>
                  </a:cubicBezTo>
                  <a:close/>
                  <a:moveTo>
                    <a:pt x="602" y="60"/>
                  </a:moveTo>
                  <a:cubicBezTo>
                    <a:pt x="602" y="60"/>
                    <a:pt x="602" y="59"/>
                    <a:pt x="602" y="59"/>
                  </a:cubicBezTo>
                  <a:cubicBezTo>
                    <a:pt x="602" y="60"/>
                    <a:pt x="602" y="60"/>
                    <a:pt x="602" y="60"/>
                  </a:cubicBezTo>
                  <a:close/>
                  <a:moveTo>
                    <a:pt x="587" y="89"/>
                  </a:moveTo>
                  <a:cubicBezTo>
                    <a:pt x="587" y="89"/>
                    <a:pt x="587" y="89"/>
                    <a:pt x="587" y="89"/>
                  </a:cubicBezTo>
                  <a:cubicBezTo>
                    <a:pt x="587" y="89"/>
                    <a:pt x="587" y="89"/>
                    <a:pt x="587" y="89"/>
                  </a:cubicBezTo>
                  <a:close/>
                  <a:moveTo>
                    <a:pt x="614" y="89"/>
                  </a:moveTo>
                  <a:cubicBezTo>
                    <a:pt x="614" y="89"/>
                    <a:pt x="614" y="89"/>
                    <a:pt x="613" y="89"/>
                  </a:cubicBezTo>
                  <a:cubicBezTo>
                    <a:pt x="613" y="89"/>
                    <a:pt x="613" y="89"/>
                    <a:pt x="614" y="89"/>
                  </a:cubicBezTo>
                  <a:close/>
                  <a:moveTo>
                    <a:pt x="674" y="59"/>
                  </a:moveTo>
                  <a:cubicBezTo>
                    <a:pt x="674" y="60"/>
                    <a:pt x="674" y="60"/>
                    <a:pt x="675" y="60"/>
                  </a:cubicBezTo>
                  <a:cubicBezTo>
                    <a:pt x="674" y="59"/>
                    <a:pt x="674" y="59"/>
                    <a:pt x="674" y="59"/>
                  </a:cubicBezTo>
                  <a:close/>
                  <a:moveTo>
                    <a:pt x="624" y="89"/>
                  </a:moveTo>
                  <a:cubicBezTo>
                    <a:pt x="624" y="89"/>
                    <a:pt x="624" y="89"/>
                    <a:pt x="624" y="89"/>
                  </a:cubicBezTo>
                  <a:cubicBezTo>
                    <a:pt x="624" y="89"/>
                    <a:pt x="624" y="89"/>
                    <a:pt x="624" y="89"/>
                  </a:cubicBezTo>
                  <a:close/>
                  <a:moveTo>
                    <a:pt x="726" y="89"/>
                  </a:moveTo>
                  <a:cubicBezTo>
                    <a:pt x="726" y="89"/>
                    <a:pt x="726" y="89"/>
                    <a:pt x="727" y="89"/>
                  </a:cubicBezTo>
                  <a:cubicBezTo>
                    <a:pt x="727" y="89"/>
                    <a:pt x="727" y="89"/>
                    <a:pt x="726" y="89"/>
                  </a:cubicBezTo>
                  <a:close/>
                  <a:moveTo>
                    <a:pt x="752" y="89"/>
                  </a:moveTo>
                  <a:cubicBezTo>
                    <a:pt x="752" y="89"/>
                    <a:pt x="752" y="89"/>
                    <a:pt x="751" y="89"/>
                  </a:cubicBezTo>
                  <a:cubicBezTo>
                    <a:pt x="752" y="89"/>
                    <a:pt x="752" y="89"/>
                    <a:pt x="752" y="89"/>
                  </a:cubicBezTo>
                  <a:close/>
                  <a:moveTo>
                    <a:pt x="797" y="89"/>
                  </a:moveTo>
                  <a:cubicBezTo>
                    <a:pt x="797" y="89"/>
                    <a:pt x="798" y="89"/>
                    <a:pt x="798" y="89"/>
                  </a:cubicBezTo>
                  <a:cubicBezTo>
                    <a:pt x="798" y="89"/>
                    <a:pt x="797" y="89"/>
                    <a:pt x="797" y="89"/>
                  </a:cubicBezTo>
                  <a:close/>
                  <a:moveTo>
                    <a:pt x="979" y="89"/>
                  </a:moveTo>
                  <a:cubicBezTo>
                    <a:pt x="979" y="89"/>
                    <a:pt x="980" y="89"/>
                    <a:pt x="980" y="89"/>
                  </a:cubicBezTo>
                  <a:cubicBezTo>
                    <a:pt x="980" y="89"/>
                    <a:pt x="979" y="89"/>
                    <a:pt x="979" y="89"/>
                  </a:cubicBezTo>
                  <a:close/>
                  <a:moveTo>
                    <a:pt x="1016" y="89"/>
                  </a:moveTo>
                  <a:cubicBezTo>
                    <a:pt x="1017" y="89"/>
                    <a:pt x="1017" y="89"/>
                    <a:pt x="1017" y="89"/>
                  </a:cubicBezTo>
                  <a:cubicBezTo>
                    <a:pt x="1017" y="89"/>
                    <a:pt x="1017" y="89"/>
                    <a:pt x="1016" y="89"/>
                  </a:cubicBezTo>
                  <a:close/>
                  <a:moveTo>
                    <a:pt x="1212" y="89"/>
                  </a:moveTo>
                  <a:cubicBezTo>
                    <a:pt x="1212" y="89"/>
                    <a:pt x="1212" y="89"/>
                    <a:pt x="1211" y="89"/>
                  </a:cubicBezTo>
                  <a:cubicBezTo>
                    <a:pt x="1211" y="89"/>
                    <a:pt x="1211" y="89"/>
                    <a:pt x="1212" y="89"/>
                  </a:cubicBezTo>
                  <a:close/>
                  <a:moveTo>
                    <a:pt x="1416" y="89"/>
                  </a:moveTo>
                  <a:cubicBezTo>
                    <a:pt x="1416" y="89"/>
                    <a:pt x="1416" y="89"/>
                    <a:pt x="1416" y="89"/>
                  </a:cubicBezTo>
                  <a:cubicBezTo>
                    <a:pt x="1416" y="89"/>
                    <a:pt x="1416" y="89"/>
                    <a:pt x="1416" y="89"/>
                  </a:cubicBezTo>
                  <a:close/>
                  <a:moveTo>
                    <a:pt x="1464" y="89"/>
                  </a:moveTo>
                  <a:cubicBezTo>
                    <a:pt x="1463" y="89"/>
                    <a:pt x="1463" y="89"/>
                    <a:pt x="1463" y="89"/>
                  </a:cubicBezTo>
                  <a:cubicBezTo>
                    <a:pt x="1464" y="89"/>
                    <a:pt x="1464" y="89"/>
                    <a:pt x="1464" y="89"/>
                  </a:cubicBezTo>
                  <a:close/>
                  <a:moveTo>
                    <a:pt x="612" y="55"/>
                  </a:moveTo>
                  <a:cubicBezTo>
                    <a:pt x="612" y="55"/>
                    <a:pt x="612" y="55"/>
                    <a:pt x="612" y="56"/>
                  </a:cubicBezTo>
                  <a:cubicBezTo>
                    <a:pt x="612" y="55"/>
                    <a:pt x="612" y="55"/>
                    <a:pt x="612" y="55"/>
                  </a:cubicBezTo>
                  <a:close/>
                  <a:moveTo>
                    <a:pt x="1682" y="89"/>
                  </a:moveTo>
                  <a:cubicBezTo>
                    <a:pt x="1682" y="89"/>
                    <a:pt x="1682" y="89"/>
                    <a:pt x="1682" y="89"/>
                  </a:cubicBezTo>
                  <a:cubicBezTo>
                    <a:pt x="1682" y="89"/>
                    <a:pt x="1682" y="89"/>
                    <a:pt x="1682" y="89"/>
                  </a:cubicBezTo>
                  <a:close/>
                  <a:moveTo>
                    <a:pt x="857" y="49"/>
                  </a:moveTo>
                  <a:cubicBezTo>
                    <a:pt x="857" y="48"/>
                    <a:pt x="857" y="48"/>
                    <a:pt x="856" y="48"/>
                  </a:cubicBezTo>
                  <a:cubicBezTo>
                    <a:pt x="856" y="48"/>
                    <a:pt x="856" y="48"/>
                    <a:pt x="857" y="49"/>
                  </a:cubicBezTo>
                  <a:close/>
                  <a:moveTo>
                    <a:pt x="634" y="89"/>
                  </a:moveTo>
                  <a:cubicBezTo>
                    <a:pt x="634" y="89"/>
                    <a:pt x="634" y="89"/>
                    <a:pt x="634" y="90"/>
                  </a:cubicBezTo>
                  <a:cubicBezTo>
                    <a:pt x="634" y="90"/>
                    <a:pt x="634" y="89"/>
                    <a:pt x="634" y="89"/>
                  </a:cubicBezTo>
                  <a:close/>
                  <a:moveTo>
                    <a:pt x="980" y="89"/>
                  </a:moveTo>
                  <a:cubicBezTo>
                    <a:pt x="980" y="89"/>
                    <a:pt x="980" y="89"/>
                    <a:pt x="981" y="89"/>
                  </a:cubicBezTo>
                  <a:cubicBezTo>
                    <a:pt x="980" y="89"/>
                    <a:pt x="980" y="89"/>
                    <a:pt x="980" y="89"/>
                  </a:cubicBezTo>
                  <a:close/>
                  <a:moveTo>
                    <a:pt x="1016" y="89"/>
                  </a:moveTo>
                  <a:cubicBezTo>
                    <a:pt x="1016" y="89"/>
                    <a:pt x="1016" y="89"/>
                    <a:pt x="1016" y="89"/>
                  </a:cubicBezTo>
                  <a:cubicBezTo>
                    <a:pt x="1016" y="89"/>
                    <a:pt x="1016" y="89"/>
                    <a:pt x="1016" y="89"/>
                  </a:cubicBezTo>
                  <a:close/>
                  <a:moveTo>
                    <a:pt x="1034" y="90"/>
                  </a:moveTo>
                  <a:cubicBezTo>
                    <a:pt x="1034" y="89"/>
                    <a:pt x="1034" y="89"/>
                    <a:pt x="1034" y="89"/>
                  </a:cubicBezTo>
                  <a:cubicBezTo>
                    <a:pt x="1034" y="89"/>
                    <a:pt x="1034" y="90"/>
                    <a:pt x="1034" y="90"/>
                  </a:cubicBezTo>
                  <a:close/>
                  <a:moveTo>
                    <a:pt x="1079" y="89"/>
                  </a:moveTo>
                  <a:cubicBezTo>
                    <a:pt x="1079" y="89"/>
                    <a:pt x="1079" y="89"/>
                    <a:pt x="1079" y="89"/>
                  </a:cubicBezTo>
                  <a:cubicBezTo>
                    <a:pt x="1079" y="89"/>
                    <a:pt x="1079" y="89"/>
                    <a:pt x="1079" y="89"/>
                  </a:cubicBezTo>
                  <a:close/>
                  <a:moveTo>
                    <a:pt x="1187" y="89"/>
                  </a:moveTo>
                  <a:cubicBezTo>
                    <a:pt x="1187" y="89"/>
                    <a:pt x="1187" y="90"/>
                    <a:pt x="1187" y="90"/>
                  </a:cubicBezTo>
                  <a:cubicBezTo>
                    <a:pt x="1187" y="89"/>
                    <a:pt x="1187" y="89"/>
                    <a:pt x="1187" y="89"/>
                  </a:cubicBezTo>
                  <a:close/>
                  <a:moveTo>
                    <a:pt x="1257" y="89"/>
                  </a:moveTo>
                  <a:cubicBezTo>
                    <a:pt x="1257" y="89"/>
                    <a:pt x="1257" y="89"/>
                    <a:pt x="1257" y="89"/>
                  </a:cubicBezTo>
                  <a:cubicBezTo>
                    <a:pt x="1257" y="89"/>
                    <a:pt x="1257" y="89"/>
                    <a:pt x="1257" y="89"/>
                  </a:cubicBezTo>
                  <a:close/>
                  <a:moveTo>
                    <a:pt x="1669" y="90"/>
                  </a:moveTo>
                  <a:cubicBezTo>
                    <a:pt x="1669" y="89"/>
                    <a:pt x="1669" y="89"/>
                    <a:pt x="1669" y="89"/>
                  </a:cubicBezTo>
                  <a:cubicBezTo>
                    <a:pt x="1669" y="89"/>
                    <a:pt x="1669" y="89"/>
                    <a:pt x="1669" y="90"/>
                  </a:cubicBezTo>
                  <a:close/>
                  <a:moveTo>
                    <a:pt x="587" y="89"/>
                  </a:moveTo>
                  <a:cubicBezTo>
                    <a:pt x="587" y="89"/>
                    <a:pt x="586" y="90"/>
                    <a:pt x="586" y="90"/>
                  </a:cubicBezTo>
                  <a:cubicBezTo>
                    <a:pt x="587" y="90"/>
                    <a:pt x="587" y="90"/>
                    <a:pt x="587" y="89"/>
                  </a:cubicBezTo>
                  <a:close/>
                  <a:moveTo>
                    <a:pt x="1738" y="10"/>
                  </a:moveTo>
                  <a:cubicBezTo>
                    <a:pt x="1738" y="10"/>
                    <a:pt x="1739" y="10"/>
                    <a:pt x="1739" y="10"/>
                  </a:cubicBezTo>
                  <a:cubicBezTo>
                    <a:pt x="1739" y="10"/>
                    <a:pt x="1739" y="10"/>
                    <a:pt x="1738" y="10"/>
                  </a:cubicBezTo>
                  <a:close/>
                  <a:moveTo>
                    <a:pt x="661" y="89"/>
                  </a:moveTo>
                  <a:cubicBezTo>
                    <a:pt x="661" y="90"/>
                    <a:pt x="661" y="90"/>
                    <a:pt x="662" y="90"/>
                  </a:cubicBezTo>
                  <a:cubicBezTo>
                    <a:pt x="662" y="89"/>
                    <a:pt x="661" y="89"/>
                    <a:pt x="661" y="89"/>
                  </a:cubicBezTo>
                  <a:close/>
                  <a:moveTo>
                    <a:pt x="687" y="90"/>
                  </a:moveTo>
                  <a:cubicBezTo>
                    <a:pt x="687" y="90"/>
                    <a:pt x="687" y="90"/>
                    <a:pt x="687" y="89"/>
                  </a:cubicBezTo>
                  <a:cubicBezTo>
                    <a:pt x="687" y="89"/>
                    <a:pt x="687" y="90"/>
                    <a:pt x="687" y="90"/>
                  </a:cubicBezTo>
                  <a:close/>
                  <a:moveTo>
                    <a:pt x="699" y="89"/>
                  </a:moveTo>
                  <a:cubicBezTo>
                    <a:pt x="699" y="89"/>
                    <a:pt x="699" y="90"/>
                    <a:pt x="699" y="90"/>
                  </a:cubicBezTo>
                  <a:cubicBezTo>
                    <a:pt x="699" y="90"/>
                    <a:pt x="699" y="90"/>
                    <a:pt x="699" y="89"/>
                  </a:cubicBezTo>
                  <a:close/>
                  <a:moveTo>
                    <a:pt x="727" y="89"/>
                  </a:moveTo>
                  <a:cubicBezTo>
                    <a:pt x="727" y="90"/>
                    <a:pt x="727" y="90"/>
                    <a:pt x="727" y="90"/>
                  </a:cubicBezTo>
                  <a:cubicBezTo>
                    <a:pt x="727" y="90"/>
                    <a:pt x="727" y="89"/>
                    <a:pt x="727" y="89"/>
                  </a:cubicBezTo>
                  <a:close/>
                  <a:moveTo>
                    <a:pt x="752" y="90"/>
                  </a:moveTo>
                  <a:cubicBezTo>
                    <a:pt x="752" y="90"/>
                    <a:pt x="752" y="89"/>
                    <a:pt x="752" y="89"/>
                  </a:cubicBezTo>
                  <a:cubicBezTo>
                    <a:pt x="752" y="90"/>
                    <a:pt x="752" y="90"/>
                    <a:pt x="752" y="90"/>
                  </a:cubicBezTo>
                  <a:close/>
                  <a:moveTo>
                    <a:pt x="796" y="90"/>
                  </a:moveTo>
                  <a:cubicBezTo>
                    <a:pt x="796" y="90"/>
                    <a:pt x="797" y="90"/>
                    <a:pt x="797" y="89"/>
                  </a:cubicBezTo>
                  <a:cubicBezTo>
                    <a:pt x="796" y="89"/>
                    <a:pt x="796" y="89"/>
                    <a:pt x="796" y="90"/>
                  </a:cubicBezTo>
                  <a:close/>
                  <a:moveTo>
                    <a:pt x="981" y="89"/>
                  </a:moveTo>
                  <a:cubicBezTo>
                    <a:pt x="981" y="90"/>
                    <a:pt x="981" y="90"/>
                    <a:pt x="981" y="90"/>
                  </a:cubicBezTo>
                  <a:cubicBezTo>
                    <a:pt x="981" y="89"/>
                    <a:pt x="981" y="89"/>
                    <a:pt x="981" y="89"/>
                  </a:cubicBezTo>
                  <a:close/>
                  <a:moveTo>
                    <a:pt x="1015" y="90"/>
                  </a:moveTo>
                  <a:cubicBezTo>
                    <a:pt x="1015" y="90"/>
                    <a:pt x="1016" y="90"/>
                    <a:pt x="1016" y="89"/>
                  </a:cubicBezTo>
                  <a:cubicBezTo>
                    <a:pt x="1015" y="89"/>
                    <a:pt x="1015" y="89"/>
                    <a:pt x="1015" y="90"/>
                  </a:cubicBezTo>
                  <a:close/>
                  <a:moveTo>
                    <a:pt x="1048" y="89"/>
                  </a:moveTo>
                  <a:cubicBezTo>
                    <a:pt x="1048" y="90"/>
                    <a:pt x="1048" y="90"/>
                    <a:pt x="1049" y="90"/>
                  </a:cubicBezTo>
                  <a:cubicBezTo>
                    <a:pt x="1049" y="89"/>
                    <a:pt x="1048" y="89"/>
                    <a:pt x="1048" y="89"/>
                  </a:cubicBezTo>
                  <a:close/>
                  <a:moveTo>
                    <a:pt x="1078" y="90"/>
                  </a:moveTo>
                  <a:cubicBezTo>
                    <a:pt x="1078" y="90"/>
                    <a:pt x="1079" y="90"/>
                    <a:pt x="1079" y="89"/>
                  </a:cubicBezTo>
                  <a:cubicBezTo>
                    <a:pt x="1078" y="89"/>
                    <a:pt x="1078" y="89"/>
                    <a:pt x="1078" y="90"/>
                  </a:cubicBezTo>
                  <a:close/>
                  <a:moveTo>
                    <a:pt x="1291" y="42"/>
                  </a:moveTo>
                  <a:cubicBezTo>
                    <a:pt x="1291" y="41"/>
                    <a:pt x="1291" y="41"/>
                    <a:pt x="1291" y="41"/>
                  </a:cubicBezTo>
                  <a:cubicBezTo>
                    <a:pt x="1291" y="41"/>
                    <a:pt x="1291" y="41"/>
                    <a:pt x="1291" y="42"/>
                  </a:cubicBezTo>
                  <a:close/>
                  <a:moveTo>
                    <a:pt x="977" y="10"/>
                  </a:moveTo>
                  <a:cubicBezTo>
                    <a:pt x="978" y="10"/>
                    <a:pt x="978" y="10"/>
                    <a:pt x="978" y="10"/>
                  </a:cubicBezTo>
                  <a:cubicBezTo>
                    <a:pt x="978" y="10"/>
                    <a:pt x="978" y="10"/>
                    <a:pt x="977" y="10"/>
                  </a:cubicBezTo>
                  <a:close/>
                  <a:moveTo>
                    <a:pt x="1256" y="90"/>
                  </a:moveTo>
                  <a:cubicBezTo>
                    <a:pt x="1256" y="90"/>
                    <a:pt x="1256" y="90"/>
                    <a:pt x="1257" y="89"/>
                  </a:cubicBezTo>
                  <a:cubicBezTo>
                    <a:pt x="1256" y="89"/>
                    <a:pt x="1256" y="89"/>
                    <a:pt x="1256" y="90"/>
                  </a:cubicBezTo>
                  <a:close/>
                  <a:moveTo>
                    <a:pt x="1682" y="89"/>
                  </a:moveTo>
                  <a:cubicBezTo>
                    <a:pt x="1682" y="90"/>
                    <a:pt x="1682" y="90"/>
                    <a:pt x="1683" y="90"/>
                  </a:cubicBezTo>
                  <a:cubicBezTo>
                    <a:pt x="1683" y="90"/>
                    <a:pt x="1683" y="89"/>
                    <a:pt x="1682" y="89"/>
                  </a:cubicBezTo>
                  <a:close/>
                  <a:moveTo>
                    <a:pt x="662" y="90"/>
                  </a:moveTo>
                  <a:cubicBezTo>
                    <a:pt x="662" y="90"/>
                    <a:pt x="662" y="90"/>
                    <a:pt x="662" y="90"/>
                  </a:cubicBezTo>
                  <a:cubicBezTo>
                    <a:pt x="662" y="90"/>
                    <a:pt x="662" y="90"/>
                    <a:pt x="662" y="90"/>
                  </a:cubicBezTo>
                  <a:close/>
                  <a:moveTo>
                    <a:pt x="1553" y="60"/>
                  </a:moveTo>
                  <a:cubicBezTo>
                    <a:pt x="1553" y="60"/>
                    <a:pt x="1553" y="60"/>
                    <a:pt x="1553" y="59"/>
                  </a:cubicBezTo>
                  <a:cubicBezTo>
                    <a:pt x="1553" y="59"/>
                    <a:pt x="1553" y="59"/>
                    <a:pt x="1553" y="60"/>
                  </a:cubicBezTo>
                  <a:close/>
                  <a:moveTo>
                    <a:pt x="795" y="90"/>
                  </a:moveTo>
                  <a:cubicBezTo>
                    <a:pt x="796" y="90"/>
                    <a:pt x="796" y="90"/>
                    <a:pt x="796" y="90"/>
                  </a:cubicBezTo>
                  <a:cubicBezTo>
                    <a:pt x="796" y="90"/>
                    <a:pt x="796" y="90"/>
                    <a:pt x="795" y="90"/>
                  </a:cubicBezTo>
                  <a:close/>
                  <a:moveTo>
                    <a:pt x="981" y="90"/>
                  </a:moveTo>
                  <a:cubicBezTo>
                    <a:pt x="981" y="90"/>
                    <a:pt x="982" y="90"/>
                    <a:pt x="982" y="90"/>
                  </a:cubicBezTo>
                  <a:cubicBezTo>
                    <a:pt x="982" y="90"/>
                    <a:pt x="982" y="90"/>
                    <a:pt x="981" y="90"/>
                  </a:cubicBezTo>
                  <a:close/>
                  <a:moveTo>
                    <a:pt x="1291" y="52"/>
                  </a:moveTo>
                  <a:cubicBezTo>
                    <a:pt x="1291" y="53"/>
                    <a:pt x="1291" y="53"/>
                    <a:pt x="1291" y="53"/>
                  </a:cubicBezTo>
                  <a:cubicBezTo>
                    <a:pt x="1291" y="53"/>
                    <a:pt x="1291" y="53"/>
                    <a:pt x="1291" y="52"/>
                  </a:cubicBezTo>
                  <a:close/>
                  <a:moveTo>
                    <a:pt x="1035" y="90"/>
                  </a:moveTo>
                  <a:cubicBezTo>
                    <a:pt x="1035" y="90"/>
                    <a:pt x="1034" y="90"/>
                    <a:pt x="1034" y="90"/>
                  </a:cubicBezTo>
                  <a:cubicBezTo>
                    <a:pt x="1034" y="90"/>
                    <a:pt x="1034" y="90"/>
                    <a:pt x="1035" y="90"/>
                  </a:cubicBezTo>
                  <a:close/>
                  <a:moveTo>
                    <a:pt x="1187" y="90"/>
                  </a:moveTo>
                  <a:cubicBezTo>
                    <a:pt x="1187" y="90"/>
                    <a:pt x="1187" y="90"/>
                    <a:pt x="1187" y="90"/>
                  </a:cubicBezTo>
                  <a:cubicBezTo>
                    <a:pt x="1187" y="90"/>
                    <a:pt x="1187" y="90"/>
                    <a:pt x="1187" y="90"/>
                  </a:cubicBezTo>
                  <a:close/>
                  <a:moveTo>
                    <a:pt x="1212" y="90"/>
                  </a:moveTo>
                  <a:cubicBezTo>
                    <a:pt x="1212" y="90"/>
                    <a:pt x="1212" y="90"/>
                    <a:pt x="1212" y="90"/>
                  </a:cubicBezTo>
                  <a:cubicBezTo>
                    <a:pt x="1212" y="90"/>
                    <a:pt x="1212" y="90"/>
                    <a:pt x="1212" y="90"/>
                  </a:cubicBezTo>
                  <a:close/>
                  <a:moveTo>
                    <a:pt x="1255" y="90"/>
                  </a:moveTo>
                  <a:cubicBezTo>
                    <a:pt x="1256" y="90"/>
                    <a:pt x="1256" y="90"/>
                    <a:pt x="1256" y="90"/>
                  </a:cubicBezTo>
                  <a:cubicBezTo>
                    <a:pt x="1256" y="90"/>
                    <a:pt x="1255" y="90"/>
                    <a:pt x="1255" y="90"/>
                  </a:cubicBezTo>
                  <a:close/>
                  <a:moveTo>
                    <a:pt x="611" y="54"/>
                  </a:moveTo>
                  <a:cubicBezTo>
                    <a:pt x="611" y="54"/>
                    <a:pt x="611" y="54"/>
                    <a:pt x="612" y="55"/>
                  </a:cubicBezTo>
                  <a:cubicBezTo>
                    <a:pt x="612" y="54"/>
                    <a:pt x="612" y="54"/>
                    <a:pt x="611" y="54"/>
                  </a:cubicBezTo>
                  <a:close/>
                  <a:moveTo>
                    <a:pt x="1417" y="90"/>
                  </a:moveTo>
                  <a:cubicBezTo>
                    <a:pt x="1417" y="90"/>
                    <a:pt x="1417" y="90"/>
                    <a:pt x="1416" y="90"/>
                  </a:cubicBezTo>
                  <a:cubicBezTo>
                    <a:pt x="1416" y="90"/>
                    <a:pt x="1416" y="90"/>
                    <a:pt x="1417" y="90"/>
                  </a:cubicBezTo>
                  <a:close/>
                  <a:moveTo>
                    <a:pt x="1463" y="90"/>
                  </a:moveTo>
                  <a:cubicBezTo>
                    <a:pt x="1463" y="90"/>
                    <a:pt x="1463" y="90"/>
                    <a:pt x="1463" y="90"/>
                  </a:cubicBezTo>
                  <a:cubicBezTo>
                    <a:pt x="1463" y="90"/>
                    <a:pt x="1463" y="90"/>
                    <a:pt x="1463" y="90"/>
                  </a:cubicBezTo>
                  <a:close/>
                  <a:moveTo>
                    <a:pt x="1670" y="90"/>
                  </a:moveTo>
                  <a:cubicBezTo>
                    <a:pt x="1670" y="90"/>
                    <a:pt x="1670" y="90"/>
                    <a:pt x="1669" y="90"/>
                  </a:cubicBezTo>
                  <a:cubicBezTo>
                    <a:pt x="1669" y="90"/>
                    <a:pt x="1669" y="90"/>
                    <a:pt x="1670" y="90"/>
                  </a:cubicBezTo>
                  <a:close/>
                  <a:moveTo>
                    <a:pt x="634" y="90"/>
                  </a:moveTo>
                  <a:cubicBezTo>
                    <a:pt x="634" y="90"/>
                    <a:pt x="633" y="90"/>
                    <a:pt x="633" y="91"/>
                  </a:cubicBezTo>
                  <a:cubicBezTo>
                    <a:pt x="634" y="91"/>
                    <a:pt x="634" y="90"/>
                    <a:pt x="634" y="90"/>
                  </a:cubicBezTo>
                  <a:close/>
                  <a:moveTo>
                    <a:pt x="829" y="43"/>
                  </a:moveTo>
                  <a:cubicBezTo>
                    <a:pt x="830" y="43"/>
                    <a:pt x="830" y="42"/>
                    <a:pt x="830" y="42"/>
                  </a:cubicBezTo>
                  <a:cubicBezTo>
                    <a:pt x="830" y="42"/>
                    <a:pt x="829" y="42"/>
                    <a:pt x="829" y="43"/>
                  </a:cubicBezTo>
                  <a:close/>
                  <a:moveTo>
                    <a:pt x="1665" y="59"/>
                  </a:moveTo>
                  <a:cubicBezTo>
                    <a:pt x="1665" y="60"/>
                    <a:pt x="1665" y="60"/>
                    <a:pt x="1666" y="60"/>
                  </a:cubicBezTo>
                  <a:cubicBezTo>
                    <a:pt x="1665" y="59"/>
                    <a:pt x="1665" y="59"/>
                    <a:pt x="1665" y="59"/>
                  </a:cubicBezTo>
                  <a:close/>
                  <a:moveTo>
                    <a:pt x="1721" y="60"/>
                  </a:moveTo>
                  <a:cubicBezTo>
                    <a:pt x="1721" y="60"/>
                    <a:pt x="1721" y="60"/>
                    <a:pt x="1721" y="59"/>
                  </a:cubicBezTo>
                  <a:cubicBezTo>
                    <a:pt x="1721" y="59"/>
                    <a:pt x="1721" y="59"/>
                    <a:pt x="1721" y="60"/>
                  </a:cubicBezTo>
                  <a:close/>
                  <a:moveTo>
                    <a:pt x="795" y="90"/>
                  </a:moveTo>
                  <a:cubicBezTo>
                    <a:pt x="795" y="90"/>
                    <a:pt x="795" y="90"/>
                    <a:pt x="795" y="90"/>
                  </a:cubicBezTo>
                  <a:cubicBezTo>
                    <a:pt x="795" y="90"/>
                    <a:pt x="795" y="90"/>
                    <a:pt x="795" y="90"/>
                  </a:cubicBezTo>
                  <a:close/>
                  <a:moveTo>
                    <a:pt x="982" y="90"/>
                  </a:moveTo>
                  <a:cubicBezTo>
                    <a:pt x="982" y="90"/>
                    <a:pt x="982" y="90"/>
                    <a:pt x="983" y="90"/>
                  </a:cubicBezTo>
                  <a:cubicBezTo>
                    <a:pt x="982" y="90"/>
                    <a:pt x="982" y="90"/>
                    <a:pt x="982" y="90"/>
                  </a:cubicBezTo>
                  <a:close/>
                  <a:moveTo>
                    <a:pt x="1013" y="90"/>
                  </a:moveTo>
                  <a:cubicBezTo>
                    <a:pt x="1014" y="90"/>
                    <a:pt x="1014" y="90"/>
                    <a:pt x="1014" y="90"/>
                  </a:cubicBezTo>
                  <a:cubicBezTo>
                    <a:pt x="1014" y="90"/>
                    <a:pt x="1013" y="90"/>
                    <a:pt x="1013" y="90"/>
                  </a:cubicBezTo>
                  <a:close/>
                  <a:moveTo>
                    <a:pt x="639" y="49"/>
                  </a:moveTo>
                  <a:cubicBezTo>
                    <a:pt x="639" y="48"/>
                    <a:pt x="639" y="48"/>
                    <a:pt x="639" y="48"/>
                  </a:cubicBezTo>
                  <a:cubicBezTo>
                    <a:pt x="639" y="48"/>
                    <a:pt x="639" y="48"/>
                    <a:pt x="639" y="49"/>
                  </a:cubicBezTo>
                  <a:close/>
                  <a:moveTo>
                    <a:pt x="1683" y="90"/>
                  </a:moveTo>
                  <a:cubicBezTo>
                    <a:pt x="1683" y="90"/>
                    <a:pt x="1683" y="91"/>
                    <a:pt x="1683" y="91"/>
                  </a:cubicBezTo>
                  <a:cubicBezTo>
                    <a:pt x="1683" y="90"/>
                    <a:pt x="1683" y="90"/>
                    <a:pt x="1683" y="90"/>
                  </a:cubicBezTo>
                  <a:close/>
                  <a:moveTo>
                    <a:pt x="586" y="90"/>
                  </a:moveTo>
                  <a:cubicBezTo>
                    <a:pt x="586" y="91"/>
                    <a:pt x="586" y="91"/>
                    <a:pt x="586" y="91"/>
                  </a:cubicBezTo>
                  <a:cubicBezTo>
                    <a:pt x="586" y="91"/>
                    <a:pt x="586" y="91"/>
                    <a:pt x="586" y="90"/>
                  </a:cubicBezTo>
                  <a:close/>
                  <a:moveTo>
                    <a:pt x="614" y="91"/>
                  </a:moveTo>
                  <a:cubicBezTo>
                    <a:pt x="614" y="91"/>
                    <a:pt x="614" y="91"/>
                    <a:pt x="614" y="90"/>
                  </a:cubicBezTo>
                  <a:cubicBezTo>
                    <a:pt x="614" y="91"/>
                    <a:pt x="614" y="91"/>
                    <a:pt x="614" y="91"/>
                  </a:cubicBezTo>
                  <a:close/>
                  <a:moveTo>
                    <a:pt x="663" y="90"/>
                  </a:moveTo>
                  <a:cubicBezTo>
                    <a:pt x="663" y="91"/>
                    <a:pt x="663" y="91"/>
                    <a:pt x="663" y="91"/>
                  </a:cubicBezTo>
                  <a:cubicBezTo>
                    <a:pt x="663" y="90"/>
                    <a:pt x="663" y="90"/>
                    <a:pt x="663" y="90"/>
                  </a:cubicBezTo>
                  <a:close/>
                  <a:moveTo>
                    <a:pt x="699" y="90"/>
                  </a:moveTo>
                  <a:cubicBezTo>
                    <a:pt x="698" y="90"/>
                    <a:pt x="698" y="91"/>
                    <a:pt x="698" y="91"/>
                  </a:cubicBezTo>
                  <a:cubicBezTo>
                    <a:pt x="699" y="91"/>
                    <a:pt x="699" y="91"/>
                    <a:pt x="699" y="90"/>
                  </a:cubicBezTo>
                  <a:close/>
                  <a:moveTo>
                    <a:pt x="767" y="90"/>
                  </a:moveTo>
                  <a:cubicBezTo>
                    <a:pt x="768" y="91"/>
                    <a:pt x="768" y="91"/>
                    <a:pt x="768" y="91"/>
                  </a:cubicBezTo>
                  <a:cubicBezTo>
                    <a:pt x="768" y="90"/>
                    <a:pt x="768" y="90"/>
                    <a:pt x="767" y="90"/>
                  </a:cubicBezTo>
                  <a:close/>
                  <a:moveTo>
                    <a:pt x="794" y="91"/>
                  </a:moveTo>
                  <a:cubicBezTo>
                    <a:pt x="794" y="91"/>
                    <a:pt x="795" y="91"/>
                    <a:pt x="795" y="90"/>
                  </a:cubicBezTo>
                  <a:cubicBezTo>
                    <a:pt x="794" y="90"/>
                    <a:pt x="794" y="90"/>
                    <a:pt x="794" y="91"/>
                  </a:cubicBezTo>
                  <a:close/>
                  <a:moveTo>
                    <a:pt x="983" y="90"/>
                  </a:moveTo>
                  <a:cubicBezTo>
                    <a:pt x="983" y="91"/>
                    <a:pt x="983" y="91"/>
                    <a:pt x="984" y="91"/>
                  </a:cubicBezTo>
                  <a:cubicBezTo>
                    <a:pt x="983" y="90"/>
                    <a:pt x="983" y="90"/>
                    <a:pt x="983" y="90"/>
                  </a:cubicBezTo>
                  <a:close/>
                  <a:moveTo>
                    <a:pt x="1012" y="91"/>
                  </a:moveTo>
                  <a:cubicBezTo>
                    <a:pt x="1013" y="91"/>
                    <a:pt x="1013" y="91"/>
                    <a:pt x="1013" y="90"/>
                  </a:cubicBezTo>
                  <a:cubicBezTo>
                    <a:pt x="1013" y="90"/>
                    <a:pt x="1012" y="90"/>
                    <a:pt x="1012" y="91"/>
                  </a:cubicBezTo>
                  <a:close/>
                  <a:moveTo>
                    <a:pt x="1050" y="90"/>
                  </a:moveTo>
                  <a:cubicBezTo>
                    <a:pt x="1050" y="91"/>
                    <a:pt x="1050" y="91"/>
                    <a:pt x="1050" y="91"/>
                  </a:cubicBezTo>
                  <a:cubicBezTo>
                    <a:pt x="1050" y="90"/>
                    <a:pt x="1050" y="90"/>
                    <a:pt x="1050" y="90"/>
                  </a:cubicBezTo>
                  <a:close/>
                  <a:moveTo>
                    <a:pt x="1076" y="91"/>
                  </a:moveTo>
                  <a:cubicBezTo>
                    <a:pt x="1077" y="91"/>
                    <a:pt x="1077" y="91"/>
                    <a:pt x="1077" y="90"/>
                  </a:cubicBezTo>
                  <a:cubicBezTo>
                    <a:pt x="1077" y="90"/>
                    <a:pt x="1076" y="90"/>
                    <a:pt x="1076" y="91"/>
                  </a:cubicBezTo>
                  <a:close/>
                  <a:moveTo>
                    <a:pt x="1425" y="10"/>
                  </a:moveTo>
                  <a:cubicBezTo>
                    <a:pt x="1425" y="10"/>
                    <a:pt x="1426" y="10"/>
                    <a:pt x="1426" y="10"/>
                  </a:cubicBezTo>
                  <a:cubicBezTo>
                    <a:pt x="1425" y="10"/>
                    <a:pt x="1425" y="10"/>
                    <a:pt x="1425" y="10"/>
                  </a:cubicBezTo>
                  <a:close/>
                  <a:moveTo>
                    <a:pt x="1227" y="90"/>
                  </a:moveTo>
                  <a:cubicBezTo>
                    <a:pt x="1227" y="91"/>
                    <a:pt x="1228" y="91"/>
                    <a:pt x="1228" y="91"/>
                  </a:cubicBezTo>
                  <a:cubicBezTo>
                    <a:pt x="1228" y="90"/>
                    <a:pt x="1228" y="90"/>
                    <a:pt x="1227" y="90"/>
                  </a:cubicBezTo>
                  <a:close/>
                  <a:moveTo>
                    <a:pt x="1254" y="91"/>
                  </a:moveTo>
                  <a:cubicBezTo>
                    <a:pt x="1254" y="91"/>
                    <a:pt x="1254" y="91"/>
                    <a:pt x="1255" y="90"/>
                  </a:cubicBezTo>
                  <a:cubicBezTo>
                    <a:pt x="1254" y="90"/>
                    <a:pt x="1254" y="90"/>
                    <a:pt x="1254" y="91"/>
                  </a:cubicBezTo>
                  <a:close/>
                  <a:moveTo>
                    <a:pt x="1417" y="91"/>
                  </a:moveTo>
                  <a:cubicBezTo>
                    <a:pt x="1417" y="91"/>
                    <a:pt x="1417" y="90"/>
                    <a:pt x="1417" y="90"/>
                  </a:cubicBezTo>
                  <a:cubicBezTo>
                    <a:pt x="1417" y="91"/>
                    <a:pt x="1417" y="91"/>
                    <a:pt x="1417" y="91"/>
                  </a:cubicBezTo>
                  <a:close/>
                  <a:moveTo>
                    <a:pt x="660" y="60"/>
                  </a:moveTo>
                  <a:cubicBezTo>
                    <a:pt x="660" y="60"/>
                    <a:pt x="660" y="60"/>
                    <a:pt x="660" y="60"/>
                  </a:cubicBezTo>
                  <a:cubicBezTo>
                    <a:pt x="660" y="60"/>
                    <a:pt x="660" y="60"/>
                    <a:pt x="660" y="60"/>
                  </a:cubicBezTo>
                  <a:close/>
                  <a:moveTo>
                    <a:pt x="1670" y="91"/>
                  </a:moveTo>
                  <a:cubicBezTo>
                    <a:pt x="1670" y="91"/>
                    <a:pt x="1670" y="91"/>
                    <a:pt x="1670" y="90"/>
                  </a:cubicBezTo>
                  <a:cubicBezTo>
                    <a:pt x="1670" y="91"/>
                    <a:pt x="1670" y="91"/>
                    <a:pt x="1670" y="91"/>
                  </a:cubicBezTo>
                  <a:close/>
                  <a:moveTo>
                    <a:pt x="633" y="91"/>
                  </a:moveTo>
                  <a:cubicBezTo>
                    <a:pt x="633" y="91"/>
                    <a:pt x="633" y="91"/>
                    <a:pt x="633" y="91"/>
                  </a:cubicBezTo>
                  <a:cubicBezTo>
                    <a:pt x="633" y="91"/>
                    <a:pt x="633" y="91"/>
                    <a:pt x="633" y="91"/>
                  </a:cubicBezTo>
                  <a:close/>
                  <a:moveTo>
                    <a:pt x="663" y="91"/>
                  </a:moveTo>
                  <a:cubicBezTo>
                    <a:pt x="664" y="91"/>
                    <a:pt x="664" y="91"/>
                    <a:pt x="664" y="91"/>
                  </a:cubicBezTo>
                  <a:cubicBezTo>
                    <a:pt x="664" y="91"/>
                    <a:pt x="664" y="91"/>
                    <a:pt x="663" y="91"/>
                  </a:cubicBezTo>
                  <a:close/>
                  <a:moveTo>
                    <a:pt x="793" y="91"/>
                  </a:moveTo>
                  <a:cubicBezTo>
                    <a:pt x="794" y="91"/>
                    <a:pt x="794" y="91"/>
                    <a:pt x="794" y="91"/>
                  </a:cubicBezTo>
                  <a:cubicBezTo>
                    <a:pt x="794" y="91"/>
                    <a:pt x="793" y="91"/>
                    <a:pt x="793" y="91"/>
                  </a:cubicBezTo>
                  <a:close/>
                  <a:moveTo>
                    <a:pt x="984" y="91"/>
                  </a:moveTo>
                  <a:cubicBezTo>
                    <a:pt x="984" y="91"/>
                    <a:pt x="984" y="91"/>
                    <a:pt x="984" y="91"/>
                  </a:cubicBezTo>
                  <a:cubicBezTo>
                    <a:pt x="984" y="91"/>
                    <a:pt x="984" y="91"/>
                    <a:pt x="984" y="91"/>
                  </a:cubicBezTo>
                  <a:close/>
                  <a:moveTo>
                    <a:pt x="1499" y="10"/>
                  </a:moveTo>
                  <a:cubicBezTo>
                    <a:pt x="1499" y="10"/>
                    <a:pt x="1499" y="10"/>
                    <a:pt x="1500" y="10"/>
                  </a:cubicBezTo>
                  <a:cubicBezTo>
                    <a:pt x="1499" y="10"/>
                    <a:pt x="1499" y="10"/>
                    <a:pt x="1499" y="10"/>
                  </a:cubicBezTo>
                  <a:close/>
                  <a:moveTo>
                    <a:pt x="1035" y="91"/>
                  </a:moveTo>
                  <a:cubicBezTo>
                    <a:pt x="1035" y="91"/>
                    <a:pt x="1035" y="91"/>
                    <a:pt x="1035" y="91"/>
                  </a:cubicBezTo>
                  <a:cubicBezTo>
                    <a:pt x="1035" y="91"/>
                    <a:pt x="1035" y="91"/>
                    <a:pt x="1035" y="91"/>
                  </a:cubicBezTo>
                  <a:close/>
                  <a:moveTo>
                    <a:pt x="1050" y="91"/>
                  </a:moveTo>
                  <a:cubicBezTo>
                    <a:pt x="1050" y="91"/>
                    <a:pt x="1051" y="91"/>
                    <a:pt x="1051" y="91"/>
                  </a:cubicBezTo>
                  <a:cubicBezTo>
                    <a:pt x="1051" y="91"/>
                    <a:pt x="1050" y="91"/>
                    <a:pt x="1050" y="91"/>
                  </a:cubicBezTo>
                  <a:close/>
                  <a:moveTo>
                    <a:pt x="1075" y="91"/>
                  </a:moveTo>
                  <a:cubicBezTo>
                    <a:pt x="1076" y="91"/>
                    <a:pt x="1076" y="91"/>
                    <a:pt x="1076" y="91"/>
                  </a:cubicBezTo>
                  <a:cubicBezTo>
                    <a:pt x="1076" y="91"/>
                    <a:pt x="1075" y="91"/>
                    <a:pt x="1075" y="91"/>
                  </a:cubicBezTo>
                  <a:close/>
                  <a:moveTo>
                    <a:pt x="654" y="40"/>
                  </a:moveTo>
                  <a:cubicBezTo>
                    <a:pt x="653" y="40"/>
                    <a:pt x="653" y="40"/>
                    <a:pt x="653" y="41"/>
                  </a:cubicBezTo>
                  <a:cubicBezTo>
                    <a:pt x="654" y="40"/>
                    <a:pt x="654" y="40"/>
                    <a:pt x="654" y="40"/>
                  </a:cubicBezTo>
                  <a:close/>
                  <a:moveTo>
                    <a:pt x="1228" y="91"/>
                  </a:moveTo>
                  <a:cubicBezTo>
                    <a:pt x="1228" y="91"/>
                    <a:pt x="1228" y="91"/>
                    <a:pt x="1229" y="91"/>
                  </a:cubicBezTo>
                  <a:cubicBezTo>
                    <a:pt x="1229" y="91"/>
                    <a:pt x="1228" y="91"/>
                    <a:pt x="1228" y="91"/>
                  </a:cubicBezTo>
                  <a:close/>
                  <a:moveTo>
                    <a:pt x="1253" y="91"/>
                  </a:moveTo>
                  <a:cubicBezTo>
                    <a:pt x="1253" y="91"/>
                    <a:pt x="1254" y="91"/>
                    <a:pt x="1254" y="91"/>
                  </a:cubicBezTo>
                  <a:cubicBezTo>
                    <a:pt x="1254" y="91"/>
                    <a:pt x="1253" y="91"/>
                    <a:pt x="1253" y="91"/>
                  </a:cubicBezTo>
                  <a:close/>
                  <a:moveTo>
                    <a:pt x="1683" y="91"/>
                  </a:moveTo>
                  <a:cubicBezTo>
                    <a:pt x="1683" y="91"/>
                    <a:pt x="1683" y="91"/>
                    <a:pt x="1683" y="91"/>
                  </a:cubicBezTo>
                  <a:cubicBezTo>
                    <a:pt x="1683" y="91"/>
                    <a:pt x="1683" y="91"/>
                    <a:pt x="1683" y="91"/>
                  </a:cubicBezTo>
                  <a:close/>
                  <a:moveTo>
                    <a:pt x="606" y="40"/>
                  </a:moveTo>
                  <a:cubicBezTo>
                    <a:pt x="606" y="40"/>
                    <a:pt x="606" y="41"/>
                    <a:pt x="607" y="41"/>
                  </a:cubicBezTo>
                  <a:cubicBezTo>
                    <a:pt x="607" y="40"/>
                    <a:pt x="607" y="40"/>
                    <a:pt x="606" y="40"/>
                  </a:cubicBezTo>
                  <a:close/>
                  <a:moveTo>
                    <a:pt x="586" y="91"/>
                  </a:moveTo>
                  <a:cubicBezTo>
                    <a:pt x="586" y="91"/>
                    <a:pt x="585" y="91"/>
                    <a:pt x="585" y="92"/>
                  </a:cubicBezTo>
                  <a:cubicBezTo>
                    <a:pt x="586" y="92"/>
                    <a:pt x="586" y="91"/>
                    <a:pt x="586" y="91"/>
                  </a:cubicBezTo>
                  <a:close/>
                  <a:moveTo>
                    <a:pt x="664" y="91"/>
                  </a:moveTo>
                  <a:cubicBezTo>
                    <a:pt x="664" y="91"/>
                    <a:pt x="665" y="91"/>
                    <a:pt x="665" y="91"/>
                  </a:cubicBezTo>
                  <a:cubicBezTo>
                    <a:pt x="665" y="91"/>
                    <a:pt x="664" y="91"/>
                    <a:pt x="664" y="91"/>
                  </a:cubicBezTo>
                  <a:close/>
                  <a:moveTo>
                    <a:pt x="698" y="91"/>
                  </a:moveTo>
                  <a:cubicBezTo>
                    <a:pt x="698" y="91"/>
                    <a:pt x="698" y="91"/>
                    <a:pt x="698" y="92"/>
                  </a:cubicBezTo>
                  <a:cubicBezTo>
                    <a:pt x="698" y="92"/>
                    <a:pt x="698" y="91"/>
                    <a:pt x="698" y="91"/>
                  </a:cubicBezTo>
                  <a:close/>
                  <a:moveTo>
                    <a:pt x="602" y="61"/>
                  </a:moveTo>
                  <a:cubicBezTo>
                    <a:pt x="603" y="60"/>
                    <a:pt x="602" y="60"/>
                    <a:pt x="602" y="60"/>
                  </a:cubicBezTo>
                  <a:cubicBezTo>
                    <a:pt x="602" y="60"/>
                    <a:pt x="602" y="61"/>
                    <a:pt x="602" y="61"/>
                  </a:cubicBezTo>
                  <a:close/>
                  <a:moveTo>
                    <a:pt x="769" y="91"/>
                  </a:moveTo>
                  <a:cubicBezTo>
                    <a:pt x="769" y="91"/>
                    <a:pt x="769" y="91"/>
                    <a:pt x="769" y="91"/>
                  </a:cubicBezTo>
                  <a:cubicBezTo>
                    <a:pt x="769" y="91"/>
                    <a:pt x="769" y="91"/>
                    <a:pt x="769" y="91"/>
                  </a:cubicBezTo>
                  <a:close/>
                  <a:moveTo>
                    <a:pt x="793" y="91"/>
                  </a:moveTo>
                  <a:cubicBezTo>
                    <a:pt x="793" y="91"/>
                    <a:pt x="793" y="91"/>
                    <a:pt x="793" y="91"/>
                  </a:cubicBezTo>
                  <a:cubicBezTo>
                    <a:pt x="793" y="91"/>
                    <a:pt x="793" y="91"/>
                    <a:pt x="793" y="91"/>
                  </a:cubicBezTo>
                  <a:close/>
                  <a:moveTo>
                    <a:pt x="985" y="91"/>
                  </a:moveTo>
                  <a:cubicBezTo>
                    <a:pt x="985" y="91"/>
                    <a:pt x="985" y="91"/>
                    <a:pt x="985" y="91"/>
                  </a:cubicBezTo>
                  <a:cubicBezTo>
                    <a:pt x="985" y="91"/>
                    <a:pt x="985" y="91"/>
                    <a:pt x="985" y="91"/>
                  </a:cubicBezTo>
                  <a:close/>
                  <a:moveTo>
                    <a:pt x="1536" y="10"/>
                  </a:moveTo>
                  <a:cubicBezTo>
                    <a:pt x="1537" y="10"/>
                    <a:pt x="1537" y="10"/>
                    <a:pt x="1537" y="10"/>
                  </a:cubicBezTo>
                  <a:cubicBezTo>
                    <a:pt x="1537" y="10"/>
                    <a:pt x="1537" y="10"/>
                    <a:pt x="1536" y="10"/>
                  </a:cubicBezTo>
                  <a:close/>
                  <a:moveTo>
                    <a:pt x="1075" y="91"/>
                  </a:moveTo>
                  <a:cubicBezTo>
                    <a:pt x="1075" y="91"/>
                    <a:pt x="1075" y="91"/>
                    <a:pt x="1075" y="91"/>
                  </a:cubicBezTo>
                  <a:cubicBezTo>
                    <a:pt x="1075" y="91"/>
                    <a:pt x="1075" y="91"/>
                    <a:pt x="1075" y="91"/>
                  </a:cubicBezTo>
                  <a:close/>
                  <a:moveTo>
                    <a:pt x="1670" y="10"/>
                  </a:moveTo>
                  <a:cubicBezTo>
                    <a:pt x="1671" y="10"/>
                    <a:pt x="1671" y="10"/>
                    <a:pt x="1671" y="10"/>
                  </a:cubicBezTo>
                  <a:cubicBezTo>
                    <a:pt x="1671" y="10"/>
                    <a:pt x="1671" y="10"/>
                    <a:pt x="1670" y="10"/>
                  </a:cubicBezTo>
                  <a:close/>
                  <a:moveTo>
                    <a:pt x="1252" y="91"/>
                  </a:moveTo>
                  <a:cubicBezTo>
                    <a:pt x="1253" y="91"/>
                    <a:pt x="1253" y="91"/>
                    <a:pt x="1253" y="91"/>
                  </a:cubicBezTo>
                  <a:cubicBezTo>
                    <a:pt x="1253" y="91"/>
                    <a:pt x="1253" y="91"/>
                    <a:pt x="1252" y="91"/>
                  </a:cubicBezTo>
                  <a:close/>
                  <a:moveTo>
                    <a:pt x="1705" y="10"/>
                  </a:moveTo>
                  <a:cubicBezTo>
                    <a:pt x="1705" y="10"/>
                    <a:pt x="1705" y="10"/>
                    <a:pt x="1705" y="10"/>
                  </a:cubicBezTo>
                  <a:cubicBezTo>
                    <a:pt x="1705" y="10"/>
                    <a:pt x="1705" y="10"/>
                    <a:pt x="1705" y="10"/>
                  </a:cubicBezTo>
                  <a:close/>
                  <a:moveTo>
                    <a:pt x="1670" y="92"/>
                  </a:moveTo>
                  <a:cubicBezTo>
                    <a:pt x="1670" y="91"/>
                    <a:pt x="1670" y="91"/>
                    <a:pt x="1670" y="91"/>
                  </a:cubicBezTo>
                  <a:cubicBezTo>
                    <a:pt x="1670" y="91"/>
                    <a:pt x="1670" y="92"/>
                    <a:pt x="1670" y="92"/>
                  </a:cubicBezTo>
                  <a:close/>
                  <a:moveTo>
                    <a:pt x="615" y="92"/>
                  </a:moveTo>
                  <a:cubicBezTo>
                    <a:pt x="615" y="92"/>
                    <a:pt x="615" y="91"/>
                    <a:pt x="614" y="91"/>
                  </a:cubicBezTo>
                  <a:cubicBezTo>
                    <a:pt x="614" y="92"/>
                    <a:pt x="614" y="92"/>
                    <a:pt x="615" y="92"/>
                  </a:cubicBezTo>
                  <a:close/>
                  <a:moveTo>
                    <a:pt x="665" y="91"/>
                  </a:moveTo>
                  <a:cubicBezTo>
                    <a:pt x="665" y="92"/>
                    <a:pt x="665" y="92"/>
                    <a:pt x="666" y="92"/>
                  </a:cubicBezTo>
                  <a:cubicBezTo>
                    <a:pt x="665" y="91"/>
                    <a:pt x="665" y="91"/>
                    <a:pt x="665" y="91"/>
                  </a:cubicBezTo>
                  <a:close/>
                  <a:moveTo>
                    <a:pt x="685" y="92"/>
                  </a:moveTo>
                  <a:cubicBezTo>
                    <a:pt x="685" y="92"/>
                    <a:pt x="685" y="92"/>
                    <a:pt x="685" y="91"/>
                  </a:cubicBezTo>
                  <a:cubicBezTo>
                    <a:pt x="685" y="91"/>
                    <a:pt x="685" y="92"/>
                    <a:pt x="685" y="92"/>
                  </a:cubicBezTo>
                  <a:close/>
                  <a:moveTo>
                    <a:pt x="548" y="11"/>
                  </a:moveTo>
                  <a:cubicBezTo>
                    <a:pt x="548" y="11"/>
                    <a:pt x="548" y="11"/>
                    <a:pt x="549" y="10"/>
                  </a:cubicBezTo>
                  <a:cubicBezTo>
                    <a:pt x="548" y="10"/>
                    <a:pt x="548" y="10"/>
                    <a:pt x="548" y="11"/>
                  </a:cubicBezTo>
                  <a:close/>
                  <a:moveTo>
                    <a:pt x="600" y="55"/>
                  </a:moveTo>
                  <a:cubicBezTo>
                    <a:pt x="600" y="54"/>
                    <a:pt x="600" y="54"/>
                    <a:pt x="600" y="54"/>
                  </a:cubicBezTo>
                  <a:cubicBezTo>
                    <a:pt x="600" y="54"/>
                    <a:pt x="600" y="54"/>
                    <a:pt x="600" y="55"/>
                  </a:cubicBezTo>
                  <a:close/>
                  <a:moveTo>
                    <a:pt x="769" y="91"/>
                  </a:moveTo>
                  <a:cubicBezTo>
                    <a:pt x="769" y="92"/>
                    <a:pt x="770" y="92"/>
                    <a:pt x="770" y="92"/>
                  </a:cubicBezTo>
                  <a:cubicBezTo>
                    <a:pt x="770" y="91"/>
                    <a:pt x="770" y="91"/>
                    <a:pt x="769" y="91"/>
                  </a:cubicBezTo>
                  <a:close/>
                  <a:moveTo>
                    <a:pt x="792" y="92"/>
                  </a:moveTo>
                  <a:cubicBezTo>
                    <a:pt x="792" y="92"/>
                    <a:pt x="792" y="92"/>
                    <a:pt x="792" y="91"/>
                  </a:cubicBezTo>
                  <a:cubicBezTo>
                    <a:pt x="792" y="91"/>
                    <a:pt x="792" y="91"/>
                    <a:pt x="792" y="92"/>
                  </a:cubicBezTo>
                  <a:close/>
                  <a:moveTo>
                    <a:pt x="977" y="11"/>
                  </a:moveTo>
                  <a:cubicBezTo>
                    <a:pt x="977" y="11"/>
                    <a:pt x="977" y="11"/>
                    <a:pt x="977" y="10"/>
                  </a:cubicBezTo>
                  <a:cubicBezTo>
                    <a:pt x="977" y="10"/>
                    <a:pt x="977" y="10"/>
                    <a:pt x="977" y="11"/>
                  </a:cubicBezTo>
                  <a:close/>
                  <a:moveTo>
                    <a:pt x="1352" y="11"/>
                  </a:moveTo>
                  <a:cubicBezTo>
                    <a:pt x="1352" y="11"/>
                    <a:pt x="1352" y="11"/>
                    <a:pt x="1352" y="10"/>
                  </a:cubicBezTo>
                  <a:cubicBezTo>
                    <a:pt x="1352" y="10"/>
                    <a:pt x="1352" y="10"/>
                    <a:pt x="1352" y="11"/>
                  </a:cubicBezTo>
                  <a:close/>
                  <a:moveTo>
                    <a:pt x="1051" y="91"/>
                  </a:moveTo>
                  <a:cubicBezTo>
                    <a:pt x="1052" y="92"/>
                    <a:pt x="1052" y="92"/>
                    <a:pt x="1052" y="92"/>
                  </a:cubicBezTo>
                  <a:cubicBezTo>
                    <a:pt x="1052" y="91"/>
                    <a:pt x="1052" y="91"/>
                    <a:pt x="1051" y="91"/>
                  </a:cubicBezTo>
                  <a:close/>
                  <a:moveTo>
                    <a:pt x="1074" y="92"/>
                  </a:moveTo>
                  <a:cubicBezTo>
                    <a:pt x="1074" y="92"/>
                    <a:pt x="1074" y="92"/>
                    <a:pt x="1075" y="91"/>
                  </a:cubicBezTo>
                  <a:cubicBezTo>
                    <a:pt x="1074" y="91"/>
                    <a:pt x="1074" y="91"/>
                    <a:pt x="1074" y="92"/>
                  </a:cubicBezTo>
                  <a:close/>
                  <a:moveTo>
                    <a:pt x="1202" y="92"/>
                  </a:moveTo>
                  <a:cubicBezTo>
                    <a:pt x="1202" y="92"/>
                    <a:pt x="1202" y="92"/>
                    <a:pt x="1202" y="92"/>
                  </a:cubicBezTo>
                  <a:cubicBezTo>
                    <a:pt x="1202" y="91"/>
                    <a:pt x="1202" y="91"/>
                    <a:pt x="1202" y="92"/>
                  </a:cubicBezTo>
                  <a:close/>
                  <a:moveTo>
                    <a:pt x="1229" y="91"/>
                  </a:moveTo>
                  <a:cubicBezTo>
                    <a:pt x="1229" y="92"/>
                    <a:pt x="1229" y="92"/>
                    <a:pt x="1230" y="92"/>
                  </a:cubicBezTo>
                  <a:cubicBezTo>
                    <a:pt x="1230" y="91"/>
                    <a:pt x="1229" y="91"/>
                    <a:pt x="1229" y="91"/>
                  </a:cubicBezTo>
                  <a:close/>
                  <a:moveTo>
                    <a:pt x="1387" y="10"/>
                  </a:moveTo>
                  <a:cubicBezTo>
                    <a:pt x="1387" y="11"/>
                    <a:pt x="1387" y="11"/>
                    <a:pt x="1388" y="11"/>
                  </a:cubicBezTo>
                  <a:cubicBezTo>
                    <a:pt x="1388" y="10"/>
                    <a:pt x="1387" y="10"/>
                    <a:pt x="1387" y="10"/>
                  </a:cubicBezTo>
                  <a:close/>
                  <a:moveTo>
                    <a:pt x="1418" y="92"/>
                  </a:moveTo>
                  <a:cubicBezTo>
                    <a:pt x="1418" y="92"/>
                    <a:pt x="1418" y="92"/>
                    <a:pt x="1417" y="91"/>
                  </a:cubicBezTo>
                  <a:cubicBezTo>
                    <a:pt x="1417" y="92"/>
                    <a:pt x="1417" y="92"/>
                    <a:pt x="1418" y="92"/>
                  </a:cubicBezTo>
                  <a:close/>
                  <a:moveTo>
                    <a:pt x="1683" y="91"/>
                  </a:moveTo>
                  <a:cubicBezTo>
                    <a:pt x="1683" y="92"/>
                    <a:pt x="1683" y="92"/>
                    <a:pt x="1684" y="92"/>
                  </a:cubicBezTo>
                  <a:cubicBezTo>
                    <a:pt x="1684" y="92"/>
                    <a:pt x="1684" y="92"/>
                    <a:pt x="1683" y="91"/>
                  </a:cubicBezTo>
                  <a:close/>
                  <a:moveTo>
                    <a:pt x="635" y="61"/>
                  </a:moveTo>
                  <a:cubicBezTo>
                    <a:pt x="635" y="61"/>
                    <a:pt x="635" y="60"/>
                    <a:pt x="635" y="60"/>
                  </a:cubicBezTo>
                  <a:cubicBezTo>
                    <a:pt x="635" y="60"/>
                    <a:pt x="635" y="61"/>
                    <a:pt x="635" y="61"/>
                  </a:cubicBezTo>
                  <a:close/>
                  <a:moveTo>
                    <a:pt x="633" y="92"/>
                  </a:moveTo>
                  <a:cubicBezTo>
                    <a:pt x="633" y="92"/>
                    <a:pt x="633" y="92"/>
                    <a:pt x="633" y="92"/>
                  </a:cubicBezTo>
                  <a:cubicBezTo>
                    <a:pt x="633" y="92"/>
                    <a:pt x="633" y="92"/>
                    <a:pt x="633" y="92"/>
                  </a:cubicBezTo>
                  <a:close/>
                  <a:moveTo>
                    <a:pt x="666" y="92"/>
                  </a:moveTo>
                  <a:cubicBezTo>
                    <a:pt x="666" y="92"/>
                    <a:pt x="666" y="92"/>
                    <a:pt x="667" y="92"/>
                  </a:cubicBezTo>
                  <a:cubicBezTo>
                    <a:pt x="666" y="92"/>
                    <a:pt x="666" y="92"/>
                    <a:pt x="666" y="92"/>
                  </a:cubicBezTo>
                  <a:close/>
                  <a:moveTo>
                    <a:pt x="698" y="92"/>
                  </a:moveTo>
                  <a:cubicBezTo>
                    <a:pt x="698" y="92"/>
                    <a:pt x="698" y="92"/>
                    <a:pt x="698" y="92"/>
                  </a:cubicBezTo>
                  <a:cubicBezTo>
                    <a:pt x="698" y="92"/>
                    <a:pt x="698" y="92"/>
                    <a:pt x="698" y="92"/>
                  </a:cubicBezTo>
                  <a:close/>
                  <a:moveTo>
                    <a:pt x="729" y="92"/>
                  </a:moveTo>
                  <a:cubicBezTo>
                    <a:pt x="729" y="92"/>
                    <a:pt x="729" y="92"/>
                    <a:pt x="729" y="92"/>
                  </a:cubicBezTo>
                  <a:cubicBezTo>
                    <a:pt x="729" y="92"/>
                    <a:pt x="729" y="92"/>
                    <a:pt x="729" y="92"/>
                  </a:cubicBezTo>
                  <a:close/>
                  <a:moveTo>
                    <a:pt x="741" y="92"/>
                  </a:moveTo>
                  <a:cubicBezTo>
                    <a:pt x="741" y="92"/>
                    <a:pt x="742" y="92"/>
                    <a:pt x="742" y="92"/>
                  </a:cubicBezTo>
                  <a:cubicBezTo>
                    <a:pt x="741" y="92"/>
                    <a:pt x="741" y="92"/>
                    <a:pt x="741" y="92"/>
                  </a:cubicBezTo>
                  <a:close/>
                  <a:moveTo>
                    <a:pt x="770" y="92"/>
                  </a:moveTo>
                  <a:cubicBezTo>
                    <a:pt x="770" y="92"/>
                    <a:pt x="770" y="92"/>
                    <a:pt x="771" y="92"/>
                  </a:cubicBezTo>
                  <a:cubicBezTo>
                    <a:pt x="770" y="92"/>
                    <a:pt x="770" y="92"/>
                    <a:pt x="770" y="92"/>
                  </a:cubicBezTo>
                  <a:close/>
                  <a:moveTo>
                    <a:pt x="1290" y="55"/>
                  </a:moveTo>
                  <a:cubicBezTo>
                    <a:pt x="1290" y="55"/>
                    <a:pt x="1290" y="55"/>
                    <a:pt x="1290" y="56"/>
                  </a:cubicBezTo>
                  <a:cubicBezTo>
                    <a:pt x="1290" y="55"/>
                    <a:pt x="1290" y="55"/>
                    <a:pt x="1290" y="55"/>
                  </a:cubicBezTo>
                  <a:close/>
                  <a:moveTo>
                    <a:pt x="646" y="60"/>
                  </a:moveTo>
                  <a:cubicBezTo>
                    <a:pt x="645" y="60"/>
                    <a:pt x="645" y="60"/>
                    <a:pt x="645" y="61"/>
                  </a:cubicBezTo>
                  <a:cubicBezTo>
                    <a:pt x="646" y="61"/>
                    <a:pt x="646" y="60"/>
                    <a:pt x="646" y="60"/>
                  </a:cubicBezTo>
                  <a:close/>
                  <a:moveTo>
                    <a:pt x="675" y="60"/>
                  </a:moveTo>
                  <a:cubicBezTo>
                    <a:pt x="675" y="60"/>
                    <a:pt x="675" y="60"/>
                    <a:pt x="676" y="60"/>
                  </a:cubicBezTo>
                  <a:cubicBezTo>
                    <a:pt x="675" y="60"/>
                    <a:pt x="675" y="60"/>
                    <a:pt x="675" y="60"/>
                  </a:cubicBezTo>
                  <a:close/>
                  <a:moveTo>
                    <a:pt x="1036" y="92"/>
                  </a:moveTo>
                  <a:cubicBezTo>
                    <a:pt x="1036" y="92"/>
                    <a:pt x="1036" y="92"/>
                    <a:pt x="1036" y="92"/>
                  </a:cubicBezTo>
                  <a:cubicBezTo>
                    <a:pt x="1036" y="92"/>
                    <a:pt x="1036" y="92"/>
                    <a:pt x="1036" y="92"/>
                  </a:cubicBezTo>
                  <a:close/>
                  <a:moveTo>
                    <a:pt x="1052" y="92"/>
                  </a:moveTo>
                  <a:cubicBezTo>
                    <a:pt x="1052" y="92"/>
                    <a:pt x="1053" y="92"/>
                    <a:pt x="1053" y="92"/>
                  </a:cubicBezTo>
                  <a:cubicBezTo>
                    <a:pt x="1053" y="92"/>
                    <a:pt x="1053" y="92"/>
                    <a:pt x="1052" y="92"/>
                  </a:cubicBezTo>
                  <a:close/>
                  <a:moveTo>
                    <a:pt x="1073" y="92"/>
                  </a:moveTo>
                  <a:cubicBezTo>
                    <a:pt x="1073" y="92"/>
                    <a:pt x="1073" y="92"/>
                    <a:pt x="1074" y="92"/>
                  </a:cubicBezTo>
                  <a:cubicBezTo>
                    <a:pt x="1073" y="92"/>
                    <a:pt x="1073" y="92"/>
                    <a:pt x="1073" y="92"/>
                  </a:cubicBezTo>
                  <a:close/>
                  <a:moveTo>
                    <a:pt x="803" y="49"/>
                  </a:moveTo>
                  <a:cubicBezTo>
                    <a:pt x="803" y="49"/>
                    <a:pt x="803" y="49"/>
                    <a:pt x="803" y="49"/>
                  </a:cubicBezTo>
                  <a:cubicBezTo>
                    <a:pt x="803" y="49"/>
                    <a:pt x="803" y="49"/>
                    <a:pt x="803" y="49"/>
                  </a:cubicBezTo>
                  <a:close/>
                  <a:moveTo>
                    <a:pt x="1214" y="92"/>
                  </a:moveTo>
                  <a:cubicBezTo>
                    <a:pt x="1214" y="92"/>
                    <a:pt x="1214" y="92"/>
                    <a:pt x="1213" y="92"/>
                  </a:cubicBezTo>
                  <a:cubicBezTo>
                    <a:pt x="1213" y="92"/>
                    <a:pt x="1214" y="92"/>
                    <a:pt x="1214" y="92"/>
                  </a:cubicBezTo>
                  <a:close/>
                  <a:moveTo>
                    <a:pt x="1230" y="92"/>
                  </a:moveTo>
                  <a:cubicBezTo>
                    <a:pt x="1230" y="92"/>
                    <a:pt x="1230" y="92"/>
                    <a:pt x="1231" y="92"/>
                  </a:cubicBezTo>
                  <a:cubicBezTo>
                    <a:pt x="1231" y="92"/>
                    <a:pt x="1230" y="92"/>
                    <a:pt x="1230" y="92"/>
                  </a:cubicBezTo>
                  <a:close/>
                  <a:moveTo>
                    <a:pt x="1251" y="92"/>
                  </a:moveTo>
                  <a:cubicBezTo>
                    <a:pt x="1251" y="92"/>
                    <a:pt x="1251" y="92"/>
                    <a:pt x="1251" y="92"/>
                  </a:cubicBezTo>
                  <a:cubicBezTo>
                    <a:pt x="1251" y="92"/>
                    <a:pt x="1251" y="92"/>
                    <a:pt x="1251" y="92"/>
                  </a:cubicBezTo>
                  <a:close/>
                  <a:moveTo>
                    <a:pt x="1462" y="92"/>
                  </a:moveTo>
                  <a:cubicBezTo>
                    <a:pt x="1461" y="92"/>
                    <a:pt x="1461" y="92"/>
                    <a:pt x="1461" y="92"/>
                  </a:cubicBezTo>
                  <a:cubicBezTo>
                    <a:pt x="1462" y="92"/>
                    <a:pt x="1462" y="92"/>
                    <a:pt x="1462" y="92"/>
                  </a:cubicBezTo>
                  <a:close/>
                  <a:moveTo>
                    <a:pt x="637" y="54"/>
                  </a:moveTo>
                  <a:cubicBezTo>
                    <a:pt x="637" y="54"/>
                    <a:pt x="637" y="54"/>
                    <a:pt x="637" y="53"/>
                  </a:cubicBezTo>
                  <a:cubicBezTo>
                    <a:pt x="637" y="54"/>
                    <a:pt x="637" y="54"/>
                    <a:pt x="637" y="54"/>
                  </a:cubicBezTo>
                  <a:close/>
                  <a:moveTo>
                    <a:pt x="572" y="53"/>
                  </a:moveTo>
                  <a:cubicBezTo>
                    <a:pt x="572" y="54"/>
                    <a:pt x="573" y="54"/>
                    <a:pt x="573" y="54"/>
                  </a:cubicBezTo>
                  <a:cubicBezTo>
                    <a:pt x="573" y="54"/>
                    <a:pt x="573" y="53"/>
                    <a:pt x="572" y="53"/>
                  </a:cubicBezTo>
                  <a:close/>
                  <a:moveTo>
                    <a:pt x="615" y="93"/>
                  </a:moveTo>
                  <a:cubicBezTo>
                    <a:pt x="615" y="93"/>
                    <a:pt x="615" y="92"/>
                    <a:pt x="615" y="92"/>
                  </a:cubicBezTo>
                  <a:cubicBezTo>
                    <a:pt x="615" y="92"/>
                    <a:pt x="615" y="93"/>
                    <a:pt x="615" y="93"/>
                  </a:cubicBezTo>
                  <a:close/>
                  <a:moveTo>
                    <a:pt x="1498" y="11"/>
                  </a:moveTo>
                  <a:cubicBezTo>
                    <a:pt x="1499" y="11"/>
                    <a:pt x="1499" y="11"/>
                    <a:pt x="1499" y="10"/>
                  </a:cubicBezTo>
                  <a:cubicBezTo>
                    <a:pt x="1499" y="10"/>
                    <a:pt x="1498" y="10"/>
                    <a:pt x="1498" y="11"/>
                  </a:cubicBezTo>
                  <a:close/>
                  <a:moveTo>
                    <a:pt x="684" y="92"/>
                  </a:moveTo>
                  <a:cubicBezTo>
                    <a:pt x="684" y="92"/>
                    <a:pt x="684" y="92"/>
                    <a:pt x="684" y="92"/>
                  </a:cubicBezTo>
                  <a:cubicBezTo>
                    <a:pt x="684" y="92"/>
                    <a:pt x="684" y="92"/>
                    <a:pt x="684" y="92"/>
                  </a:cubicBezTo>
                  <a:close/>
                  <a:moveTo>
                    <a:pt x="740" y="93"/>
                  </a:moveTo>
                  <a:cubicBezTo>
                    <a:pt x="741" y="93"/>
                    <a:pt x="741" y="92"/>
                    <a:pt x="741" y="92"/>
                  </a:cubicBezTo>
                  <a:cubicBezTo>
                    <a:pt x="741" y="92"/>
                    <a:pt x="741" y="92"/>
                    <a:pt x="740" y="93"/>
                  </a:cubicBezTo>
                  <a:close/>
                  <a:moveTo>
                    <a:pt x="771" y="92"/>
                  </a:moveTo>
                  <a:cubicBezTo>
                    <a:pt x="771" y="92"/>
                    <a:pt x="771" y="92"/>
                    <a:pt x="772" y="92"/>
                  </a:cubicBezTo>
                  <a:cubicBezTo>
                    <a:pt x="771" y="92"/>
                    <a:pt x="771" y="92"/>
                    <a:pt x="771" y="92"/>
                  </a:cubicBezTo>
                  <a:close/>
                  <a:moveTo>
                    <a:pt x="1536" y="11"/>
                  </a:moveTo>
                  <a:cubicBezTo>
                    <a:pt x="1536" y="11"/>
                    <a:pt x="1536" y="11"/>
                    <a:pt x="1536" y="10"/>
                  </a:cubicBezTo>
                  <a:cubicBezTo>
                    <a:pt x="1536" y="10"/>
                    <a:pt x="1536" y="10"/>
                    <a:pt x="1536" y="11"/>
                  </a:cubicBezTo>
                  <a:close/>
                  <a:moveTo>
                    <a:pt x="1367" y="61"/>
                  </a:moveTo>
                  <a:cubicBezTo>
                    <a:pt x="1368" y="60"/>
                    <a:pt x="1368" y="60"/>
                    <a:pt x="1368" y="60"/>
                  </a:cubicBezTo>
                  <a:cubicBezTo>
                    <a:pt x="1368" y="60"/>
                    <a:pt x="1367" y="60"/>
                    <a:pt x="1367" y="61"/>
                  </a:cubicBezTo>
                  <a:close/>
                  <a:moveTo>
                    <a:pt x="1671" y="10"/>
                  </a:moveTo>
                  <a:cubicBezTo>
                    <a:pt x="1671" y="11"/>
                    <a:pt x="1672" y="11"/>
                    <a:pt x="1672" y="11"/>
                  </a:cubicBezTo>
                  <a:cubicBezTo>
                    <a:pt x="1672" y="10"/>
                    <a:pt x="1671" y="10"/>
                    <a:pt x="1671" y="10"/>
                  </a:cubicBezTo>
                  <a:close/>
                  <a:moveTo>
                    <a:pt x="1053" y="92"/>
                  </a:moveTo>
                  <a:cubicBezTo>
                    <a:pt x="1053" y="92"/>
                    <a:pt x="1053" y="92"/>
                    <a:pt x="1054" y="92"/>
                  </a:cubicBezTo>
                  <a:cubicBezTo>
                    <a:pt x="1053" y="92"/>
                    <a:pt x="1053" y="92"/>
                    <a:pt x="1053" y="92"/>
                  </a:cubicBezTo>
                  <a:close/>
                  <a:moveTo>
                    <a:pt x="1072" y="92"/>
                  </a:moveTo>
                  <a:cubicBezTo>
                    <a:pt x="1072" y="92"/>
                    <a:pt x="1072" y="92"/>
                    <a:pt x="1073" y="92"/>
                  </a:cubicBezTo>
                  <a:cubicBezTo>
                    <a:pt x="1072" y="92"/>
                    <a:pt x="1072" y="92"/>
                    <a:pt x="1072" y="92"/>
                  </a:cubicBezTo>
                  <a:close/>
                  <a:moveTo>
                    <a:pt x="1704" y="11"/>
                  </a:moveTo>
                  <a:cubicBezTo>
                    <a:pt x="1704" y="11"/>
                    <a:pt x="1704" y="11"/>
                    <a:pt x="1705" y="10"/>
                  </a:cubicBezTo>
                  <a:cubicBezTo>
                    <a:pt x="1704" y="10"/>
                    <a:pt x="1704" y="10"/>
                    <a:pt x="1704" y="11"/>
                  </a:cubicBezTo>
                  <a:close/>
                  <a:moveTo>
                    <a:pt x="1189" y="92"/>
                  </a:moveTo>
                  <a:cubicBezTo>
                    <a:pt x="1189" y="92"/>
                    <a:pt x="1189" y="93"/>
                    <a:pt x="1190" y="93"/>
                  </a:cubicBezTo>
                  <a:cubicBezTo>
                    <a:pt x="1190" y="92"/>
                    <a:pt x="1189" y="92"/>
                    <a:pt x="1189" y="92"/>
                  </a:cubicBezTo>
                  <a:close/>
                  <a:moveTo>
                    <a:pt x="1201" y="92"/>
                  </a:moveTo>
                  <a:cubicBezTo>
                    <a:pt x="1201" y="92"/>
                    <a:pt x="1201" y="92"/>
                    <a:pt x="1201" y="92"/>
                  </a:cubicBezTo>
                  <a:cubicBezTo>
                    <a:pt x="1201" y="92"/>
                    <a:pt x="1201" y="92"/>
                    <a:pt x="1201" y="92"/>
                  </a:cubicBezTo>
                  <a:close/>
                  <a:moveTo>
                    <a:pt x="1231" y="92"/>
                  </a:moveTo>
                  <a:cubicBezTo>
                    <a:pt x="1231" y="92"/>
                    <a:pt x="1231" y="92"/>
                    <a:pt x="1232" y="92"/>
                  </a:cubicBezTo>
                  <a:cubicBezTo>
                    <a:pt x="1231" y="92"/>
                    <a:pt x="1231" y="92"/>
                    <a:pt x="1231" y="92"/>
                  </a:cubicBezTo>
                  <a:close/>
                  <a:moveTo>
                    <a:pt x="1250" y="92"/>
                  </a:moveTo>
                  <a:cubicBezTo>
                    <a:pt x="1250" y="92"/>
                    <a:pt x="1250" y="92"/>
                    <a:pt x="1250" y="92"/>
                  </a:cubicBezTo>
                  <a:cubicBezTo>
                    <a:pt x="1250" y="92"/>
                    <a:pt x="1250" y="92"/>
                    <a:pt x="1250" y="92"/>
                  </a:cubicBezTo>
                  <a:close/>
                  <a:moveTo>
                    <a:pt x="1671" y="93"/>
                  </a:moveTo>
                  <a:cubicBezTo>
                    <a:pt x="1671" y="92"/>
                    <a:pt x="1671" y="92"/>
                    <a:pt x="1671" y="92"/>
                  </a:cubicBezTo>
                  <a:cubicBezTo>
                    <a:pt x="1670" y="92"/>
                    <a:pt x="1671" y="93"/>
                    <a:pt x="1671" y="93"/>
                  </a:cubicBezTo>
                  <a:close/>
                  <a:moveTo>
                    <a:pt x="1684" y="92"/>
                  </a:moveTo>
                  <a:cubicBezTo>
                    <a:pt x="1684" y="92"/>
                    <a:pt x="1684" y="93"/>
                    <a:pt x="1684" y="93"/>
                  </a:cubicBezTo>
                  <a:cubicBezTo>
                    <a:pt x="1684" y="93"/>
                    <a:pt x="1684" y="92"/>
                    <a:pt x="1684" y="92"/>
                  </a:cubicBezTo>
                  <a:close/>
                  <a:moveTo>
                    <a:pt x="585" y="92"/>
                  </a:moveTo>
                  <a:cubicBezTo>
                    <a:pt x="584" y="93"/>
                    <a:pt x="584" y="93"/>
                    <a:pt x="584" y="93"/>
                  </a:cubicBezTo>
                  <a:cubicBezTo>
                    <a:pt x="585" y="93"/>
                    <a:pt x="585" y="93"/>
                    <a:pt x="585" y="92"/>
                  </a:cubicBezTo>
                  <a:close/>
                  <a:moveTo>
                    <a:pt x="633" y="92"/>
                  </a:moveTo>
                  <a:cubicBezTo>
                    <a:pt x="633" y="93"/>
                    <a:pt x="632" y="93"/>
                    <a:pt x="632" y="93"/>
                  </a:cubicBezTo>
                  <a:cubicBezTo>
                    <a:pt x="633" y="93"/>
                    <a:pt x="633" y="93"/>
                    <a:pt x="633" y="92"/>
                  </a:cubicBezTo>
                  <a:close/>
                  <a:moveTo>
                    <a:pt x="1739" y="10"/>
                  </a:moveTo>
                  <a:cubicBezTo>
                    <a:pt x="1740" y="11"/>
                    <a:pt x="1740" y="11"/>
                    <a:pt x="1740" y="11"/>
                  </a:cubicBezTo>
                  <a:cubicBezTo>
                    <a:pt x="1740" y="10"/>
                    <a:pt x="1740" y="10"/>
                    <a:pt x="1739" y="10"/>
                  </a:cubicBezTo>
                  <a:close/>
                  <a:moveTo>
                    <a:pt x="683" y="93"/>
                  </a:moveTo>
                  <a:cubicBezTo>
                    <a:pt x="683" y="93"/>
                    <a:pt x="683" y="93"/>
                    <a:pt x="683" y="93"/>
                  </a:cubicBezTo>
                  <a:cubicBezTo>
                    <a:pt x="683" y="92"/>
                    <a:pt x="683" y="92"/>
                    <a:pt x="683" y="93"/>
                  </a:cubicBezTo>
                  <a:close/>
                  <a:moveTo>
                    <a:pt x="698" y="92"/>
                  </a:moveTo>
                  <a:cubicBezTo>
                    <a:pt x="697" y="93"/>
                    <a:pt x="697" y="93"/>
                    <a:pt x="697" y="93"/>
                  </a:cubicBezTo>
                  <a:cubicBezTo>
                    <a:pt x="697" y="93"/>
                    <a:pt x="698" y="93"/>
                    <a:pt x="698" y="92"/>
                  </a:cubicBezTo>
                  <a:close/>
                  <a:moveTo>
                    <a:pt x="976" y="11"/>
                  </a:moveTo>
                  <a:cubicBezTo>
                    <a:pt x="976" y="11"/>
                    <a:pt x="977" y="11"/>
                    <a:pt x="977" y="11"/>
                  </a:cubicBezTo>
                  <a:cubicBezTo>
                    <a:pt x="976" y="11"/>
                    <a:pt x="976" y="11"/>
                    <a:pt x="976" y="11"/>
                  </a:cubicBezTo>
                  <a:close/>
                  <a:moveTo>
                    <a:pt x="730" y="92"/>
                  </a:moveTo>
                  <a:cubicBezTo>
                    <a:pt x="730" y="93"/>
                    <a:pt x="730" y="93"/>
                    <a:pt x="730" y="93"/>
                  </a:cubicBezTo>
                  <a:cubicBezTo>
                    <a:pt x="730" y="93"/>
                    <a:pt x="730" y="92"/>
                    <a:pt x="730" y="92"/>
                  </a:cubicBezTo>
                  <a:close/>
                  <a:moveTo>
                    <a:pt x="740" y="93"/>
                  </a:moveTo>
                  <a:cubicBezTo>
                    <a:pt x="740" y="93"/>
                    <a:pt x="740" y="93"/>
                    <a:pt x="740" y="93"/>
                  </a:cubicBezTo>
                  <a:cubicBezTo>
                    <a:pt x="740" y="92"/>
                    <a:pt x="740" y="93"/>
                    <a:pt x="740" y="93"/>
                  </a:cubicBezTo>
                  <a:close/>
                  <a:moveTo>
                    <a:pt x="1290" y="56"/>
                  </a:moveTo>
                  <a:cubicBezTo>
                    <a:pt x="1289" y="56"/>
                    <a:pt x="1289" y="56"/>
                    <a:pt x="1289" y="57"/>
                  </a:cubicBezTo>
                  <a:cubicBezTo>
                    <a:pt x="1290" y="56"/>
                    <a:pt x="1290" y="56"/>
                    <a:pt x="1290" y="56"/>
                  </a:cubicBezTo>
                  <a:close/>
                  <a:moveTo>
                    <a:pt x="909" y="42"/>
                  </a:moveTo>
                  <a:cubicBezTo>
                    <a:pt x="909" y="42"/>
                    <a:pt x="909" y="43"/>
                    <a:pt x="909" y="43"/>
                  </a:cubicBezTo>
                  <a:cubicBezTo>
                    <a:pt x="909" y="42"/>
                    <a:pt x="909" y="42"/>
                    <a:pt x="909" y="42"/>
                  </a:cubicBezTo>
                  <a:close/>
                  <a:moveTo>
                    <a:pt x="1081" y="42"/>
                  </a:moveTo>
                  <a:cubicBezTo>
                    <a:pt x="1081" y="42"/>
                    <a:pt x="1082" y="43"/>
                    <a:pt x="1082" y="43"/>
                  </a:cubicBezTo>
                  <a:cubicBezTo>
                    <a:pt x="1082" y="42"/>
                    <a:pt x="1082" y="42"/>
                    <a:pt x="1081" y="42"/>
                  </a:cubicBezTo>
                  <a:close/>
                  <a:moveTo>
                    <a:pt x="609" y="48"/>
                  </a:moveTo>
                  <a:cubicBezTo>
                    <a:pt x="609" y="48"/>
                    <a:pt x="609" y="49"/>
                    <a:pt x="609" y="49"/>
                  </a:cubicBezTo>
                  <a:cubicBezTo>
                    <a:pt x="609" y="48"/>
                    <a:pt x="609" y="48"/>
                    <a:pt x="609" y="48"/>
                  </a:cubicBezTo>
                  <a:close/>
                  <a:moveTo>
                    <a:pt x="600" y="56"/>
                  </a:moveTo>
                  <a:cubicBezTo>
                    <a:pt x="600" y="55"/>
                    <a:pt x="600" y="55"/>
                    <a:pt x="600" y="55"/>
                  </a:cubicBezTo>
                  <a:cubicBezTo>
                    <a:pt x="600" y="55"/>
                    <a:pt x="600" y="55"/>
                    <a:pt x="600" y="56"/>
                  </a:cubicBezTo>
                  <a:close/>
                  <a:moveTo>
                    <a:pt x="1054" y="93"/>
                  </a:moveTo>
                  <a:cubicBezTo>
                    <a:pt x="1054" y="93"/>
                    <a:pt x="1054" y="93"/>
                    <a:pt x="1055" y="93"/>
                  </a:cubicBezTo>
                  <a:cubicBezTo>
                    <a:pt x="1054" y="92"/>
                    <a:pt x="1054" y="92"/>
                    <a:pt x="1054" y="93"/>
                  </a:cubicBezTo>
                  <a:close/>
                  <a:moveTo>
                    <a:pt x="1672" y="11"/>
                  </a:moveTo>
                  <a:cubicBezTo>
                    <a:pt x="1672" y="11"/>
                    <a:pt x="1672" y="11"/>
                    <a:pt x="1673" y="11"/>
                  </a:cubicBezTo>
                  <a:cubicBezTo>
                    <a:pt x="1672" y="11"/>
                    <a:pt x="1672" y="11"/>
                    <a:pt x="1672" y="11"/>
                  </a:cubicBezTo>
                  <a:close/>
                  <a:moveTo>
                    <a:pt x="1190" y="93"/>
                  </a:moveTo>
                  <a:cubicBezTo>
                    <a:pt x="1190" y="93"/>
                    <a:pt x="1190" y="93"/>
                    <a:pt x="1190" y="93"/>
                  </a:cubicBezTo>
                  <a:cubicBezTo>
                    <a:pt x="1190" y="93"/>
                    <a:pt x="1190" y="92"/>
                    <a:pt x="1190" y="93"/>
                  </a:cubicBezTo>
                  <a:close/>
                  <a:moveTo>
                    <a:pt x="1200" y="93"/>
                  </a:moveTo>
                  <a:cubicBezTo>
                    <a:pt x="1200" y="93"/>
                    <a:pt x="1200" y="93"/>
                    <a:pt x="1201" y="92"/>
                  </a:cubicBezTo>
                  <a:cubicBezTo>
                    <a:pt x="1200" y="92"/>
                    <a:pt x="1200" y="93"/>
                    <a:pt x="1200" y="93"/>
                  </a:cubicBezTo>
                  <a:close/>
                  <a:moveTo>
                    <a:pt x="1232" y="93"/>
                  </a:moveTo>
                  <a:cubicBezTo>
                    <a:pt x="1232" y="93"/>
                    <a:pt x="1232" y="93"/>
                    <a:pt x="1233" y="93"/>
                  </a:cubicBezTo>
                  <a:cubicBezTo>
                    <a:pt x="1232" y="92"/>
                    <a:pt x="1232" y="92"/>
                    <a:pt x="1232" y="93"/>
                  </a:cubicBezTo>
                  <a:close/>
                  <a:moveTo>
                    <a:pt x="547" y="11"/>
                  </a:moveTo>
                  <a:cubicBezTo>
                    <a:pt x="547" y="11"/>
                    <a:pt x="547" y="11"/>
                    <a:pt x="548" y="11"/>
                  </a:cubicBezTo>
                  <a:cubicBezTo>
                    <a:pt x="547" y="11"/>
                    <a:pt x="547" y="11"/>
                    <a:pt x="547" y="11"/>
                  </a:cubicBezTo>
                  <a:close/>
                  <a:moveTo>
                    <a:pt x="1671" y="56"/>
                  </a:moveTo>
                  <a:cubicBezTo>
                    <a:pt x="1671" y="56"/>
                    <a:pt x="1670" y="56"/>
                    <a:pt x="1670" y="56"/>
                  </a:cubicBezTo>
                  <a:cubicBezTo>
                    <a:pt x="1670" y="56"/>
                    <a:pt x="1671" y="56"/>
                    <a:pt x="1671" y="56"/>
                  </a:cubicBezTo>
                  <a:close/>
                  <a:moveTo>
                    <a:pt x="975" y="11"/>
                  </a:moveTo>
                  <a:cubicBezTo>
                    <a:pt x="976" y="11"/>
                    <a:pt x="976" y="11"/>
                    <a:pt x="976" y="11"/>
                  </a:cubicBezTo>
                  <a:cubicBezTo>
                    <a:pt x="976" y="11"/>
                    <a:pt x="975" y="11"/>
                    <a:pt x="975" y="11"/>
                  </a:cubicBezTo>
                  <a:close/>
                  <a:moveTo>
                    <a:pt x="1497" y="11"/>
                  </a:moveTo>
                  <a:cubicBezTo>
                    <a:pt x="1497" y="11"/>
                    <a:pt x="1498" y="11"/>
                    <a:pt x="1498" y="11"/>
                  </a:cubicBezTo>
                  <a:cubicBezTo>
                    <a:pt x="1498" y="11"/>
                    <a:pt x="1497" y="11"/>
                    <a:pt x="1497" y="11"/>
                  </a:cubicBezTo>
                  <a:close/>
                  <a:moveTo>
                    <a:pt x="730" y="93"/>
                  </a:moveTo>
                  <a:cubicBezTo>
                    <a:pt x="731" y="93"/>
                    <a:pt x="731" y="93"/>
                    <a:pt x="731" y="93"/>
                  </a:cubicBezTo>
                  <a:cubicBezTo>
                    <a:pt x="731" y="93"/>
                    <a:pt x="731" y="93"/>
                    <a:pt x="730" y="93"/>
                  </a:cubicBezTo>
                  <a:close/>
                  <a:moveTo>
                    <a:pt x="739" y="93"/>
                  </a:moveTo>
                  <a:cubicBezTo>
                    <a:pt x="739" y="93"/>
                    <a:pt x="740" y="93"/>
                    <a:pt x="740" y="93"/>
                  </a:cubicBezTo>
                  <a:cubicBezTo>
                    <a:pt x="739" y="93"/>
                    <a:pt x="739" y="93"/>
                    <a:pt x="739" y="93"/>
                  </a:cubicBezTo>
                  <a:close/>
                  <a:moveTo>
                    <a:pt x="1535" y="11"/>
                  </a:moveTo>
                  <a:cubicBezTo>
                    <a:pt x="1535" y="11"/>
                    <a:pt x="1535" y="11"/>
                    <a:pt x="1535" y="11"/>
                  </a:cubicBezTo>
                  <a:cubicBezTo>
                    <a:pt x="1535" y="11"/>
                    <a:pt x="1535" y="11"/>
                    <a:pt x="1535" y="11"/>
                  </a:cubicBezTo>
                  <a:close/>
                  <a:moveTo>
                    <a:pt x="676" y="60"/>
                  </a:moveTo>
                  <a:cubicBezTo>
                    <a:pt x="676" y="61"/>
                    <a:pt x="676" y="61"/>
                    <a:pt x="676" y="61"/>
                  </a:cubicBezTo>
                  <a:cubicBezTo>
                    <a:pt x="676" y="61"/>
                    <a:pt x="676" y="60"/>
                    <a:pt x="676" y="60"/>
                  </a:cubicBezTo>
                  <a:close/>
                  <a:moveTo>
                    <a:pt x="650" y="49"/>
                  </a:moveTo>
                  <a:cubicBezTo>
                    <a:pt x="650" y="49"/>
                    <a:pt x="650" y="49"/>
                    <a:pt x="650" y="49"/>
                  </a:cubicBezTo>
                  <a:cubicBezTo>
                    <a:pt x="650" y="49"/>
                    <a:pt x="650" y="49"/>
                    <a:pt x="650" y="49"/>
                  </a:cubicBezTo>
                  <a:close/>
                  <a:moveTo>
                    <a:pt x="1746" y="48"/>
                  </a:moveTo>
                  <a:cubicBezTo>
                    <a:pt x="1746" y="48"/>
                    <a:pt x="1746" y="48"/>
                    <a:pt x="1746" y="48"/>
                  </a:cubicBezTo>
                  <a:cubicBezTo>
                    <a:pt x="1746" y="48"/>
                    <a:pt x="1746" y="48"/>
                    <a:pt x="1746" y="48"/>
                  </a:cubicBezTo>
                  <a:close/>
                  <a:moveTo>
                    <a:pt x="1572" y="11"/>
                  </a:moveTo>
                  <a:cubicBezTo>
                    <a:pt x="1572" y="11"/>
                    <a:pt x="1573" y="11"/>
                    <a:pt x="1573" y="11"/>
                  </a:cubicBezTo>
                  <a:cubicBezTo>
                    <a:pt x="1573" y="11"/>
                    <a:pt x="1573" y="11"/>
                    <a:pt x="1572" y="11"/>
                  </a:cubicBezTo>
                  <a:close/>
                  <a:moveTo>
                    <a:pt x="670" y="56"/>
                  </a:moveTo>
                  <a:cubicBezTo>
                    <a:pt x="670" y="56"/>
                    <a:pt x="670" y="56"/>
                    <a:pt x="671" y="56"/>
                  </a:cubicBezTo>
                  <a:cubicBezTo>
                    <a:pt x="671" y="56"/>
                    <a:pt x="671" y="56"/>
                    <a:pt x="670" y="56"/>
                  </a:cubicBezTo>
                  <a:close/>
                  <a:moveTo>
                    <a:pt x="1190" y="93"/>
                  </a:moveTo>
                  <a:cubicBezTo>
                    <a:pt x="1191" y="93"/>
                    <a:pt x="1191" y="93"/>
                    <a:pt x="1191" y="93"/>
                  </a:cubicBezTo>
                  <a:cubicBezTo>
                    <a:pt x="1191" y="93"/>
                    <a:pt x="1191" y="93"/>
                    <a:pt x="1190" y="93"/>
                  </a:cubicBezTo>
                  <a:close/>
                  <a:moveTo>
                    <a:pt x="1199" y="93"/>
                  </a:moveTo>
                  <a:cubicBezTo>
                    <a:pt x="1199" y="93"/>
                    <a:pt x="1199" y="93"/>
                    <a:pt x="1200" y="93"/>
                  </a:cubicBezTo>
                  <a:cubicBezTo>
                    <a:pt x="1199" y="93"/>
                    <a:pt x="1199" y="93"/>
                    <a:pt x="1199" y="93"/>
                  </a:cubicBezTo>
                  <a:close/>
                  <a:moveTo>
                    <a:pt x="1703" y="11"/>
                  </a:moveTo>
                  <a:cubicBezTo>
                    <a:pt x="1703" y="11"/>
                    <a:pt x="1703" y="11"/>
                    <a:pt x="1704" y="11"/>
                  </a:cubicBezTo>
                  <a:cubicBezTo>
                    <a:pt x="1703" y="11"/>
                    <a:pt x="1703" y="11"/>
                    <a:pt x="1703" y="11"/>
                  </a:cubicBezTo>
                  <a:close/>
                  <a:moveTo>
                    <a:pt x="1290" y="43"/>
                  </a:moveTo>
                  <a:cubicBezTo>
                    <a:pt x="1291" y="43"/>
                    <a:pt x="1291" y="42"/>
                    <a:pt x="1291" y="42"/>
                  </a:cubicBezTo>
                  <a:cubicBezTo>
                    <a:pt x="1290" y="42"/>
                    <a:pt x="1290" y="42"/>
                    <a:pt x="1290" y="43"/>
                  </a:cubicBezTo>
                  <a:close/>
                  <a:moveTo>
                    <a:pt x="1671" y="94"/>
                  </a:moveTo>
                  <a:cubicBezTo>
                    <a:pt x="1671" y="93"/>
                    <a:pt x="1671" y="93"/>
                    <a:pt x="1671" y="93"/>
                  </a:cubicBezTo>
                  <a:cubicBezTo>
                    <a:pt x="1671" y="93"/>
                    <a:pt x="1671" y="93"/>
                    <a:pt x="1671" y="94"/>
                  </a:cubicBezTo>
                  <a:close/>
                  <a:moveTo>
                    <a:pt x="1684" y="93"/>
                  </a:moveTo>
                  <a:cubicBezTo>
                    <a:pt x="1684" y="93"/>
                    <a:pt x="1684" y="93"/>
                    <a:pt x="1684" y="94"/>
                  </a:cubicBezTo>
                  <a:cubicBezTo>
                    <a:pt x="1684" y="93"/>
                    <a:pt x="1684" y="93"/>
                    <a:pt x="1684" y="93"/>
                  </a:cubicBezTo>
                  <a:close/>
                  <a:moveTo>
                    <a:pt x="615" y="94"/>
                  </a:moveTo>
                  <a:cubicBezTo>
                    <a:pt x="615" y="94"/>
                    <a:pt x="615" y="93"/>
                    <a:pt x="615" y="93"/>
                  </a:cubicBezTo>
                  <a:cubicBezTo>
                    <a:pt x="615" y="93"/>
                    <a:pt x="615" y="94"/>
                    <a:pt x="615" y="94"/>
                  </a:cubicBezTo>
                  <a:close/>
                  <a:moveTo>
                    <a:pt x="975" y="12"/>
                  </a:moveTo>
                  <a:cubicBezTo>
                    <a:pt x="975" y="12"/>
                    <a:pt x="975" y="12"/>
                    <a:pt x="975" y="11"/>
                  </a:cubicBezTo>
                  <a:cubicBezTo>
                    <a:pt x="975" y="11"/>
                    <a:pt x="975" y="11"/>
                    <a:pt x="975" y="12"/>
                  </a:cubicBezTo>
                  <a:close/>
                  <a:moveTo>
                    <a:pt x="1551" y="61"/>
                  </a:moveTo>
                  <a:cubicBezTo>
                    <a:pt x="1551" y="61"/>
                    <a:pt x="1552" y="61"/>
                    <a:pt x="1552" y="60"/>
                  </a:cubicBezTo>
                  <a:cubicBezTo>
                    <a:pt x="1551" y="60"/>
                    <a:pt x="1551" y="61"/>
                    <a:pt x="1551" y="61"/>
                  </a:cubicBezTo>
                  <a:close/>
                  <a:moveTo>
                    <a:pt x="596" y="43"/>
                  </a:moveTo>
                  <a:cubicBezTo>
                    <a:pt x="596" y="43"/>
                    <a:pt x="596" y="42"/>
                    <a:pt x="595" y="42"/>
                  </a:cubicBezTo>
                  <a:cubicBezTo>
                    <a:pt x="595" y="43"/>
                    <a:pt x="595" y="43"/>
                    <a:pt x="596" y="43"/>
                  </a:cubicBezTo>
                  <a:close/>
                  <a:moveTo>
                    <a:pt x="614" y="61"/>
                  </a:moveTo>
                  <a:cubicBezTo>
                    <a:pt x="614" y="61"/>
                    <a:pt x="614" y="61"/>
                    <a:pt x="614" y="62"/>
                  </a:cubicBezTo>
                  <a:cubicBezTo>
                    <a:pt x="614" y="61"/>
                    <a:pt x="614" y="61"/>
                    <a:pt x="614" y="61"/>
                  </a:cubicBezTo>
                  <a:close/>
                  <a:moveTo>
                    <a:pt x="1673" y="11"/>
                  </a:moveTo>
                  <a:cubicBezTo>
                    <a:pt x="1673" y="12"/>
                    <a:pt x="1673" y="12"/>
                    <a:pt x="1674" y="12"/>
                  </a:cubicBezTo>
                  <a:cubicBezTo>
                    <a:pt x="1673" y="11"/>
                    <a:pt x="1673" y="11"/>
                    <a:pt x="1673" y="11"/>
                  </a:cubicBezTo>
                  <a:close/>
                  <a:moveTo>
                    <a:pt x="676" y="61"/>
                  </a:moveTo>
                  <a:cubicBezTo>
                    <a:pt x="676" y="61"/>
                    <a:pt x="677" y="61"/>
                    <a:pt x="677" y="61"/>
                  </a:cubicBezTo>
                  <a:cubicBezTo>
                    <a:pt x="677" y="61"/>
                    <a:pt x="677" y="61"/>
                    <a:pt x="676" y="61"/>
                  </a:cubicBezTo>
                  <a:close/>
                  <a:moveTo>
                    <a:pt x="1393" y="49"/>
                  </a:moveTo>
                  <a:cubicBezTo>
                    <a:pt x="1393" y="49"/>
                    <a:pt x="1393" y="49"/>
                    <a:pt x="1393" y="49"/>
                  </a:cubicBezTo>
                  <a:cubicBezTo>
                    <a:pt x="1393" y="49"/>
                    <a:pt x="1393" y="49"/>
                    <a:pt x="1393" y="49"/>
                  </a:cubicBezTo>
                  <a:close/>
                  <a:moveTo>
                    <a:pt x="1291" y="52"/>
                  </a:moveTo>
                  <a:cubicBezTo>
                    <a:pt x="1291" y="52"/>
                    <a:pt x="1291" y="52"/>
                    <a:pt x="1291" y="52"/>
                  </a:cubicBezTo>
                  <a:cubicBezTo>
                    <a:pt x="1291" y="52"/>
                    <a:pt x="1291" y="52"/>
                    <a:pt x="1291" y="52"/>
                  </a:cubicBezTo>
                  <a:close/>
                  <a:moveTo>
                    <a:pt x="1176" y="94"/>
                  </a:moveTo>
                  <a:cubicBezTo>
                    <a:pt x="1176" y="94"/>
                    <a:pt x="1176" y="93"/>
                    <a:pt x="1176" y="93"/>
                  </a:cubicBezTo>
                  <a:cubicBezTo>
                    <a:pt x="1176" y="93"/>
                    <a:pt x="1176" y="94"/>
                    <a:pt x="1176" y="94"/>
                  </a:cubicBezTo>
                  <a:close/>
                  <a:moveTo>
                    <a:pt x="974" y="12"/>
                  </a:moveTo>
                  <a:cubicBezTo>
                    <a:pt x="974" y="12"/>
                    <a:pt x="975" y="12"/>
                    <a:pt x="975" y="12"/>
                  </a:cubicBezTo>
                  <a:cubicBezTo>
                    <a:pt x="974" y="12"/>
                    <a:pt x="974" y="12"/>
                    <a:pt x="974" y="12"/>
                  </a:cubicBezTo>
                  <a:close/>
                  <a:moveTo>
                    <a:pt x="1350" y="12"/>
                  </a:moveTo>
                  <a:cubicBezTo>
                    <a:pt x="1350" y="12"/>
                    <a:pt x="1350" y="12"/>
                    <a:pt x="1350" y="12"/>
                  </a:cubicBezTo>
                  <a:cubicBezTo>
                    <a:pt x="1350" y="12"/>
                    <a:pt x="1350" y="12"/>
                    <a:pt x="1350" y="12"/>
                  </a:cubicBezTo>
                  <a:close/>
                  <a:moveTo>
                    <a:pt x="603" y="62"/>
                  </a:moveTo>
                  <a:cubicBezTo>
                    <a:pt x="603" y="62"/>
                    <a:pt x="603" y="61"/>
                    <a:pt x="603" y="61"/>
                  </a:cubicBezTo>
                  <a:cubicBezTo>
                    <a:pt x="603" y="61"/>
                    <a:pt x="603" y="62"/>
                    <a:pt x="603" y="62"/>
                  </a:cubicBezTo>
                  <a:close/>
                  <a:moveTo>
                    <a:pt x="634" y="62"/>
                  </a:moveTo>
                  <a:cubicBezTo>
                    <a:pt x="635" y="62"/>
                    <a:pt x="635" y="61"/>
                    <a:pt x="635" y="61"/>
                  </a:cubicBezTo>
                  <a:cubicBezTo>
                    <a:pt x="634" y="61"/>
                    <a:pt x="634" y="62"/>
                    <a:pt x="634" y="62"/>
                  </a:cubicBezTo>
                  <a:close/>
                  <a:moveTo>
                    <a:pt x="677" y="61"/>
                  </a:moveTo>
                  <a:cubicBezTo>
                    <a:pt x="677" y="61"/>
                    <a:pt x="677" y="62"/>
                    <a:pt x="678" y="62"/>
                  </a:cubicBezTo>
                  <a:cubicBezTo>
                    <a:pt x="678" y="61"/>
                    <a:pt x="677" y="61"/>
                    <a:pt x="677" y="61"/>
                  </a:cubicBezTo>
                  <a:close/>
                  <a:moveTo>
                    <a:pt x="1461" y="93"/>
                  </a:moveTo>
                  <a:cubicBezTo>
                    <a:pt x="1460" y="93"/>
                    <a:pt x="1460" y="94"/>
                    <a:pt x="1460" y="94"/>
                  </a:cubicBezTo>
                  <a:cubicBezTo>
                    <a:pt x="1460" y="94"/>
                    <a:pt x="1461" y="93"/>
                    <a:pt x="1461" y="93"/>
                  </a:cubicBezTo>
                  <a:close/>
                  <a:moveTo>
                    <a:pt x="632" y="93"/>
                  </a:moveTo>
                  <a:cubicBezTo>
                    <a:pt x="632" y="94"/>
                    <a:pt x="632" y="94"/>
                    <a:pt x="632" y="94"/>
                  </a:cubicBezTo>
                  <a:cubicBezTo>
                    <a:pt x="632" y="94"/>
                    <a:pt x="632" y="94"/>
                    <a:pt x="632" y="93"/>
                  </a:cubicBezTo>
                  <a:close/>
                  <a:moveTo>
                    <a:pt x="1578" y="48"/>
                  </a:moveTo>
                  <a:cubicBezTo>
                    <a:pt x="1578" y="48"/>
                    <a:pt x="1578" y="48"/>
                    <a:pt x="1577" y="48"/>
                  </a:cubicBezTo>
                  <a:cubicBezTo>
                    <a:pt x="1578" y="48"/>
                    <a:pt x="1578" y="48"/>
                    <a:pt x="1578" y="48"/>
                  </a:cubicBezTo>
                  <a:close/>
                  <a:moveTo>
                    <a:pt x="697" y="94"/>
                  </a:moveTo>
                  <a:cubicBezTo>
                    <a:pt x="697" y="94"/>
                    <a:pt x="696" y="94"/>
                    <a:pt x="696" y="94"/>
                  </a:cubicBezTo>
                  <a:cubicBezTo>
                    <a:pt x="697" y="94"/>
                    <a:pt x="697" y="94"/>
                    <a:pt x="697" y="94"/>
                  </a:cubicBezTo>
                  <a:close/>
                  <a:moveTo>
                    <a:pt x="716" y="94"/>
                  </a:moveTo>
                  <a:cubicBezTo>
                    <a:pt x="716" y="94"/>
                    <a:pt x="716" y="94"/>
                    <a:pt x="716" y="93"/>
                  </a:cubicBezTo>
                  <a:cubicBezTo>
                    <a:pt x="716" y="94"/>
                    <a:pt x="716" y="94"/>
                    <a:pt x="716" y="94"/>
                  </a:cubicBezTo>
                  <a:close/>
                  <a:moveTo>
                    <a:pt x="1143" y="52"/>
                  </a:moveTo>
                  <a:cubicBezTo>
                    <a:pt x="1143" y="52"/>
                    <a:pt x="1143" y="52"/>
                    <a:pt x="1142" y="52"/>
                  </a:cubicBezTo>
                  <a:cubicBezTo>
                    <a:pt x="1142" y="52"/>
                    <a:pt x="1142" y="52"/>
                    <a:pt x="1143" y="52"/>
                  </a:cubicBezTo>
                  <a:close/>
                  <a:moveTo>
                    <a:pt x="1113" y="52"/>
                  </a:moveTo>
                  <a:cubicBezTo>
                    <a:pt x="1113" y="52"/>
                    <a:pt x="1112" y="52"/>
                    <a:pt x="1112" y="52"/>
                  </a:cubicBezTo>
                  <a:cubicBezTo>
                    <a:pt x="1113" y="52"/>
                    <a:pt x="1113" y="52"/>
                    <a:pt x="1113" y="52"/>
                  </a:cubicBezTo>
                  <a:close/>
                  <a:moveTo>
                    <a:pt x="598" y="49"/>
                  </a:moveTo>
                  <a:cubicBezTo>
                    <a:pt x="598" y="49"/>
                    <a:pt x="598" y="49"/>
                    <a:pt x="598" y="49"/>
                  </a:cubicBezTo>
                  <a:cubicBezTo>
                    <a:pt x="598" y="49"/>
                    <a:pt x="598" y="49"/>
                    <a:pt x="598" y="49"/>
                  </a:cubicBezTo>
                  <a:close/>
                  <a:moveTo>
                    <a:pt x="1496" y="12"/>
                  </a:moveTo>
                  <a:cubicBezTo>
                    <a:pt x="1496" y="12"/>
                    <a:pt x="1497" y="12"/>
                    <a:pt x="1497" y="12"/>
                  </a:cubicBezTo>
                  <a:cubicBezTo>
                    <a:pt x="1496" y="12"/>
                    <a:pt x="1496" y="12"/>
                    <a:pt x="1496" y="12"/>
                  </a:cubicBezTo>
                  <a:close/>
                  <a:moveTo>
                    <a:pt x="1674" y="12"/>
                  </a:moveTo>
                  <a:cubicBezTo>
                    <a:pt x="1674" y="12"/>
                    <a:pt x="1674" y="12"/>
                    <a:pt x="1674" y="12"/>
                  </a:cubicBezTo>
                  <a:cubicBezTo>
                    <a:pt x="1674" y="12"/>
                    <a:pt x="1674" y="12"/>
                    <a:pt x="1674" y="12"/>
                  </a:cubicBezTo>
                  <a:close/>
                  <a:moveTo>
                    <a:pt x="1209" y="55"/>
                  </a:moveTo>
                  <a:cubicBezTo>
                    <a:pt x="1209" y="55"/>
                    <a:pt x="1209" y="54"/>
                    <a:pt x="1209" y="54"/>
                  </a:cubicBezTo>
                  <a:cubicBezTo>
                    <a:pt x="1209" y="54"/>
                    <a:pt x="1209" y="55"/>
                    <a:pt x="1209" y="55"/>
                  </a:cubicBezTo>
                  <a:close/>
                  <a:moveTo>
                    <a:pt x="1671" y="94"/>
                  </a:moveTo>
                  <a:cubicBezTo>
                    <a:pt x="1672" y="94"/>
                    <a:pt x="1671" y="94"/>
                    <a:pt x="1671" y="94"/>
                  </a:cubicBezTo>
                  <a:cubicBezTo>
                    <a:pt x="1671" y="94"/>
                    <a:pt x="1671" y="94"/>
                    <a:pt x="1671" y="94"/>
                  </a:cubicBezTo>
                  <a:close/>
                  <a:moveTo>
                    <a:pt x="1684" y="94"/>
                  </a:moveTo>
                  <a:cubicBezTo>
                    <a:pt x="1684" y="94"/>
                    <a:pt x="1684" y="94"/>
                    <a:pt x="1685" y="94"/>
                  </a:cubicBezTo>
                  <a:cubicBezTo>
                    <a:pt x="1685" y="94"/>
                    <a:pt x="1685" y="94"/>
                    <a:pt x="1684" y="94"/>
                  </a:cubicBezTo>
                  <a:close/>
                  <a:moveTo>
                    <a:pt x="616" y="95"/>
                  </a:moveTo>
                  <a:cubicBezTo>
                    <a:pt x="616" y="94"/>
                    <a:pt x="616" y="94"/>
                    <a:pt x="615" y="94"/>
                  </a:cubicBezTo>
                  <a:cubicBezTo>
                    <a:pt x="615" y="94"/>
                    <a:pt x="615" y="94"/>
                    <a:pt x="616" y="95"/>
                  </a:cubicBezTo>
                  <a:close/>
                  <a:moveTo>
                    <a:pt x="632" y="94"/>
                  </a:moveTo>
                  <a:cubicBezTo>
                    <a:pt x="632" y="94"/>
                    <a:pt x="632" y="95"/>
                    <a:pt x="632" y="95"/>
                  </a:cubicBezTo>
                  <a:cubicBezTo>
                    <a:pt x="632" y="95"/>
                    <a:pt x="632" y="94"/>
                    <a:pt x="632" y="94"/>
                  </a:cubicBezTo>
                  <a:close/>
                  <a:moveTo>
                    <a:pt x="717" y="95"/>
                  </a:moveTo>
                  <a:cubicBezTo>
                    <a:pt x="717" y="95"/>
                    <a:pt x="717" y="94"/>
                    <a:pt x="716" y="94"/>
                  </a:cubicBezTo>
                  <a:cubicBezTo>
                    <a:pt x="716" y="94"/>
                    <a:pt x="716" y="95"/>
                    <a:pt x="717" y="95"/>
                  </a:cubicBezTo>
                  <a:close/>
                  <a:moveTo>
                    <a:pt x="1177" y="95"/>
                  </a:moveTo>
                  <a:cubicBezTo>
                    <a:pt x="1177" y="95"/>
                    <a:pt x="1177" y="94"/>
                    <a:pt x="1176" y="94"/>
                  </a:cubicBezTo>
                  <a:cubicBezTo>
                    <a:pt x="1176" y="94"/>
                    <a:pt x="1176" y="95"/>
                    <a:pt x="1177" y="95"/>
                  </a:cubicBezTo>
                  <a:close/>
                  <a:moveTo>
                    <a:pt x="866" y="42"/>
                  </a:moveTo>
                  <a:cubicBezTo>
                    <a:pt x="866" y="43"/>
                    <a:pt x="866" y="43"/>
                    <a:pt x="867" y="43"/>
                  </a:cubicBezTo>
                  <a:cubicBezTo>
                    <a:pt x="867" y="43"/>
                    <a:pt x="867" y="42"/>
                    <a:pt x="866" y="42"/>
                  </a:cubicBezTo>
                  <a:close/>
                  <a:moveTo>
                    <a:pt x="1685" y="94"/>
                  </a:moveTo>
                  <a:cubicBezTo>
                    <a:pt x="1685" y="95"/>
                    <a:pt x="1685" y="95"/>
                    <a:pt x="1685" y="95"/>
                  </a:cubicBezTo>
                  <a:cubicBezTo>
                    <a:pt x="1685" y="95"/>
                    <a:pt x="1685" y="94"/>
                    <a:pt x="1685" y="94"/>
                  </a:cubicBezTo>
                  <a:close/>
                  <a:moveTo>
                    <a:pt x="968" y="95"/>
                  </a:moveTo>
                  <a:cubicBezTo>
                    <a:pt x="968" y="95"/>
                    <a:pt x="968" y="95"/>
                    <a:pt x="967" y="94"/>
                  </a:cubicBezTo>
                  <a:cubicBezTo>
                    <a:pt x="967" y="95"/>
                    <a:pt x="968" y="95"/>
                    <a:pt x="968" y="95"/>
                  </a:cubicBezTo>
                  <a:close/>
                  <a:moveTo>
                    <a:pt x="1672" y="95"/>
                  </a:moveTo>
                  <a:cubicBezTo>
                    <a:pt x="1672" y="95"/>
                    <a:pt x="1672" y="95"/>
                    <a:pt x="1672" y="94"/>
                  </a:cubicBezTo>
                  <a:cubicBezTo>
                    <a:pt x="1672" y="95"/>
                    <a:pt x="1672" y="95"/>
                    <a:pt x="1672" y="95"/>
                  </a:cubicBezTo>
                  <a:close/>
                  <a:moveTo>
                    <a:pt x="616" y="96"/>
                  </a:moveTo>
                  <a:cubicBezTo>
                    <a:pt x="616" y="95"/>
                    <a:pt x="616" y="95"/>
                    <a:pt x="616" y="95"/>
                  </a:cubicBezTo>
                  <a:cubicBezTo>
                    <a:pt x="616" y="95"/>
                    <a:pt x="616" y="95"/>
                    <a:pt x="616" y="96"/>
                  </a:cubicBezTo>
                  <a:close/>
                  <a:moveTo>
                    <a:pt x="873" y="52"/>
                  </a:moveTo>
                  <a:cubicBezTo>
                    <a:pt x="872" y="53"/>
                    <a:pt x="872" y="53"/>
                    <a:pt x="872" y="53"/>
                  </a:cubicBezTo>
                  <a:cubicBezTo>
                    <a:pt x="873" y="53"/>
                    <a:pt x="873" y="53"/>
                    <a:pt x="873" y="52"/>
                  </a:cubicBezTo>
                  <a:close/>
                  <a:moveTo>
                    <a:pt x="717" y="96"/>
                  </a:moveTo>
                  <a:cubicBezTo>
                    <a:pt x="717" y="95"/>
                    <a:pt x="717" y="95"/>
                    <a:pt x="717" y="95"/>
                  </a:cubicBezTo>
                  <a:cubicBezTo>
                    <a:pt x="717" y="95"/>
                    <a:pt x="717" y="95"/>
                    <a:pt x="717" y="96"/>
                  </a:cubicBezTo>
                  <a:close/>
                  <a:moveTo>
                    <a:pt x="1177" y="96"/>
                  </a:moveTo>
                  <a:cubicBezTo>
                    <a:pt x="1177" y="95"/>
                    <a:pt x="1177" y="95"/>
                    <a:pt x="1177" y="95"/>
                  </a:cubicBezTo>
                  <a:cubicBezTo>
                    <a:pt x="1177" y="95"/>
                    <a:pt x="1177" y="95"/>
                    <a:pt x="1177" y="96"/>
                  </a:cubicBezTo>
                  <a:close/>
                  <a:moveTo>
                    <a:pt x="632" y="95"/>
                  </a:moveTo>
                  <a:cubicBezTo>
                    <a:pt x="631" y="95"/>
                    <a:pt x="631" y="96"/>
                    <a:pt x="631" y="96"/>
                  </a:cubicBezTo>
                  <a:cubicBezTo>
                    <a:pt x="632" y="96"/>
                    <a:pt x="632" y="95"/>
                    <a:pt x="632" y="95"/>
                  </a:cubicBezTo>
                  <a:close/>
                  <a:moveTo>
                    <a:pt x="883" y="42"/>
                  </a:moveTo>
                  <a:cubicBezTo>
                    <a:pt x="883" y="42"/>
                    <a:pt x="883" y="42"/>
                    <a:pt x="883" y="43"/>
                  </a:cubicBezTo>
                  <a:cubicBezTo>
                    <a:pt x="883" y="43"/>
                    <a:pt x="883" y="43"/>
                    <a:pt x="883" y="42"/>
                  </a:cubicBezTo>
                  <a:close/>
                  <a:moveTo>
                    <a:pt x="1672" y="96"/>
                  </a:moveTo>
                  <a:cubicBezTo>
                    <a:pt x="1672" y="96"/>
                    <a:pt x="1672" y="95"/>
                    <a:pt x="1672" y="95"/>
                  </a:cubicBezTo>
                  <a:cubicBezTo>
                    <a:pt x="1672" y="96"/>
                    <a:pt x="1672" y="96"/>
                    <a:pt x="1672" y="96"/>
                  </a:cubicBezTo>
                  <a:close/>
                  <a:moveTo>
                    <a:pt x="1495" y="12"/>
                  </a:moveTo>
                  <a:cubicBezTo>
                    <a:pt x="1496" y="12"/>
                    <a:pt x="1496" y="12"/>
                    <a:pt x="1496" y="12"/>
                  </a:cubicBezTo>
                  <a:cubicBezTo>
                    <a:pt x="1496" y="12"/>
                    <a:pt x="1496" y="12"/>
                    <a:pt x="1495" y="12"/>
                  </a:cubicBezTo>
                  <a:close/>
                  <a:moveTo>
                    <a:pt x="717" y="96"/>
                  </a:moveTo>
                  <a:cubicBezTo>
                    <a:pt x="717" y="96"/>
                    <a:pt x="717" y="96"/>
                    <a:pt x="717" y="96"/>
                  </a:cubicBezTo>
                  <a:cubicBezTo>
                    <a:pt x="717" y="96"/>
                    <a:pt x="717" y="96"/>
                    <a:pt x="717" y="96"/>
                  </a:cubicBezTo>
                  <a:close/>
                  <a:moveTo>
                    <a:pt x="631" y="96"/>
                  </a:moveTo>
                  <a:cubicBezTo>
                    <a:pt x="631" y="96"/>
                    <a:pt x="631" y="96"/>
                    <a:pt x="631" y="97"/>
                  </a:cubicBezTo>
                  <a:cubicBezTo>
                    <a:pt x="631" y="96"/>
                    <a:pt x="631" y="96"/>
                    <a:pt x="631" y="96"/>
                  </a:cubicBezTo>
                  <a:close/>
                  <a:moveTo>
                    <a:pt x="1533" y="13"/>
                  </a:moveTo>
                  <a:cubicBezTo>
                    <a:pt x="1534" y="12"/>
                    <a:pt x="1534" y="12"/>
                    <a:pt x="1534" y="12"/>
                  </a:cubicBezTo>
                  <a:cubicBezTo>
                    <a:pt x="1534" y="12"/>
                    <a:pt x="1533" y="12"/>
                    <a:pt x="1533" y="13"/>
                  </a:cubicBezTo>
                  <a:close/>
                  <a:moveTo>
                    <a:pt x="1178" y="97"/>
                  </a:moveTo>
                  <a:cubicBezTo>
                    <a:pt x="1178" y="96"/>
                    <a:pt x="1177" y="96"/>
                    <a:pt x="1177" y="96"/>
                  </a:cubicBezTo>
                  <a:cubicBezTo>
                    <a:pt x="1177" y="96"/>
                    <a:pt x="1177" y="97"/>
                    <a:pt x="1178" y="97"/>
                  </a:cubicBezTo>
                  <a:close/>
                  <a:moveTo>
                    <a:pt x="1673" y="97"/>
                  </a:moveTo>
                  <a:cubicBezTo>
                    <a:pt x="1673" y="96"/>
                    <a:pt x="1672" y="96"/>
                    <a:pt x="1672" y="96"/>
                  </a:cubicBezTo>
                  <a:cubicBezTo>
                    <a:pt x="1672" y="96"/>
                    <a:pt x="1672" y="96"/>
                    <a:pt x="1673" y="97"/>
                  </a:cubicBezTo>
                  <a:close/>
                  <a:moveTo>
                    <a:pt x="1685" y="96"/>
                  </a:moveTo>
                  <a:cubicBezTo>
                    <a:pt x="1685" y="96"/>
                    <a:pt x="1686" y="96"/>
                    <a:pt x="1686" y="97"/>
                  </a:cubicBezTo>
                  <a:cubicBezTo>
                    <a:pt x="1686" y="96"/>
                    <a:pt x="1686" y="96"/>
                    <a:pt x="1685" y="96"/>
                  </a:cubicBezTo>
                  <a:close/>
                  <a:moveTo>
                    <a:pt x="581" y="96"/>
                  </a:moveTo>
                  <a:cubicBezTo>
                    <a:pt x="581" y="96"/>
                    <a:pt x="581" y="96"/>
                    <a:pt x="581" y="97"/>
                  </a:cubicBezTo>
                  <a:cubicBezTo>
                    <a:pt x="581" y="97"/>
                    <a:pt x="581" y="97"/>
                    <a:pt x="581" y="96"/>
                  </a:cubicBezTo>
                  <a:close/>
                  <a:moveTo>
                    <a:pt x="765" y="35"/>
                  </a:moveTo>
                  <a:cubicBezTo>
                    <a:pt x="765" y="35"/>
                    <a:pt x="766" y="35"/>
                    <a:pt x="766" y="35"/>
                  </a:cubicBezTo>
                  <a:cubicBezTo>
                    <a:pt x="766" y="35"/>
                    <a:pt x="765" y="35"/>
                    <a:pt x="765" y="35"/>
                  </a:cubicBezTo>
                  <a:close/>
                  <a:moveTo>
                    <a:pt x="678" y="62"/>
                  </a:moveTo>
                  <a:cubicBezTo>
                    <a:pt x="678" y="62"/>
                    <a:pt x="678" y="62"/>
                    <a:pt x="678" y="62"/>
                  </a:cubicBezTo>
                  <a:cubicBezTo>
                    <a:pt x="678" y="62"/>
                    <a:pt x="678" y="61"/>
                    <a:pt x="678" y="62"/>
                  </a:cubicBezTo>
                  <a:close/>
                  <a:moveTo>
                    <a:pt x="617" y="97"/>
                  </a:moveTo>
                  <a:cubicBezTo>
                    <a:pt x="617" y="97"/>
                    <a:pt x="617" y="97"/>
                    <a:pt x="616" y="97"/>
                  </a:cubicBezTo>
                  <a:cubicBezTo>
                    <a:pt x="616" y="97"/>
                    <a:pt x="616" y="97"/>
                    <a:pt x="617" y="97"/>
                  </a:cubicBezTo>
                  <a:close/>
                  <a:moveTo>
                    <a:pt x="1151" y="42"/>
                  </a:moveTo>
                  <a:cubicBezTo>
                    <a:pt x="1151" y="43"/>
                    <a:pt x="1151" y="43"/>
                    <a:pt x="1151" y="43"/>
                  </a:cubicBezTo>
                  <a:cubicBezTo>
                    <a:pt x="1151" y="43"/>
                    <a:pt x="1151" y="42"/>
                    <a:pt x="1151" y="42"/>
                  </a:cubicBezTo>
                  <a:close/>
                  <a:moveTo>
                    <a:pt x="971" y="97"/>
                  </a:moveTo>
                  <a:cubicBezTo>
                    <a:pt x="971" y="97"/>
                    <a:pt x="971" y="97"/>
                    <a:pt x="970" y="97"/>
                  </a:cubicBezTo>
                  <a:cubicBezTo>
                    <a:pt x="971" y="97"/>
                    <a:pt x="971" y="97"/>
                    <a:pt x="971" y="97"/>
                  </a:cubicBezTo>
                  <a:close/>
                  <a:moveTo>
                    <a:pt x="564" y="49"/>
                  </a:moveTo>
                  <a:cubicBezTo>
                    <a:pt x="564" y="49"/>
                    <a:pt x="564" y="49"/>
                    <a:pt x="565" y="49"/>
                  </a:cubicBezTo>
                  <a:cubicBezTo>
                    <a:pt x="564" y="49"/>
                    <a:pt x="564" y="49"/>
                    <a:pt x="564" y="49"/>
                  </a:cubicBezTo>
                  <a:close/>
                  <a:moveTo>
                    <a:pt x="1686" y="97"/>
                  </a:moveTo>
                  <a:cubicBezTo>
                    <a:pt x="1686" y="97"/>
                    <a:pt x="1686" y="97"/>
                    <a:pt x="1686" y="97"/>
                  </a:cubicBezTo>
                  <a:cubicBezTo>
                    <a:pt x="1686" y="97"/>
                    <a:pt x="1686" y="97"/>
                    <a:pt x="1686" y="97"/>
                  </a:cubicBezTo>
                  <a:close/>
                  <a:moveTo>
                    <a:pt x="631" y="97"/>
                  </a:moveTo>
                  <a:cubicBezTo>
                    <a:pt x="631" y="97"/>
                    <a:pt x="631" y="97"/>
                    <a:pt x="631" y="98"/>
                  </a:cubicBezTo>
                  <a:cubicBezTo>
                    <a:pt x="631" y="97"/>
                    <a:pt x="631" y="97"/>
                    <a:pt x="631" y="97"/>
                  </a:cubicBezTo>
                  <a:close/>
                  <a:moveTo>
                    <a:pt x="1112" y="54"/>
                  </a:moveTo>
                  <a:cubicBezTo>
                    <a:pt x="1111" y="54"/>
                    <a:pt x="1111" y="55"/>
                    <a:pt x="1111" y="55"/>
                  </a:cubicBezTo>
                  <a:cubicBezTo>
                    <a:pt x="1112" y="55"/>
                    <a:pt x="1112" y="54"/>
                    <a:pt x="1112" y="54"/>
                  </a:cubicBezTo>
                  <a:close/>
                  <a:moveTo>
                    <a:pt x="1178" y="98"/>
                  </a:moveTo>
                  <a:cubicBezTo>
                    <a:pt x="1178" y="97"/>
                    <a:pt x="1178" y="97"/>
                    <a:pt x="1178" y="97"/>
                  </a:cubicBezTo>
                  <a:cubicBezTo>
                    <a:pt x="1178" y="97"/>
                    <a:pt x="1178" y="98"/>
                    <a:pt x="1178" y="98"/>
                  </a:cubicBezTo>
                  <a:close/>
                  <a:moveTo>
                    <a:pt x="1261" y="97"/>
                  </a:moveTo>
                  <a:cubicBezTo>
                    <a:pt x="1260" y="97"/>
                    <a:pt x="1260" y="97"/>
                    <a:pt x="1260" y="97"/>
                  </a:cubicBezTo>
                  <a:cubicBezTo>
                    <a:pt x="1260" y="97"/>
                    <a:pt x="1261" y="97"/>
                    <a:pt x="1261" y="97"/>
                  </a:cubicBezTo>
                  <a:close/>
                  <a:moveTo>
                    <a:pt x="603" y="63"/>
                  </a:moveTo>
                  <a:cubicBezTo>
                    <a:pt x="603" y="62"/>
                    <a:pt x="603" y="62"/>
                    <a:pt x="603" y="62"/>
                  </a:cubicBezTo>
                  <a:cubicBezTo>
                    <a:pt x="603" y="62"/>
                    <a:pt x="603" y="62"/>
                    <a:pt x="603" y="63"/>
                  </a:cubicBezTo>
                  <a:close/>
                  <a:moveTo>
                    <a:pt x="1673" y="98"/>
                  </a:moveTo>
                  <a:cubicBezTo>
                    <a:pt x="1673" y="97"/>
                    <a:pt x="1673" y="97"/>
                    <a:pt x="1673" y="97"/>
                  </a:cubicBezTo>
                  <a:cubicBezTo>
                    <a:pt x="1673" y="97"/>
                    <a:pt x="1673" y="97"/>
                    <a:pt x="1673" y="98"/>
                  </a:cubicBezTo>
                  <a:close/>
                  <a:moveTo>
                    <a:pt x="580" y="97"/>
                  </a:moveTo>
                  <a:cubicBezTo>
                    <a:pt x="580" y="97"/>
                    <a:pt x="579" y="97"/>
                    <a:pt x="579" y="98"/>
                  </a:cubicBezTo>
                  <a:cubicBezTo>
                    <a:pt x="580" y="98"/>
                    <a:pt x="580" y="98"/>
                    <a:pt x="580" y="97"/>
                  </a:cubicBezTo>
                  <a:close/>
                  <a:moveTo>
                    <a:pt x="1702" y="12"/>
                  </a:moveTo>
                  <a:cubicBezTo>
                    <a:pt x="1702" y="12"/>
                    <a:pt x="1702" y="12"/>
                    <a:pt x="1702" y="12"/>
                  </a:cubicBezTo>
                  <a:cubicBezTo>
                    <a:pt x="1702" y="12"/>
                    <a:pt x="1702" y="12"/>
                    <a:pt x="1702" y="12"/>
                  </a:cubicBezTo>
                  <a:close/>
                  <a:moveTo>
                    <a:pt x="972" y="98"/>
                  </a:moveTo>
                  <a:cubicBezTo>
                    <a:pt x="972" y="97"/>
                    <a:pt x="972" y="97"/>
                    <a:pt x="972" y="97"/>
                  </a:cubicBezTo>
                  <a:cubicBezTo>
                    <a:pt x="972" y="98"/>
                    <a:pt x="972" y="98"/>
                    <a:pt x="972" y="98"/>
                  </a:cubicBezTo>
                  <a:close/>
                  <a:moveTo>
                    <a:pt x="1082" y="97"/>
                  </a:moveTo>
                  <a:cubicBezTo>
                    <a:pt x="1082" y="97"/>
                    <a:pt x="1082" y="97"/>
                    <a:pt x="1082" y="98"/>
                  </a:cubicBezTo>
                  <a:cubicBezTo>
                    <a:pt x="1082" y="98"/>
                    <a:pt x="1082" y="98"/>
                    <a:pt x="1082" y="97"/>
                  </a:cubicBezTo>
                  <a:close/>
                  <a:moveTo>
                    <a:pt x="614" y="62"/>
                  </a:moveTo>
                  <a:cubicBezTo>
                    <a:pt x="614" y="62"/>
                    <a:pt x="614" y="62"/>
                    <a:pt x="614" y="63"/>
                  </a:cubicBezTo>
                  <a:cubicBezTo>
                    <a:pt x="614" y="62"/>
                    <a:pt x="614" y="62"/>
                    <a:pt x="614" y="62"/>
                  </a:cubicBezTo>
                  <a:close/>
                  <a:moveTo>
                    <a:pt x="1686" y="97"/>
                  </a:moveTo>
                  <a:cubicBezTo>
                    <a:pt x="1686" y="98"/>
                    <a:pt x="1686" y="98"/>
                    <a:pt x="1686" y="98"/>
                  </a:cubicBezTo>
                  <a:cubicBezTo>
                    <a:pt x="1686" y="98"/>
                    <a:pt x="1686" y="97"/>
                    <a:pt x="1686" y="97"/>
                  </a:cubicBezTo>
                  <a:close/>
                  <a:moveTo>
                    <a:pt x="631" y="98"/>
                  </a:moveTo>
                  <a:cubicBezTo>
                    <a:pt x="630" y="98"/>
                    <a:pt x="630" y="98"/>
                    <a:pt x="630" y="98"/>
                  </a:cubicBezTo>
                  <a:cubicBezTo>
                    <a:pt x="631" y="98"/>
                    <a:pt x="631" y="98"/>
                    <a:pt x="631" y="98"/>
                  </a:cubicBezTo>
                  <a:close/>
                  <a:moveTo>
                    <a:pt x="800" y="98"/>
                  </a:moveTo>
                  <a:cubicBezTo>
                    <a:pt x="800" y="98"/>
                    <a:pt x="799" y="98"/>
                    <a:pt x="799" y="98"/>
                  </a:cubicBezTo>
                  <a:cubicBezTo>
                    <a:pt x="799" y="98"/>
                    <a:pt x="800" y="98"/>
                    <a:pt x="800" y="98"/>
                  </a:cubicBezTo>
                  <a:close/>
                  <a:moveTo>
                    <a:pt x="973" y="98"/>
                  </a:moveTo>
                  <a:cubicBezTo>
                    <a:pt x="973" y="98"/>
                    <a:pt x="973" y="98"/>
                    <a:pt x="972" y="98"/>
                  </a:cubicBezTo>
                  <a:cubicBezTo>
                    <a:pt x="972" y="98"/>
                    <a:pt x="973" y="98"/>
                    <a:pt x="973" y="98"/>
                  </a:cubicBezTo>
                  <a:close/>
                  <a:moveTo>
                    <a:pt x="1042" y="98"/>
                  </a:moveTo>
                  <a:cubicBezTo>
                    <a:pt x="1042" y="98"/>
                    <a:pt x="1041" y="98"/>
                    <a:pt x="1041" y="98"/>
                  </a:cubicBezTo>
                  <a:cubicBezTo>
                    <a:pt x="1041" y="98"/>
                    <a:pt x="1041" y="98"/>
                    <a:pt x="1042" y="98"/>
                  </a:cubicBezTo>
                  <a:close/>
                  <a:moveTo>
                    <a:pt x="1082" y="98"/>
                  </a:moveTo>
                  <a:cubicBezTo>
                    <a:pt x="1082" y="98"/>
                    <a:pt x="1081" y="98"/>
                    <a:pt x="1081" y="98"/>
                  </a:cubicBezTo>
                  <a:cubicBezTo>
                    <a:pt x="1081" y="98"/>
                    <a:pt x="1082" y="98"/>
                    <a:pt x="1082" y="98"/>
                  </a:cubicBezTo>
                  <a:close/>
                  <a:moveTo>
                    <a:pt x="1260" y="98"/>
                  </a:moveTo>
                  <a:cubicBezTo>
                    <a:pt x="1259" y="98"/>
                    <a:pt x="1259" y="98"/>
                    <a:pt x="1259" y="98"/>
                  </a:cubicBezTo>
                  <a:cubicBezTo>
                    <a:pt x="1259" y="98"/>
                    <a:pt x="1260" y="98"/>
                    <a:pt x="1260" y="98"/>
                  </a:cubicBezTo>
                  <a:close/>
                  <a:moveTo>
                    <a:pt x="1673" y="98"/>
                  </a:moveTo>
                  <a:cubicBezTo>
                    <a:pt x="1673" y="98"/>
                    <a:pt x="1673" y="98"/>
                    <a:pt x="1673" y="98"/>
                  </a:cubicBezTo>
                  <a:cubicBezTo>
                    <a:pt x="1673" y="98"/>
                    <a:pt x="1673" y="98"/>
                    <a:pt x="1673" y="98"/>
                  </a:cubicBezTo>
                  <a:close/>
                  <a:moveTo>
                    <a:pt x="579" y="98"/>
                  </a:moveTo>
                  <a:cubicBezTo>
                    <a:pt x="579" y="98"/>
                    <a:pt x="578" y="98"/>
                    <a:pt x="578" y="98"/>
                  </a:cubicBezTo>
                  <a:cubicBezTo>
                    <a:pt x="578" y="98"/>
                    <a:pt x="579" y="98"/>
                    <a:pt x="579" y="98"/>
                  </a:cubicBezTo>
                  <a:close/>
                  <a:moveTo>
                    <a:pt x="1384" y="43"/>
                  </a:moveTo>
                  <a:cubicBezTo>
                    <a:pt x="1384" y="43"/>
                    <a:pt x="1384" y="43"/>
                    <a:pt x="1384" y="42"/>
                  </a:cubicBezTo>
                  <a:cubicBezTo>
                    <a:pt x="1384" y="43"/>
                    <a:pt x="1384" y="43"/>
                    <a:pt x="1384" y="43"/>
                  </a:cubicBezTo>
                  <a:close/>
                  <a:moveTo>
                    <a:pt x="645" y="62"/>
                  </a:moveTo>
                  <a:cubicBezTo>
                    <a:pt x="645" y="62"/>
                    <a:pt x="645" y="62"/>
                    <a:pt x="645" y="63"/>
                  </a:cubicBezTo>
                  <a:cubicBezTo>
                    <a:pt x="645" y="62"/>
                    <a:pt x="645" y="62"/>
                    <a:pt x="645" y="62"/>
                  </a:cubicBezTo>
                  <a:close/>
                  <a:moveTo>
                    <a:pt x="799" y="98"/>
                  </a:moveTo>
                  <a:cubicBezTo>
                    <a:pt x="799" y="98"/>
                    <a:pt x="799" y="98"/>
                    <a:pt x="799" y="98"/>
                  </a:cubicBezTo>
                  <a:cubicBezTo>
                    <a:pt x="799" y="98"/>
                    <a:pt x="799" y="98"/>
                    <a:pt x="799" y="98"/>
                  </a:cubicBezTo>
                  <a:close/>
                  <a:moveTo>
                    <a:pt x="974" y="98"/>
                  </a:moveTo>
                  <a:cubicBezTo>
                    <a:pt x="973" y="98"/>
                    <a:pt x="973" y="98"/>
                    <a:pt x="973" y="98"/>
                  </a:cubicBezTo>
                  <a:cubicBezTo>
                    <a:pt x="973" y="98"/>
                    <a:pt x="973" y="98"/>
                    <a:pt x="974" y="98"/>
                  </a:cubicBezTo>
                  <a:close/>
                  <a:moveTo>
                    <a:pt x="1220" y="98"/>
                  </a:moveTo>
                  <a:cubicBezTo>
                    <a:pt x="1220" y="98"/>
                    <a:pt x="1220" y="98"/>
                    <a:pt x="1219" y="98"/>
                  </a:cubicBezTo>
                  <a:cubicBezTo>
                    <a:pt x="1219" y="98"/>
                    <a:pt x="1220" y="98"/>
                    <a:pt x="1220" y="98"/>
                  </a:cubicBezTo>
                  <a:close/>
                  <a:moveTo>
                    <a:pt x="1686" y="98"/>
                  </a:moveTo>
                  <a:cubicBezTo>
                    <a:pt x="1686" y="98"/>
                    <a:pt x="1687" y="99"/>
                    <a:pt x="1687" y="99"/>
                  </a:cubicBezTo>
                  <a:cubicBezTo>
                    <a:pt x="1687" y="98"/>
                    <a:pt x="1687" y="98"/>
                    <a:pt x="1686" y="98"/>
                  </a:cubicBezTo>
                  <a:close/>
                  <a:moveTo>
                    <a:pt x="617" y="99"/>
                  </a:moveTo>
                  <a:cubicBezTo>
                    <a:pt x="617" y="99"/>
                    <a:pt x="617" y="99"/>
                    <a:pt x="617" y="98"/>
                  </a:cubicBezTo>
                  <a:cubicBezTo>
                    <a:pt x="617" y="99"/>
                    <a:pt x="617" y="99"/>
                    <a:pt x="617" y="99"/>
                  </a:cubicBezTo>
                  <a:close/>
                  <a:moveTo>
                    <a:pt x="692" y="98"/>
                  </a:moveTo>
                  <a:cubicBezTo>
                    <a:pt x="692" y="98"/>
                    <a:pt x="692" y="98"/>
                    <a:pt x="692" y="99"/>
                  </a:cubicBezTo>
                  <a:cubicBezTo>
                    <a:pt x="692" y="99"/>
                    <a:pt x="692" y="99"/>
                    <a:pt x="692" y="98"/>
                  </a:cubicBezTo>
                  <a:close/>
                  <a:moveTo>
                    <a:pt x="974" y="99"/>
                  </a:moveTo>
                  <a:cubicBezTo>
                    <a:pt x="974" y="98"/>
                    <a:pt x="974" y="98"/>
                    <a:pt x="974" y="98"/>
                  </a:cubicBezTo>
                  <a:cubicBezTo>
                    <a:pt x="974" y="99"/>
                    <a:pt x="974" y="99"/>
                    <a:pt x="974" y="99"/>
                  </a:cubicBezTo>
                  <a:close/>
                  <a:moveTo>
                    <a:pt x="1043" y="99"/>
                  </a:moveTo>
                  <a:cubicBezTo>
                    <a:pt x="1043" y="99"/>
                    <a:pt x="1042" y="98"/>
                    <a:pt x="1042" y="98"/>
                  </a:cubicBezTo>
                  <a:cubicBezTo>
                    <a:pt x="1042" y="99"/>
                    <a:pt x="1043" y="99"/>
                    <a:pt x="1043" y="99"/>
                  </a:cubicBezTo>
                  <a:close/>
                  <a:moveTo>
                    <a:pt x="1081" y="98"/>
                  </a:moveTo>
                  <a:cubicBezTo>
                    <a:pt x="1080" y="98"/>
                    <a:pt x="1080" y="98"/>
                    <a:pt x="1080" y="99"/>
                  </a:cubicBezTo>
                  <a:cubicBezTo>
                    <a:pt x="1080" y="99"/>
                    <a:pt x="1081" y="99"/>
                    <a:pt x="1081" y="98"/>
                  </a:cubicBezTo>
                  <a:close/>
                  <a:moveTo>
                    <a:pt x="1259" y="98"/>
                  </a:moveTo>
                  <a:cubicBezTo>
                    <a:pt x="1258" y="98"/>
                    <a:pt x="1258" y="98"/>
                    <a:pt x="1258" y="99"/>
                  </a:cubicBezTo>
                  <a:cubicBezTo>
                    <a:pt x="1258" y="99"/>
                    <a:pt x="1259" y="99"/>
                    <a:pt x="1259" y="98"/>
                  </a:cubicBezTo>
                  <a:close/>
                  <a:moveTo>
                    <a:pt x="661" y="62"/>
                  </a:moveTo>
                  <a:cubicBezTo>
                    <a:pt x="661" y="62"/>
                    <a:pt x="661" y="62"/>
                    <a:pt x="661" y="62"/>
                  </a:cubicBezTo>
                  <a:cubicBezTo>
                    <a:pt x="661" y="62"/>
                    <a:pt x="661" y="62"/>
                    <a:pt x="661" y="62"/>
                  </a:cubicBezTo>
                  <a:close/>
                  <a:moveTo>
                    <a:pt x="1455" y="98"/>
                  </a:moveTo>
                  <a:cubicBezTo>
                    <a:pt x="1455" y="98"/>
                    <a:pt x="1455" y="98"/>
                    <a:pt x="1455" y="99"/>
                  </a:cubicBezTo>
                  <a:cubicBezTo>
                    <a:pt x="1455" y="99"/>
                    <a:pt x="1455" y="99"/>
                    <a:pt x="1455" y="98"/>
                  </a:cubicBezTo>
                  <a:close/>
                  <a:moveTo>
                    <a:pt x="1674" y="99"/>
                  </a:moveTo>
                  <a:cubicBezTo>
                    <a:pt x="1674" y="99"/>
                    <a:pt x="1674" y="99"/>
                    <a:pt x="1673" y="98"/>
                  </a:cubicBezTo>
                  <a:cubicBezTo>
                    <a:pt x="1673" y="99"/>
                    <a:pt x="1673" y="99"/>
                    <a:pt x="1674" y="99"/>
                  </a:cubicBezTo>
                  <a:close/>
                  <a:moveTo>
                    <a:pt x="578" y="99"/>
                  </a:moveTo>
                  <a:cubicBezTo>
                    <a:pt x="577" y="99"/>
                    <a:pt x="577" y="99"/>
                    <a:pt x="577" y="99"/>
                  </a:cubicBezTo>
                  <a:cubicBezTo>
                    <a:pt x="577" y="99"/>
                    <a:pt x="578" y="99"/>
                    <a:pt x="578" y="99"/>
                  </a:cubicBezTo>
                  <a:close/>
                  <a:moveTo>
                    <a:pt x="630" y="99"/>
                  </a:moveTo>
                  <a:cubicBezTo>
                    <a:pt x="630" y="99"/>
                    <a:pt x="630" y="99"/>
                    <a:pt x="630" y="99"/>
                  </a:cubicBezTo>
                  <a:cubicBezTo>
                    <a:pt x="630" y="99"/>
                    <a:pt x="630" y="99"/>
                    <a:pt x="630" y="99"/>
                  </a:cubicBezTo>
                  <a:close/>
                  <a:moveTo>
                    <a:pt x="761" y="99"/>
                  </a:moveTo>
                  <a:cubicBezTo>
                    <a:pt x="761" y="99"/>
                    <a:pt x="761" y="99"/>
                    <a:pt x="761" y="99"/>
                  </a:cubicBezTo>
                  <a:cubicBezTo>
                    <a:pt x="761" y="99"/>
                    <a:pt x="761" y="99"/>
                    <a:pt x="761" y="99"/>
                  </a:cubicBezTo>
                  <a:close/>
                  <a:moveTo>
                    <a:pt x="798" y="99"/>
                  </a:moveTo>
                  <a:cubicBezTo>
                    <a:pt x="798" y="99"/>
                    <a:pt x="798" y="99"/>
                    <a:pt x="797" y="99"/>
                  </a:cubicBezTo>
                  <a:cubicBezTo>
                    <a:pt x="798" y="99"/>
                    <a:pt x="798" y="99"/>
                    <a:pt x="798" y="99"/>
                  </a:cubicBezTo>
                  <a:close/>
                  <a:moveTo>
                    <a:pt x="975" y="99"/>
                  </a:moveTo>
                  <a:cubicBezTo>
                    <a:pt x="975" y="99"/>
                    <a:pt x="975" y="99"/>
                    <a:pt x="974" y="99"/>
                  </a:cubicBezTo>
                  <a:cubicBezTo>
                    <a:pt x="974" y="99"/>
                    <a:pt x="975" y="99"/>
                    <a:pt x="975" y="99"/>
                  </a:cubicBezTo>
                  <a:close/>
                  <a:moveTo>
                    <a:pt x="1019" y="99"/>
                  </a:moveTo>
                  <a:cubicBezTo>
                    <a:pt x="1019" y="99"/>
                    <a:pt x="1018" y="99"/>
                    <a:pt x="1018" y="99"/>
                  </a:cubicBezTo>
                  <a:cubicBezTo>
                    <a:pt x="1018" y="99"/>
                    <a:pt x="1019" y="99"/>
                    <a:pt x="1019" y="99"/>
                  </a:cubicBezTo>
                  <a:close/>
                  <a:moveTo>
                    <a:pt x="1080" y="99"/>
                  </a:moveTo>
                  <a:cubicBezTo>
                    <a:pt x="1080" y="99"/>
                    <a:pt x="1080" y="99"/>
                    <a:pt x="1079" y="99"/>
                  </a:cubicBezTo>
                  <a:cubicBezTo>
                    <a:pt x="1080" y="99"/>
                    <a:pt x="1080" y="99"/>
                    <a:pt x="1080" y="99"/>
                  </a:cubicBezTo>
                  <a:close/>
                  <a:moveTo>
                    <a:pt x="1221" y="99"/>
                  </a:moveTo>
                  <a:cubicBezTo>
                    <a:pt x="1221" y="99"/>
                    <a:pt x="1221" y="99"/>
                    <a:pt x="1220" y="99"/>
                  </a:cubicBezTo>
                  <a:cubicBezTo>
                    <a:pt x="1221" y="99"/>
                    <a:pt x="1221" y="99"/>
                    <a:pt x="1221" y="99"/>
                  </a:cubicBezTo>
                  <a:close/>
                  <a:moveTo>
                    <a:pt x="1258" y="99"/>
                  </a:moveTo>
                  <a:cubicBezTo>
                    <a:pt x="1258" y="99"/>
                    <a:pt x="1257" y="99"/>
                    <a:pt x="1257" y="99"/>
                  </a:cubicBezTo>
                  <a:cubicBezTo>
                    <a:pt x="1258" y="99"/>
                    <a:pt x="1258" y="99"/>
                    <a:pt x="1258" y="99"/>
                  </a:cubicBezTo>
                  <a:close/>
                  <a:moveTo>
                    <a:pt x="1687" y="99"/>
                  </a:moveTo>
                  <a:cubicBezTo>
                    <a:pt x="1687" y="99"/>
                    <a:pt x="1687" y="99"/>
                    <a:pt x="1687" y="99"/>
                  </a:cubicBezTo>
                  <a:cubicBezTo>
                    <a:pt x="1687" y="99"/>
                    <a:pt x="1687" y="99"/>
                    <a:pt x="1687" y="99"/>
                  </a:cubicBezTo>
                  <a:close/>
                  <a:moveTo>
                    <a:pt x="577" y="99"/>
                  </a:moveTo>
                  <a:cubicBezTo>
                    <a:pt x="577" y="99"/>
                    <a:pt x="577" y="99"/>
                    <a:pt x="576" y="99"/>
                  </a:cubicBezTo>
                  <a:cubicBezTo>
                    <a:pt x="577" y="99"/>
                    <a:pt x="577" y="99"/>
                    <a:pt x="577" y="99"/>
                  </a:cubicBezTo>
                  <a:close/>
                  <a:moveTo>
                    <a:pt x="691" y="99"/>
                  </a:moveTo>
                  <a:cubicBezTo>
                    <a:pt x="691" y="99"/>
                    <a:pt x="691" y="99"/>
                    <a:pt x="691" y="99"/>
                  </a:cubicBezTo>
                  <a:cubicBezTo>
                    <a:pt x="691" y="99"/>
                    <a:pt x="691" y="99"/>
                    <a:pt x="691" y="99"/>
                  </a:cubicBezTo>
                  <a:close/>
                  <a:moveTo>
                    <a:pt x="797" y="99"/>
                  </a:moveTo>
                  <a:cubicBezTo>
                    <a:pt x="797" y="99"/>
                    <a:pt x="797" y="99"/>
                    <a:pt x="797" y="99"/>
                  </a:cubicBezTo>
                  <a:cubicBezTo>
                    <a:pt x="797" y="99"/>
                    <a:pt x="797" y="99"/>
                    <a:pt x="797" y="99"/>
                  </a:cubicBezTo>
                  <a:close/>
                  <a:moveTo>
                    <a:pt x="976" y="99"/>
                  </a:moveTo>
                  <a:cubicBezTo>
                    <a:pt x="976" y="99"/>
                    <a:pt x="975" y="99"/>
                    <a:pt x="975" y="99"/>
                  </a:cubicBezTo>
                  <a:cubicBezTo>
                    <a:pt x="975" y="99"/>
                    <a:pt x="975" y="99"/>
                    <a:pt x="976" y="99"/>
                  </a:cubicBezTo>
                  <a:close/>
                  <a:moveTo>
                    <a:pt x="1018" y="99"/>
                  </a:moveTo>
                  <a:cubicBezTo>
                    <a:pt x="1018" y="99"/>
                    <a:pt x="1018" y="99"/>
                    <a:pt x="1017" y="99"/>
                  </a:cubicBezTo>
                  <a:cubicBezTo>
                    <a:pt x="1018" y="99"/>
                    <a:pt x="1018" y="99"/>
                    <a:pt x="1018" y="99"/>
                  </a:cubicBezTo>
                  <a:close/>
                  <a:moveTo>
                    <a:pt x="1044" y="99"/>
                  </a:moveTo>
                  <a:cubicBezTo>
                    <a:pt x="1044" y="99"/>
                    <a:pt x="1044" y="99"/>
                    <a:pt x="1043" y="99"/>
                  </a:cubicBezTo>
                  <a:cubicBezTo>
                    <a:pt x="1043" y="99"/>
                    <a:pt x="1044" y="99"/>
                    <a:pt x="1044" y="99"/>
                  </a:cubicBezTo>
                  <a:close/>
                  <a:moveTo>
                    <a:pt x="1079" y="99"/>
                  </a:moveTo>
                  <a:cubicBezTo>
                    <a:pt x="1079" y="99"/>
                    <a:pt x="1079" y="99"/>
                    <a:pt x="1079" y="99"/>
                  </a:cubicBezTo>
                  <a:cubicBezTo>
                    <a:pt x="1079" y="99"/>
                    <a:pt x="1079" y="99"/>
                    <a:pt x="1079" y="99"/>
                  </a:cubicBezTo>
                  <a:close/>
                  <a:moveTo>
                    <a:pt x="1222" y="99"/>
                  </a:moveTo>
                  <a:cubicBezTo>
                    <a:pt x="1222" y="99"/>
                    <a:pt x="1221" y="99"/>
                    <a:pt x="1221" y="99"/>
                  </a:cubicBezTo>
                  <a:cubicBezTo>
                    <a:pt x="1221" y="99"/>
                    <a:pt x="1221" y="99"/>
                    <a:pt x="1222" y="99"/>
                  </a:cubicBezTo>
                  <a:close/>
                  <a:moveTo>
                    <a:pt x="1257" y="99"/>
                  </a:moveTo>
                  <a:cubicBezTo>
                    <a:pt x="1257" y="99"/>
                    <a:pt x="1257" y="99"/>
                    <a:pt x="1257" y="99"/>
                  </a:cubicBezTo>
                  <a:cubicBezTo>
                    <a:pt x="1257" y="99"/>
                    <a:pt x="1257" y="99"/>
                    <a:pt x="1257" y="99"/>
                  </a:cubicBezTo>
                  <a:close/>
                  <a:moveTo>
                    <a:pt x="1454" y="99"/>
                  </a:moveTo>
                  <a:cubicBezTo>
                    <a:pt x="1454" y="99"/>
                    <a:pt x="1454" y="99"/>
                    <a:pt x="1454" y="99"/>
                  </a:cubicBezTo>
                  <a:cubicBezTo>
                    <a:pt x="1454" y="99"/>
                    <a:pt x="1454" y="99"/>
                    <a:pt x="1454" y="99"/>
                  </a:cubicBezTo>
                  <a:close/>
                  <a:moveTo>
                    <a:pt x="1674" y="100"/>
                  </a:moveTo>
                  <a:cubicBezTo>
                    <a:pt x="1674" y="99"/>
                    <a:pt x="1674" y="99"/>
                    <a:pt x="1674" y="99"/>
                  </a:cubicBezTo>
                  <a:cubicBezTo>
                    <a:pt x="1674" y="99"/>
                    <a:pt x="1674" y="100"/>
                    <a:pt x="1674" y="100"/>
                  </a:cubicBezTo>
                  <a:close/>
                  <a:moveTo>
                    <a:pt x="576" y="99"/>
                  </a:moveTo>
                  <a:cubicBezTo>
                    <a:pt x="576" y="99"/>
                    <a:pt x="576" y="99"/>
                    <a:pt x="576" y="100"/>
                  </a:cubicBezTo>
                  <a:cubicBezTo>
                    <a:pt x="576" y="100"/>
                    <a:pt x="576" y="100"/>
                    <a:pt x="576" y="99"/>
                  </a:cubicBezTo>
                  <a:close/>
                  <a:moveTo>
                    <a:pt x="618" y="100"/>
                  </a:moveTo>
                  <a:cubicBezTo>
                    <a:pt x="618" y="100"/>
                    <a:pt x="618" y="99"/>
                    <a:pt x="618" y="99"/>
                  </a:cubicBezTo>
                  <a:cubicBezTo>
                    <a:pt x="618" y="100"/>
                    <a:pt x="618" y="100"/>
                    <a:pt x="618" y="100"/>
                  </a:cubicBezTo>
                  <a:close/>
                  <a:moveTo>
                    <a:pt x="630" y="99"/>
                  </a:moveTo>
                  <a:cubicBezTo>
                    <a:pt x="630" y="100"/>
                    <a:pt x="630" y="100"/>
                    <a:pt x="630" y="100"/>
                  </a:cubicBezTo>
                  <a:cubicBezTo>
                    <a:pt x="630" y="100"/>
                    <a:pt x="630" y="100"/>
                    <a:pt x="630" y="99"/>
                  </a:cubicBezTo>
                  <a:close/>
                  <a:moveTo>
                    <a:pt x="659" y="100"/>
                  </a:moveTo>
                  <a:cubicBezTo>
                    <a:pt x="659" y="99"/>
                    <a:pt x="659" y="99"/>
                    <a:pt x="659" y="99"/>
                  </a:cubicBezTo>
                  <a:cubicBezTo>
                    <a:pt x="659" y="100"/>
                    <a:pt x="659" y="100"/>
                    <a:pt x="659" y="100"/>
                  </a:cubicBezTo>
                  <a:close/>
                  <a:moveTo>
                    <a:pt x="762" y="100"/>
                  </a:moveTo>
                  <a:cubicBezTo>
                    <a:pt x="762" y="99"/>
                    <a:pt x="762" y="99"/>
                    <a:pt x="762" y="99"/>
                  </a:cubicBezTo>
                  <a:cubicBezTo>
                    <a:pt x="762" y="100"/>
                    <a:pt x="762" y="100"/>
                    <a:pt x="762" y="100"/>
                  </a:cubicBezTo>
                  <a:close/>
                  <a:moveTo>
                    <a:pt x="797" y="99"/>
                  </a:moveTo>
                  <a:cubicBezTo>
                    <a:pt x="796" y="99"/>
                    <a:pt x="796" y="99"/>
                    <a:pt x="796" y="100"/>
                  </a:cubicBezTo>
                  <a:cubicBezTo>
                    <a:pt x="796" y="100"/>
                    <a:pt x="797" y="100"/>
                    <a:pt x="797" y="99"/>
                  </a:cubicBezTo>
                  <a:close/>
                  <a:moveTo>
                    <a:pt x="977" y="100"/>
                  </a:moveTo>
                  <a:cubicBezTo>
                    <a:pt x="976" y="99"/>
                    <a:pt x="976" y="99"/>
                    <a:pt x="976" y="99"/>
                  </a:cubicBezTo>
                  <a:cubicBezTo>
                    <a:pt x="976" y="100"/>
                    <a:pt x="976" y="100"/>
                    <a:pt x="977" y="100"/>
                  </a:cubicBezTo>
                  <a:close/>
                  <a:moveTo>
                    <a:pt x="973" y="13"/>
                  </a:moveTo>
                  <a:cubicBezTo>
                    <a:pt x="973" y="13"/>
                    <a:pt x="973" y="13"/>
                    <a:pt x="974" y="12"/>
                  </a:cubicBezTo>
                  <a:cubicBezTo>
                    <a:pt x="973" y="12"/>
                    <a:pt x="973" y="12"/>
                    <a:pt x="973" y="13"/>
                  </a:cubicBezTo>
                  <a:close/>
                  <a:moveTo>
                    <a:pt x="1045" y="100"/>
                  </a:moveTo>
                  <a:cubicBezTo>
                    <a:pt x="1044" y="100"/>
                    <a:pt x="1044" y="99"/>
                    <a:pt x="1044" y="99"/>
                  </a:cubicBezTo>
                  <a:cubicBezTo>
                    <a:pt x="1044" y="100"/>
                    <a:pt x="1044" y="100"/>
                    <a:pt x="1045" y="100"/>
                  </a:cubicBezTo>
                  <a:close/>
                  <a:moveTo>
                    <a:pt x="1079" y="99"/>
                  </a:moveTo>
                  <a:cubicBezTo>
                    <a:pt x="1078" y="99"/>
                    <a:pt x="1078" y="99"/>
                    <a:pt x="1078" y="100"/>
                  </a:cubicBezTo>
                  <a:cubicBezTo>
                    <a:pt x="1078" y="100"/>
                    <a:pt x="1079" y="100"/>
                    <a:pt x="1079" y="99"/>
                  </a:cubicBezTo>
                  <a:close/>
                  <a:moveTo>
                    <a:pt x="1257" y="99"/>
                  </a:moveTo>
                  <a:cubicBezTo>
                    <a:pt x="1256" y="99"/>
                    <a:pt x="1256" y="99"/>
                    <a:pt x="1256" y="100"/>
                  </a:cubicBezTo>
                  <a:cubicBezTo>
                    <a:pt x="1256" y="100"/>
                    <a:pt x="1256" y="100"/>
                    <a:pt x="1257" y="99"/>
                  </a:cubicBezTo>
                  <a:close/>
                  <a:moveTo>
                    <a:pt x="1426" y="100"/>
                  </a:moveTo>
                  <a:cubicBezTo>
                    <a:pt x="1426" y="99"/>
                    <a:pt x="1425" y="99"/>
                    <a:pt x="1425" y="99"/>
                  </a:cubicBezTo>
                  <a:cubicBezTo>
                    <a:pt x="1425" y="100"/>
                    <a:pt x="1425" y="100"/>
                    <a:pt x="1426" y="100"/>
                  </a:cubicBezTo>
                  <a:close/>
                  <a:moveTo>
                    <a:pt x="1687" y="99"/>
                  </a:moveTo>
                  <a:cubicBezTo>
                    <a:pt x="1687" y="100"/>
                    <a:pt x="1687" y="100"/>
                    <a:pt x="1687" y="100"/>
                  </a:cubicBezTo>
                  <a:cubicBezTo>
                    <a:pt x="1688" y="100"/>
                    <a:pt x="1687" y="100"/>
                    <a:pt x="1687" y="99"/>
                  </a:cubicBezTo>
                  <a:close/>
                  <a:moveTo>
                    <a:pt x="576" y="100"/>
                  </a:moveTo>
                  <a:cubicBezTo>
                    <a:pt x="575" y="100"/>
                    <a:pt x="575" y="100"/>
                    <a:pt x="575" y="100"/>
                  </a:cubicBezTo>
                  <a:cubicBezTo>
                    <a:pt x="575" y="100"/>
                    <a:pt x="576" y="100"/>
                    <a:pt x="576" y="100"/>
                  </a:cubicBezTo>
                  <a:close/>
                  <a:moveTo>
                    <a:pt x="660" y="100"/>
                  </a:moveTo>
                  <a:cubicBezTo>
                    <a:pt x="660" y="100"/>
                    <a:pt x="660" y="100"/>
                    <a:pt x="659" y="100"/>
                  </a:cubicBezTo>
                  <a:cubicBezTo>
                    <a:pt x="659" y="100"/>
                    <a:pt x="660" y="100"/>
                    <a:pt x="660" y="100"/>
                  </a:cubicBezTo>
                  <a:close/>
                  <a:moveTo>
                    <a:pt x="763" y="100"/>
                  </a:moveTo>
                  <a:cubicBezTo>
                    <a:pt x="763" y="100"/>
                    <a:pt x="763" y="100"/>
                    <a:pt x="762" y="100"/>
                  </a:cubicBezTo>
                  <a:cubicBezTo>
                    <a:pt x="762" y="100"/>
                    <a:pt x="763" y="100"/>
                    <a:pt x="763" y="100"/>
                  </a:cubicBezTo>
                  <a:close/>
                  <a:moveTo>
                    <a:pt x="796" y="100"/>
                  </a:moveTo>
                  <a:cubicBezTo>
                    <a:pt x="796" y="100"/>
                    <a:pt x="795" y="100"/>
                    <a:pt x="795" y="100"/>
                  </a:cubicBezTo>
                  <a:cubicBezTo>
                    <a:pt x="796" y="100"/>
                    <a:pt x="796" y="100"/>
                    <a:pt x="796" y="100"/>
                  </a:cubicBezTo>
                  <a:close/>
                  <a:moveTo>
                    <a:pt x="977" y="100"/>
                  </a:moveTo>
                  <a:cubicBezTo>
                    <a:pt x="977" y="100"/>
                    <a:pt x="977" y="100"/>
                    <a:pt x="977" y="100"/>
                  </a:cubicBezTo>
                  <a:cubicBezTo>
                    <a:pt x="977" y="100"/>
                    <a:pt x="977" y="100"/>
                    <a:pt x="977" y="100"/>
                  </a:cubicBezTo>
                  <a:close/>
                  <a:moveTo>
                    <a:pt x="1016" y="100"/>
                  </a:moveTo>
                  <a:cubicBezTo>
                    <a:pt x="1016" y="100"/>
                    <a:pt x="1016" y="100"/>
                    <a:pt x="1016" y="100"/>
                  </a:cubicBezTo>
                  <a:cubicBezTo>
                    <a:pt x="1016" y="100"/>
                    <a:pt x="1016" y="100"/>
                    <a:pt x="1016" y="100"/>
                  </a:cubicBezTo>
                  <a:close/>
                  <a:moveTo>
                    <a:pt x="1078" y="100"/>
                  </a:moveTo>
                  <a:cubicBezTo>
                    <a:pt x="1078" y="100"/>
                    <a:pt x="1077" y="100"/>
                    <a:pt x="1077" y="100"/>
                  </a:cubicBezTo>
                  <a:cubicBezTo>
                    <a:pt x="1078" y="100"/>
                    <a:pt x="1078" y="100"/>
                    <a:pt x="1078" y="100"/>
                  </a:cubicBezTo>
                  <a:close/>
                  <a:moveTo>
                    <a:pt x="1181" y="100"/>
                  </a:moveTo>
                  <a:cubicBezTo>
                    <a:pt x="1181" y="100"/>
                    <a:pt x="1181" y="100"/>
                    <a:pt x="1180" y="100"/>
                  </a:cubicBezTo>
                  <a:cubicBezTo>
                    <a:pt x="1180" y="100"/>
                    <a:pt x="1181" y="100"/>
                    <a:pt x="1181" y="100"/>
                  </a:cubicBezTo>
                  <a:close/>
                  <a:moveTo>
                    <a:pt x="1256" y="100"/>
                  </a:moveTo>
                  <a:cubicBezTo>
                    <a:pt x="1256" y="100"/>
                    <a:pt x="1255" y="100"/>
                    <a:pt x="1255" y="100"/>
                  </a:cubicBezTo>
                  <a:cubicBezTo>
                    <a:pt x="1255" y="100"/>
                    <a:pt x="1256" y="100"/>
                    <a:pt x="1256" y="100"/>
                  </a:cubicBezTo>
                  <a:close/>
                  <a:moveTo>
                    <a:pt x="1426" y="100"/>
                  </a:moveTo>
                  <a:cubicBezTo>
                    <a:pt x="1426" y="100"/>
                    <a:pt x="1426" y="100"/>
                    <a:pt x="1426" y="100"/>
                  </a:cubicBezTo>
                  <a:cubicBezTo>
                    <a:pt x="1426" y="100"/>
                    <a:pt x="1426" y="100"/>
                    <a:pt x="1426" y="100"/>
                  </a:cubicBezTo>
                  <a:close/>
                  <a:moveTo>
                    <a:pt x="1453" y="100"/>
                  </a:moveTo>
                  <a:cubicBezTo>
                    <a:pt x="1453" y="100"/>
                    <a:pt x="1453" y="100"/>
                    <a:pt x="1453" y="100"/>
                  </a:cubicBezTo>
                  <a:cubicBezTo>
                    <a:pt x="1453" y="100"/>
                    <a:pt x="1453" y="100"/>
                    <a:pt x="1453" y="100"/>
                  </a:cubicBezTo>
                  <a:close/>
                  <a:moveTo>
                    <a:pt x="575" y="100"/>
                  </a:moveTo>
                  <a:cubicBezTo>
                    <a:pt x="575" y="100"/>
                    <a:pt x="574" y="100"/>
                    <a:pt x="574" y="100"/>
                  </a:cubicBezTo>
                  <a:cubicBezTo>
                    <a:pt x="574" y="100"/>
                    <a:pt x="575" y="100"/>
                    <a:pt x="575" y="100"/>
                  </a:cubicBezTo>
                  <a:close/>
                  <a:moveTo>
                    <a:pt x="618" y="101"/>
                  </a:moveTo>
                  <a:cubicBezTo>
                    <a:pt x="618" y="101"/>
                    <a:pt x="618" y="100"/>
                    <a:pt x="618" y="100"/>
                  </a:cubicBezTo>
                  <a:cubicBezTo>
                    <a:pt x="618" y="100"/>
                    <a:pt x="618" y="101"/>
                    <a:pt x="618" y="101"/>
                  </a:cubicBezTo>
                  <a:close/>
                  <a:moveTo>
                    <a:pt x="661" y="100"/>
                  </a:moveTo>
                  <a:cubicBezTo>
                    <a:pt x="661" y="100"/>
                    <a:pt x="660" y="100"/>
                    <a:pt x="660" y="100"/>
                  </a:cubicBezTo>
                  <a:cubicBezTo>
                    <a:pt x="660" y="100"/>
                    <a:pt x="660" y="100"/>
                    <a:pt x="661" y="100"/>
                  </a:cubicBezTo>
                  <a:close/>
                  <a:moveTo>
                    <a:pt x="690" y="100"/>
                  </a:moveTo>
                  <a:cubicBezTo>
                    <a:pt x="689" y="100"/>
                    <a:pt x="689" y="100"/>
                    <a:pt x="689" y="100"/>
                  </a:cubicBezTo>
                  <a:cubicBezTo>
                    <a:pt x="689" y="100"/>
                    <a:pt x="689" y="100"/>
                    <a:pt x="690" y="100"/>
                  </a:cubicBezTo>
                  <a:close/>
                  <a:moveTo>
                    <a:pt x="722" y="100"/>
                  </a:moveTo>
                  <a:cubicBezTo>
                    <a:pt x="721" y="100"/>
                    <a:pt x="721" y="100"/>
                    <a:pt x="721" y="100"/>
                  </a:cubicBezTo>
                  <a:cubicBezTo>
                    <a:pt x="721" y="100"/>
                    <a:pt x="721" y="100"/>
                    <a:pt x="722" y="100"/>
                  </a:cubicBezTo>
                  <a:close/>
                  <a:moveTo>
                    <a:pt x="764" y="100"/>
                  </a:moveTo>
                  <a:cubicBezTo>
                    <a:pt x="764" y="100"/>
                    <a:pt x="763" y="100"/>
                    <a:pt x="763" y="100"/>
                  </a:cubicBezTo>
                  <a:cubicBezTo>
                    <a:pt x="763" y="100"/>
                    <a:pt x="763" y="100"/>
                    <a:pt x="764" y="100"/>
                  </a:cubicBezTo>
                  <a:close/>
                  <a:moveTo>
                    <a:pt x="795" y="100"/>
                  </a:moveTo>
                  <a:cubicBezTo>
                    <a:pt x="795" y="100"/>
                    <a:pt x="794" y="100"/>
                    <a:pt x="794" y="100"/>
                  </a:cubicBezTo>
                  <a:cubicBezTo>
                    <a:pt x="795" y="100"/>
                    <a:pt x="795" y="100"/>
                    <a:pt x="795" y="100"/>
                  </a:cubicBezTo>
                  <a:close/>
                  <a:moveTo>
                    <a:pt x="978" y="100"/>
                  </a:moveTo>
                  <a:cubicBezTo>
                    <a:pt x="978" y="100"/>
                    <a:pt x="978" y="100"/>
                    <a:pt x="977" y="100"/>
                  </a:cubicBezTo>
                  <a:cubicBezTo>
                    <a:pt x="978" y="100"/>
                    <a:pt x="978" y="100"/>
                    <a:pt x="978" y="100"/>
                  </a:cubicBezTo>
                  <a:close/>
                  <a:moveTo>
                    <a:pt x="1015" y="100"/>
                  </a:moveTo>
                  <a:cubicBezTo>
                    <a:pt x="1015" y="100"/>
                    <a:pt x="1015" y="100"/>
                    <a:pt x="1015" y="100"/>
                  </a:cubicBezTo>
                  <a:cubicBezTo>
                    <a:pt x="1015" y="100"/>
                    <a:pt x="1015" y="100"/>
                    <a:pt x="1015" y="100"/>
                  </a:cubicBezTo>
                  <a:close/>
                  <a:moveTo>
                    <a:pt x="1077" y="100"/>
                  </a:moveTo>
                  <a:cubicBezTo>
                    <a:pt x="1077" y="100"/>
                    <a:pt x="1077" y="100"/>
                    <a:pt x="1076" y="100"/>
                  </a:cubicBezTo>
                  <a:cubicBezTo>
                    <a:pt x="1077" y="100"/>
                    <a:pt x="1077" y="100"/>
                    <a:pt x="1077" y="100"/>
                  </a:cubicBezTo>
                  <a:close/>
                  <a:moveTo>
                    <a:pt x="1224" y="100"/>
                  </a:moveTo>
                  <a:cubicBezTo>
                    <a:pt x="1223" y="100"/>
                    <a:pt x="1223" y="100"/>
                    <a:pt x="1223" y="100"/>
                  </a:cubicBezTo>
                  <a:cubicBezTo>
                    <a:pt x="1223" y="100"/>
                    <a:pt x="1223" y="100"/>
                    <a:pt x="1224" y="100"/>
                  </a:cubicBezTo>
                  <a:close/>
                  <a:moveTo>
                    <a:pt x="832" y="49"/>
                  </a:moveTo>
                  <a:cubicBezTo>
                    <a:pt x="831" y="49"/>
                    <a:pt x="831" y="50"/>
                    <a:pt x="831" y="50"/>
                  </a:cubicBezTo>
                  <a:cubicBezTo>
                    <a:pt x="831" y="50"/>
                    <a:pt x="832" y="50"/>
                    <a:pt x="832" y="49"/>
                  </a:cubicBezTo>
                  <a:close/>
                  <a:moveTo>
                    <a:pt x="1427" y="100"/>
                  </a:moveTo>
                  <a:cubicBezTo>
                    <a:pt x="1427" y="100"/>
                    <a:pt x="1427" y="100"/>
                    <a:pt x="1426" y="100"/>
                  </a:cubicBezTo>
                  <a:cubicBezTo>
                    <a:pt x="1427" y="100"/>
                    <a:pt x="1427" y="100"/>
                    <a:pt x="1427" y="100"/>
                  </a:cubicBezTo>
                  <a:close/>
                  <a:moveTo>
                    <a:pt x="1453" y="100"/>
                  </a:moveTo>
                  <a:cubicBezTo>
                    <a:pt x="1452" y="100"/>
                    <a:pt x="1452" y="100"/>
                    <a:pt x="1452" y="100"/>
                  </a:cubicBezTo>
                  <a:cubicBezTo>
                    <a:pt x="1452" y="100"/>
                    <a:pt x="1452" y="100"/>
                    <a:pt x="1453" y="100"/>
                  </a:cubicBezTo>
                  <a:close/>
                  <a:moveTo>
                    <a:pt x="1674" y="101"/>
                  </a:moveTo>
                  <a:cubicBezTo>
                    <a:pt x="1674" y="100"/>
                    <a:pt x="1674" y="100"/>
                    <a:pt x="1674" y="100"/>
                  </a:cubicBezTo>
                  <a:cubicBezTo>
                    <a:pt x="1674" y="100"/>
                    <a:pt x="1674" y="101"/>
                    <a:pt x="1674" y="101"/>
                  </a:cubicBezTo>
                  <a:close/>
                  <a:moveTo>
                    <a:pt x="1687" y="100"/>
                  </a:moveTo>
                  <a:cubicBezTo>
                    <a:pt x="1687" y="100"/>
                    <a:pt x="1688" y="101"/>
                    <a:pt x="1688" y="101"/>
                  </a:cubicBezTo>
                  <a:cubicBezTo>
                    <a:pt x="1688" y="101"/>
                    <a:pt x="1688" y="100"/>
                    <a:pt x="1687" y="100"/>
                  </a:cubicBezTo>
                  <a:close/>
                  <a:moveTo>
                    <a:pt x="574" y="100"/>
                  </a:moveTo>
                  <a:cubicBezTo>
                    <a:pt x="574" y="100"/>
                    <a:pt x="573" y="101"/>
                    <a:pt x="573" y="101"/>
                  </a:cubicBezTo>
                  <a:cubicBezTo>
                    <a:pt x="574" y="101"/>
                    <a:pt x="574" y="101"/>
                    <a:pt x="574" y="100"/>
                  </a:cubicBezTo>
                  <a:close/>
                  <a:moveTo>
                    <a:pt x="630" y="100"/>
                  </a:moveTo>
                  <a:cubicBezTo>
                    <a:pt x="629" y="101"/>
                    <a:pt x="629" y="101"/>
                    <a:pt x="629" y="101"/>
                  </a:cubicBezTo>
                  <a:cubicBezTo>
                    <a:pt x="630" y="101"/>
                    <a:pt x="630" y="101"/>
                    <a:pt x="630" y="100"/>
                  </a:cubicBezTo>
                  <a:close/>
                  <a:moveTo>
                    <a:pt x="662" y="101"/>
                  </a:moveTo>
                  <a:cubicBezTo>
                    <a:pt x="662" y="101"/>
                    <a:pt x="661" y="100"/>
                    <a:pt x="661" y="101"/>
                  </a:cubicBezTo>
                  <a:cubicBezTo>
                    <a:pt x="661" y="101"/>
                    <a:pt x="661" y="101"/>
                    <a:pt x="662" y="101"/>
                  </a:cubicBezTo>
                  <a:close/>
                  <a:moveTo>
                    <a:pt x="689" y="100"/>
                  </a:moveTo>
                  <a:cubicBezTo>
                    <a:pt x="689" y="100"/>
                    <a:pt x="688" y="100"/>
                    <a:pt x="688" y="101"/>
                  </a:cubicBezTo>
                  <a:cubicBezTo>
                    <a:pt x="688" y="101"/>
                    <a:pt x="689" y="101"/>
                    <a:pt x="689" y="100"/>
                  </a:cubicBezTo>
                  <a:close/>
                  <a:moveTo>
                    <a:pt x="764" y="101"/>
                  </a:moveTo>
                  <a:cubicBezTo>
                    <a:pt x="764" y="100"/>
                    <a:pt x="764" y="100"/>
                    <a:pt x="764" y="100"/>
                  </a:cubicBezTo>
                  <a:cubicBezTo>
                    <a:pt x="764" y="101"/>
                    <a:pt x="764" y="101"/>
                    <a:pt x="764" y="101"/>
                  </a:cubicBezTo>
                  <a:close/>
                  <a:moveTo>
                    <a:pt x="857" y="50"/>
                  </a:moveTo>
                  <a:cubicBezTo>
                    <a:pt x="857" y="50"/>
                    <a:pt x="857" y="49"/>
                    <a:pt x="857" y="49"/>
                  </a:cubicBezTo>
                  <a:cubicBezTo>
                    <a:pt x="857" y="50"/>
                    <a:pt x="857" y="50"/>
                    <a:pt x="857" y="50"/>
                  </a:cubicBezTo>
                  <a:close/>
                  <a:moveTo>
                    <a:pt x="979" y="101"/>
                  </a:moveTo>
                  <a:cubicBezTo>
                    <a:pt x="979" y="101"/>
                    <a:pt x="979" y="100"/>
                    <a:pt x="978" y="100"/>
                  </a:cubicBezTo>
                  <a:cubicBezTo>
                    <a:pt x="979" y="101"/>
                    <a:pt x="979" y="101"/>
                    <a:pt x="979" y="101"/>
                  </a:cubicBezTo>
                  <a:close/>
                  <a:moveTo>
                    <a:pt x="1014" y="101"/>
                  </a:moveTo>
                  <a:cubicBezTo>
                    <a:pt x="1014" y="100"/>
                    <a:pt x="1014" y="101"/>
                    <a:pt x="1013" y="101"/>
                  </a:cubicBezTo>
                  <a:cubicBezTo>
                    <a:pt x="1014" y="101"/>
                    <a:pt x="1014" y="101"/>
                    <a:pt x="1014" y="101"/>
                  </a:cubicBezTo>
                  <a:close/>
                  <a:moveTo>
                    <a:pt x="1047" y="101"/>
                  </a:moveTo>
                  <a:cubicBezTo>
                    <a:pt x="1047" y="101"/>
                    <a:pt x="1046" y="100"/>
                    <a:pt x="1046" y="100"/>
                  </a:cubicBezTo>
                  <a:cubicBezTo>
                    <a:pt x="1046" y="101"/>
                    <a:pt x="1046" y="101"/>
                    <a:pt x="1047" y="101"/>
                  </a:cubicBezTo>
                  <a:close/>
                  <a:moveTo>
                    <a:pt x="1076" y="100"/>
                  </a:moveTo>
                  <a:cubicBezTo>
                    <a:pt x="1076" y="100"/>
                    <a:pt x="1076" y="101"/>
                    <a:pt x="1076" y="101"/>
                  </a:cubicBezTo>
                  <a:cubicBezTo>
                    <a:pt x="1076" y="101"/>
                    <a:pt x="1076" y="101"/>
                    <a:pt x="1076" y="100"/>
                  </a:cubicBezTo>
                  <a:close/>
                  <a:moveTo>
                    <a:pt x="1182" y="101"/>
                  </a:moveTo>
                  <a:cubicBezTo>
                    <a:pt x="1182" y="101"/>
                    <a:pt x="1182" y="100"/>
                    <a:pt x="1181" y="100"/>
                  </a:cubicBezTo>
                  <a:cubicBezTo>
                    <a:pt x="1182" y="101"/>
                    <a:pt x="1182" y="101"/>
                    <a:pt x="1182" y="101"/>
                  </a:cubicBezTo>
                  <a:close/>
                  <a:moveTo>
                    <a:pt x="1225" y="101"/>
                  </a:moveTo>
                  <a:cubicBezTo>
                    <a:pt x="1224" y="101"/>
                    <a:pt x="1224" y="100"/>
                    <a:pt x="1224" y="101"/>
                  </a:cubicBezTo>
                  <a:cubicBezTo>
                    <a:pt x="1224" y="101"/>
                    <a:pt x="1224" y="101"/>
                    <a:pt x="1225" y="101"/>
                  </a:cubicBezTo>
                  <a:close/>
                  <a:moveTo>
                    <a:pt x="1254" y="100"/>
                  </a:moveTo>
                  <a:cubicBezTo>
                    <a:pt x="1254" y="100"/>
                    <a:pt x="1254" y="101"/>
                    <a:pt x="1253" y="101"/>
                  </a:cubicBezTo>
                  <a:cubicBezTo>
                    <a:pt x="1254" y="101"/>
                    <a:pt x="1254" y="101"/>
                    <a:pt x="1254" y="100"/>
                  </a:cubicBezTo>
                  <a:close/>
                  <a:moveTo>
                    <a:pt x="1428" y="101"/>
                  </a:moveTo>
                  <a:cubicBezTo>
                    <a:pt x="1428" y="101"/>
                    <a:pt x="1427" y="100"/>
                    <a:pt x="1427" y="100"/>
                  </a:cubicBezTo>
                  <a:cubicBezTo>
                    <a:pt x="1427" y="101"/>
                    <a:pt x="1428" y="101"/>
                    <a:pt x="1428" y="101"/>
                  </a:cubicBezTo>
                  <a:close/>
                  <a:moveTo>
                    <a:pt x="1452" y="100"/>
                  </a:moveTo>
                  <a:cubicBezTo>
                    <a:pt x="1452" y="100"/>
                    <a:pt x="1451" y="100"/>
                    <a:pt x="1451" y="101"/>
                  </a:cubicBezTo>
                  <a:cubicBezTo>
                    <a:pt x="1451" y="101"/>
                    <a:pt x="1452" y="101"/>
                    <a:pt x="1452" y="100"/>
                  </a:cubicBezTo>
                  <a:close/>
                  <a:moveTo>
                    <a:pt x="676" y="43"/>
                  </a:moveTo>
                  <a:cubicBezTo>
                    <a:pt x="676" y="43"/>
                    <a:pt x="676" y="43"/>
                    <a:pt x="676" y="43"/>
                  </a:cubicBezTo>
                  <a:cubicBezTo>
                    <a:pt x="676" y="43"/>
                    <a:pt x="676" y="43"/>
                    <a:pt x="676" y="43"/>
                  </a:cubicBezTo>
                  <a:close/>
                  <a:moveTo>
                    <a:pt x="662" y="101"/>
                  </a:moveTo>
                  <a:cubicBezTo>
                    <a:pt x="662" y="101"/>
                    <a:pt x="662" y="101"/>
                    <a:pt x="662" y="101"/>
                  </a:cubicBezTo>
                  <a:cubicBezTo>
                    <a:pt x="662" y="101"/>
                    <a:pt x="662" y="101"/>
                    <a:pt x="662" y="101"/>
                  </a:cubicBezTo>
                  <a:close/>
                  <a:moveTo>
                    <a:pt x="688" y="101"/>
                  </a:moveTo>
                  <a:cubicBezTo>
                    <a:pt x="688" y="101"/>
                    <a:pt x="687" y="101"/>
                    <a:pt x="687" y="101"/>
                  </a:cubicBezTo>
                  <a:cubicBezTo>
                    <a:pt x="687" y="101"/>
                    <a:pt x="688" y="101"/>
                    <a:pt x="688" y="101"/>
                  </a:cubicBezTo>
                  <a:close/>
                  <a:moveTo>
                    <a:pt x="723" y="101"/>
                  </a:moveTo>
                  <a:cubicBezTo>
                    <a:pt x="723" y="101"/>
                    <a:pt x="722" y="101"/>
                    <a:pt x="722" y="101"/>
                  </a:cubicBezTo>
                  <a:cubicBezTo>
                    <a:pt x="722" y="101"/>
                    <a:pt x="722" y="101"/>
                    <a:pt x="723" y="101"/>
                  </a:cubicBezTo>
                  <a:close/>
                  <a:moveTo>
                    <a:pt x="1495" y="13"/>
                  </a:moveTo>
                  <a:cubicBezTo>
                    <a:pt x="1495" y="13"/>
                    <a:pt x="1495" y="13"/>
                    <a:pt x="1495" y="12"/>
                  </a:cubicBezTo>
                  <a:cubicBezTo>
                    <a:pt x="1495" y="12"/>
                    <a:pt x="1495" y="12"/>
                    <a:pt x="1495" y="13"/>
                  </a:cubicBezTo>
                  <a:close/>
                  <a:moveTo>
                    <a:pt x="793" y="101"/>
                  </a:moveTo>
                  <a:cubicBezTo>
                    <a:pt x="793" y="101"/>
                    <a:pt x="793" y="101"/>
                    <a:pt x="792" y="101"/>
                  </a:cubicBezTo>
                  <a:cubicBezTo>
                    <a:pt x="793" y="101"/>
                    <a:pt x="793" y="101"/>
                    <a:pt x="793" y="101"/>
                  </a:cubicBezTo>
                  <a:close/>
                  <a:moveTo>
                    <a:pt x="980" y="101"/>
                  </a:moveTo>
                  <a:cubicBezTo>
                    <a:pt x="980" y="101"/>
                    <a:pt x="980" y="101"/>
                    <a:pt x="980" y="101"/>
                  </a:cubicBezTo>
                  <a:cubicBezTo>
                    <a:pt x="980" y="101"/>
                    <a:pt x="980" y="101"/>
                    <a:pt x="980" y="101"/>
                  </a:cubicBezTo>
                  <a:close/>
                  <a:moveTo>
                    <a:pt x="874" y="49"/>
                  </a:moveTo>
                  <a:cubicBezTo>
                    <a:pt x="874" y="49"/>
                    <a:pt x="874" y="50"/>
                    <a:pt x="874" y="50"/>
                  </a:cubicBezTo>
                  <a:cubicBezTo>
                    <a:pt x="874" y="50"/>
                    <a:pt x="874" y="50"/>
                    <a:pt x="874" y="49"/>
                  </a:cubicBezTo>
                  <a:close/>
                  <a:moveTo>
                    <a:pt x="1047" y="101"/>
                  </a:moveTo>
                  <a:cubicBezTo>
                    <a:pt x="1047" y="101"/>
                    <a:pt x="1047" y="101"/>
                    <a:pt x="1047" y="101"/>
                  </a:cubicBezTo>
                  <a:cubicBezTo>
                    <a:pt x="1047" y="101"/>
                    <a:pt x="1047" y="101"/>
                    <a:pt x="1047" y="101"/>
                  </a:cubicBezTo>
                  <a:close/>
                  <a:moveTo>
                    <a:pt x="800" y="43"/>
                  </a:moveTo>
                  <a:cubicBezTo>
                    <a:pt x="800" y="43"/>
                    <a:pt x="800" y="43"/>
                    <a:pt x="800" y="43"/>
                  </a:cubicBezTo>
                  <a:cubicBezTo>
                    <a:pt x="800" y="43"/>
                    <a:pt x="800" y="43"/>
                    <a:pt x="800" y="43"/>
                  </a:cubicBezTo>
                  <a:close/>
                  <a:moveTo>
                    <a:pt x="1183" y="101"/>
                  </a:moveTo>
                  <a:cubicBezTo>
                    <a:pt x="1183" y="101"/>
                    <a:pt x="1182" y="101"/>
                    <a:pt x="1182" y="101"/>
                  </a:cubicBezTo>
                  <a:cubicBezTo>
                    <a:pt x="1182" y="101"/>
                    <a:pt x="1182" y="101"/>
                    <a:pt x="1183" y="101"/>
                  </a:cubicBezTo>
                  <a:close/>
                  <a:moveTo>
                    <a:pt x="1225" y="101"/>
                  </a:moveTo>
                  <a:cubicBezTo>
                    <a:pt x="1225" y="101"/>
                    <a:pt x="1225" y="101"/>
                    <a:pt x="1225" y="101"/>
                  </a:cubicBezTo>
                  <a:cubicBezTo>
                    <a:pt x="1225" y="101"/>
                    <a:pt x="1225" y="101"/>
                    <a:pt x="1225" y="101"/>
                  </a:cubicBezTo>
                  <a:close/>
                  <a:moveTo>
                    <a:pt x="1253" y="101"/>
                  </a:moveTo>
                  <a:cubicBezTo>
                    <a:pt x="1253" y="101"/>
                    <a:pt x="1253" y="101"/>
                    <a:pt x="1252" y="101"/>
                  </a:cubicBezTo>
                  <a:cubicBezTo>
                    <a:pt x="1253" y="101"/>
                    <a:pt x="1253" y="101"/>
                    <a:pt x="1253" y="101"/>
                  </a:cubicBezTo>
                  <a:close/>
                  <a:moveTo>
                    <a:pt x="1429" y="101"/>
                  </a:moveTo>
                  <a:cubicBezTo>
                    <a:pt x="1428" y="101"/>
                    <a:pt x="1428" y="101"/>
                    <a:pt x="1428" y="101"/>
                  </a:cubicBezTo>
                  <a:cubicBezTo>
                    <a:pt x="1428" y="101"/>
                    <a:pt x="1428" y="101"/>
                    <a:pt x="1429" y="101"/>
                  </a:cubicBezTo>
                  <a:close/>
                  <a:moveTo>
                    <a:pt x="1451" y="101"/>
                  </a:moveTo>
                  <a:cubicBezTo>
                    <a:pt x="1451" y="101"/>
                    <a:pt x="1451" y="101"/>
                    <a:pt x="1450" y="101"/>
                  </a:cubicBezTo>
                  <a:cubicBezTo>
                    <a:pt x="1451" y="101"/>
                    <a:pt x="1451" y="101"/>
                    <a:pt x="1451" y="101"/>
                  </a:cubicBezTo>
                  <a:close/>
                  <a:moveTo>
                    <a:pt x="1675" y="101"/>
                  </a:moveTo>
                  <a:cubicBezTo>
                    <a:pt x="1675" y="101"/>
                    <a:pt x="1675" y="101"/>
                    <a:pt x="1674" y="101"/>
                  </a:cubicBezTo>
                  <a:cubicBezTo>
                    <a:pt x="1674" y="101"/>
                    <a:pt x="1674" y="101"/>
                    <a:pt x="1675" y="101"/>
                  </a:cubicBezTo>
                  <a:close/>
                  <a:moveTo>
                    <a:pt x="900" y="50"/>
                  </a:moveTo>
                  <a:cubicBezTo>
                    <a:pt x="900" y="50"/>
                    <a:pt x="900" y="49"/>
                    <a:pt x="899" y="49"/>
                  </a:cubicBezTo>
                  <a:cubicBezTo>
                    <a:pt x="899" y="50"/>
                    <a:pt x="899" y="50"/>
                    <a:pt x="900" y="50"/>
                  </a:cubicBezTo>
                  <a:close/>
                  <a:moveTo>
                    <a:pt x="840" y="43"/>
                  </a:moveTo>
                  <a:cubicBezTo>
                    <a:pt x="839" y="43"/>
                    <a:pt x="839" y="43"/>
                    <a:pt x="839" y="43"/>
                  </a:cubicBezTo>
                  <a:cubicBezTo>
                    <a:pt x="839" y="43"/>
                    <a:pt x="839" y="43"/>
                    <a:pt x="840" y="43"/>
                  </a:cubicBezTo>
                  <a:close/>
                  <a:moveTo>
                    <a:pt x="663" y="101"/>
                  </a:moveTo>
                  <a:cubicBezTo>
                    <a:pt x="663" y="101"/>
                    <a:pt x="663" y="101"/>
                    <a:pt x="663" y="101"/>
                  </a:cubicBezTo>
                  <a:cubicBezTo>
                    <a:pt x="663" y="101"/>
                    <a:pt x="663" y="102"/>
                    <a:pt x="663" y="101"/>
                  </a:cubicBezTo>
                  <a:close/>
                  <a:moveTo>
                    <a:pt x="687" y="101"/>
                  </a:moveTo>
                  <a:cubicBezTo>
                    <a:pt x="687" y="101"/>
                    <a:pt x="686" y="101"/>
                    <a:pt x="686" y="101"/>
                  </a:cubicBezTo>
                  <a:cubicBezTo>
                    <a:pt x="687" y="102"/>
                    <a:pt x="687" y="101"/>
                    <a:pt x="687" y="101"/>
                  </a:cubicBezTo>
                  <a:close/>
                  <a:moveTo>
                    <a:pt x="723" y="101"/>
                  </a:moveTo>
                  <a:cubicBezTo>
                    <a:pt x="723" y="101"/>
                    <a:pt x="723" y="101"/>
                    <a:pt x="723" y="101"/>
                  </a:cubicBezTo>
                  <a:cubicBezTo>
                    <a:pt x="723" y="101"/>
                    <a:pt x="723" y="101"/>
                    <a:pt x="723" y="101"/>
                  </a:cubicBezTo>
                  <a:close/>
                  <a:moveTo>
                    <a:pt x="742" y="101"/>
                  </a:moveTo>
                  <a:cubicBezTo>
                    <a:pt x="741" y="101"/>
                    <a:pt x="741" y="101"/>
                    <a:pt x="741" y="102"/>
                  </a:cubicBezTo>
                  <a:cubicBezTo>
                    <a:pt x="741" y="102"/>
                    <a:pt x="742" y="101"/>
                    <a:pt x="742" y="101"/>
                  </a:cubicBezTo>
                  <a:close/>
                  <a:moveTo>
                    <a:pt x="766" y="101"/>
                  </a:moveTo>
                  <a:cubicBezTo>
                    <a:pt x="766" y="101"/>
                    <a:pt x="766" y="101"/>
                    <a:pt x="765" y="101"/>
                  </a:cubicBezTo>
                  <a:cubicBezTo>
                    <a:pt x="766" y="101"/>
                    <a:pt x="766" y="102"/>
                    <a:pt x="766" y="101"/>
                  </a:cubicBezTo>
                  <a:close/>
                  <a:moveTo>
                    <a:pt x="972" y="13"/>
                  </a:moveTo>
                  <a:cubicBezTo>
                    <a:pt x="973" y="13"/>
                    <a:pt x="973" y="13"/>
                    <a:pt x="973" y="13"/>
                  </a:cubicBezTo>
                  <a:cubicBezTo>
                    <a:pt x="973" y="13"/>
                    <a:pt x="972" y="13"/>
                    <a:pt x="972" y="13"/>
                  </a:cubicBezTo>
                  <a:close/>
                  <a:moveTo>
                    <a:pt x="870" y="43"/>
                  </a:moveTo>
                  <a:cubicBezTo>
                    <a:pt x="870" y="43"/>
                    <a:pt x="870" y="43"/>
                    <a:pt x="870" y="43"/>
                  </a:cubicBezTo>
                  <a:cubicBezTo>
                    <a:pt x="870" y="43"/>
                    <a:pt x="870" y="43"/>
                    <a:pt x="870" y="43"/>
                  </a:cubicBezTo>
                  <a:close/>
                  <a:moveTo>
                    <a:pt x="882" y="43"/>
                  </a:moveTo>
                  <a:cubicBezTo>
                    <a:pt x="882" y="43"/>
                    <a:pt x="882" y="43"/>
                    <a:pt x="882" y="43"/>
                  </a:cubicBezTo>
                  <a:cubicBezTo>
                    <a:pt x="882" y="43"/>
                    <a:pt x="882" y="43"/>
                    <a:pt x="882" y="43"/>
                  </a:cubicBezTo>
                  <a:close/>
                  <a:moveTo>
                    <a:pt x="909" y="43"/>
                  </a:moveTo>
                  <a:cubicBezTo>
                    <a:pt x="909" y="43"/>
                    <a:pt x="909" y="43"/>
                    <a:pt x="910" y="43"/>
                  </a:cubicBezTo>
                  <a:cubicBezTo>
                    <a:pt x="910" y="43"/>
                    <a:pt x="909" y="43"/>
                    <a:pt x="909" y="43"/>
                  </a:cubicBezTo>
                  <a:close/>
                  <a:moveTo>
                    <a:pt x="1033" y="50"/>
                  </a:moveTo>
                  <a:cubicBezTo>
                    <a:pt x="1033" y="50"/>
                    <a:pt x="1033" y="50"/>
                    <a:pt x="1033" y="49"/>
                  </a:cubicBezTo>
                  <a:cubicBezTo>
                    <a:pt x="1033" y="49"/>
                    <a:pt x="1033" y="50"/>
                    <a:pt x="1033" y="50"/>
                  </a:cubicBezTo>
                  <a:close/>
                  <a:moveTo>
                    <a:pt x="1183" y="102"/>
                  </a:moveTo>
                  <a:cubicBezTo>
                    <a:pt x="1183" y="101"/>
                    <a:pt x="1183" y="101"/>
                    <a:pt x="1183" y="101"/>
                  </a:cubicBezTo>
                  <a:cubicBezTo>
                    <a:pt x="1183" y="101"/>
                    <a:pt x="1183" y="102"/>
                    <a:pt x="1183" y="102"/>
                  </a:cubicBezTo>
                  <a:close/>
                  <a:moveTo>
                    <a:pt x="1202" y="101"/>
                  </a:moveTo>
                  <a:cubicBezTo>
                    <a:pt x="1202" y="101"/>
                    <a:pt x="1201" y="101"/>
                    <a:pt x="1201" y="101"/>
                  </a:cubicBezTo>
                  <a:cubicBezTo>
                    <a:pt x="1201" y="101"/>
                    <a:pt x="1202" y="101"/>
                    <a:pt x="1202" y="101"/>
                  </a:cubicBezTo>
                  <a:close/>
                  <a:moveTo>
                    <a:pt x="1290" y="43"/>
                  </a:moveTo>
                  <a:cubicBezTo>
                    <a:pt x="1290" y="43"/>
                    <a:pt x="1290" y="43"/>
                    <a:pt x="1290" y="43"/>
                  </a:cubicBezTo>
                  <a:cubicBezTo>
                    <a:pt x="1290" y="43"/>
                    <a:pt x="1290" y="43"/>
                    <a:pt x="1290" y="43"/>
                  </a:cubicBezTo>
                  <a:close/>
                  <a:moveTo>
                    <a:pt x="1252" y="101"/>
                  </a:moveTo>
                  <a:cubicBezTo>
                    <a:pt x="1252" y="101"/>
                    <a:pt x="1251" y="101"/>
                    <a:pt x="1251" y="101"/>
                  </a:cubicBezTo>
                  <a:cubicBezTo>
                    <a:pt x="1252" y="102"/>
                    <a:pt x="1252" y="101"/>
                    <a:pt x="1252" y="101"/>
                  </a:cubicBezTo>
                  <a:close/>
                  <a:moveTo>
                    <a:pt x="1429" y="101"/>
                  </a:moveTo>
                  <a:cubicBezTo>
                    <a:pt x="1429" y="101"/>
                    <a:pt x="1429" y="101"/>
                    <a:pt x="1429" y="101"/>
                  </a:cubicBezTo>
                  <a:cubicBezTo>
                    <a:pt x="1429" y="101"/>
                    <a:pt x="1429" y="102"/>
                    <a:pt x="1429" y="101"/>
                  </a:cubicBezTo>
                  <a:close/>
                  <a:moveTo>
                    <a:pt x="1450" y="101"/>
                  </a:moveTo>
                  <a:cubicBezTo>
                    <a:pt x="1450" y="101"/>
                    <a:pt x="1450" y="101"/>
                    <a:pt x="1449" y="102"/>
                  </a:cubicBezTo>
                  <a:cubicBezTo>
                    <a:pt x="1450" y="102"/>
                    <a:pt x="1450" y="101"/>
                    <a:pt x="1450" y="101"/>
                  </a:cubicBezTo>
                  <a:close/>
                  <a:moveTo>
                    <a:pt x="1396" y="43"/>
                  </a:moveTo>
                  <a:cubicBezTo>
                    <a:pt x="1395" y="43"/>
                    <a:pt x="1395" y="43"/>
                    <a:pt x="1395" y="43"/>
                  </a:cubicBezTo>
                  <a:cubicBezTo>
                    <a:pt x="1396" y="43"/>
                    <a:pt x="1396" y="43"/>
                    <a:pt x="1396" y="43"/>
                  </a:cubicBezTo>
                  <a:close/>
                  <a:moveTo>
                    <a:pt x="1568" y="43"/>
                  </a:moveTo>
                  <a:cubicBezTo>
                    <a:pt x="1568" y="43"/>
                    <a:pt x="1568" y="43"/>
                    <a:pt x="1568" y="43"/>
                  </a:cubicBezTo>
                  <a:cubicBezTo>
                    <a:pt x="1568" y="43"/>
                    <a:pt x="1568" y="43"/>
                    <a:pt x="1568" y="43"/>
                  </a:cubicBezTo>
                  <a:close/>
                  <a:moveTo>
                    <a:pt x="1683" y="43"/>
                  </a:moveTo>
                  <a:cubicBezTo>
                    <a:pt x="1682" y="43"/>
                    <a:pt x="1682" y="43"/>
                    <a:pt x="1682" y="43"/>
                  </a:cubicBezTo>
                  <a:cubicBezTo>
                    <a:pt x="1683" y="43"/>
                    <a:pt x="1683" y="43"/>
                    <a:pt x="1683" y="43"/>
                  </a:cubicBezTo>
                  <a:close/>
                  <a:moveTo>
                    <a:pt x="686" y="102"/>
                  </a:moveTo>
                  <a:cubicBezTo>
                    <a:pt x="686" y="102"/>
                    <a:pt x="685" y="102"/>
                    <a:pt x="685" y="102"/>
                  </a:cubicBezTo>
                  <a:cubicBezTo>
                    <a:pt x="686" y="102"/>
                    <a:pt x="686" y="102"/>
                    <a:pt x="686" y="102"/>
                  </a:cubicBezTo>
                  <a:close/>
                  <a:moveTo>
                    <a:pt x="1494" y="13"/>
                  </a:moveTo>
                  <a:cubicBezTo>
                    <a:pt x="1494" y="13"/>
                    <a:pt x="1494" y="13"/>
                    <a:pt x="1494" y="13"/>
                  </a:cubicBezTo>
                  <a:cubicBezTo>
                    <a:pt x="1494" y="13"/>
                    <a:pt x="1494" y="13"/>
                    <a:pt x="1494" y="13"/>
                  </a:cubicBezTo>
                  <a:close/>
                  <a:moveTo>
                    <a:pt x="741" y="102"/>
                  </a:moveTo>
                  <a:cubicBezTo>
                    <a:pt x="741" y="101"/>
                    <a:pt x="740" y="102"/>
                    <a:pt x="740" y="102"/>
                  </a:cubicBezTo>
                  <a:cubicBezTo>
                    <a:pt x="741" y="102"/>
                    <a:pt x="741" y="102"/>
                    <a:pt x="741" y="102"/>
                  </a:cubicBezTo>
                  <a:close/>
                  <a:moveTo>
                    <a:pt x="767" y="102"/>
                  </a:moveTo>
                  <a:cubicBezTo>
                    <a:pt x="767" y="102"/>
                    <a:pt x="767" y="101"/>
                    <a:pt x="766" y="102"/>
                  </a:cubicBezTo>
                  <a:cubicBezTo>
                    <a:pt x="767" y="102"/>
                    <a:pt x="767" y="102"/>
                    <a:pt x="767" y="102"/>
                  </a:cubicBezTo>
                  <a:close/>
                  <a:moveTo>
                    <a:pt x="1736" y="43"/>
                  </a:moveTo>
                  <a:cubicBezTo>
                    <a:pt x="1736" y="43"/>
                    <a:pt x="1737" y="43"/>
                    <a:pt x="1737" y="43"/>
                  </a:cubicBezTo>
                  <a:cubicBezTo>
                    <a:pt x="1736" y="43"/>
                    <a:pt x="1736" y="43"/>
                    <a:pt x="1736" y="43"/>
                  </a:cubicBezTo>
                  <a:close/>
                  <a:moveTo>
                    <a:pt x="678" y="62"/>
                  </a:moveTo>
                  <a:cubicBezTo>
                    <a:pt x="679" y="62"/>
                    <a:pt x="679" y="62"/>
                    <a:pt x="679" y="62"/>
                  </a:cubicBezTo>
                  <a:cubicBezTo>
                    <a:pt x="679" y="62"/>
                    <a:pt x="679" y="62"/>
                    <a:pt x="678" y="62"/>
                  </a:cubicBezTo>
                  <a:close/>
                  <a:moveTo>
                    <a:pt x="641" y="44"/>
                  </a:moveTo>
                  <a:cubicBezTo>
                    <a:pt x="641" y="44"/>
                    <a:pt x="641" y="43"/>
                    <a:pt x="641" y="43"/>
                  </a:cubicBezTo>
                  <a:cubicBezTo>
                    <a:pt x="641" y="43"/>
                    <a:pt x="641" y="44"/>
                    <a:pt x="641" y="44"/>
                  </a:cubicBezTo>
                  <a:close/>
                  <a:moveTo>
                    <a:pt x="1746" y="48"/>
                  </a:moveTo>
                  <a:cubicBezTo>
                    <a:pt x="1745" y="48"/>
                    <a:pt x="1745" y="49"/>
                    <a:pt x="1745" y="49"/>
                  </a:cubicBezTo>
                  <a:cubicBezTo>
                    <a:pt x="1746" y="49"/>
                    <a:pt x="1746" y="49"/>
                    <a:pt x="1746" y="48"/>
                  </a:cubicBezTo>
                  <a:close/>
                  <a:moveTo>
                    <a:pt x="660" y="44"/>
                  </a:moveTo>
                  <a:cubicBezTo>
                    <a:pt x="661" y="44"/>
                    <a:pt x="661" y="43"/>
                    <a:pt x="661" y="43"/>
                  </a:cubicBezTo>
                  <a:cubicBezTo>
                    <a:pt x="660" y="43"/>
                    <a:pt x="660" y="43"/>
                    <a:pt x="660" y="44"/>
                  </a:cubicBezTo>
                  <a:close/>
                  <a:moveTo>
                    <a:pt x="676" y="43"/>
                  </a:moveTo>
                  <a:cubicBezTo>
                    <a:pt x="675" y="43"/>
                    <a:pt x="675" y="43"/>
                    <a:pt x="675" y="43"/>
                  </a:cubicBezTo>
                  <a:cubicBezTo>
                    <a:pt x="675" y="43"/>
                    <a:pt x="675" y="43"/>
                    <a:pt x="676" y="43"/>
                  </a:cubicBezTo>
                  <a:close/>
                  <a:moveTo>
                    <a:pt x="1184" y="102"/>
                  </a:moveTo>
                  <a:cubicBezTo>
                    <a:pt x="1184" y="102"/>
                    <a:pt x="1184" y="102"/>
                    <a:pt x="1183" y="102"/>
                  </a:cubicBezTo>
                  <a:cubicBezTo>
                    <a:pt x="1184" y="102"/>
                    <a:pt x="1184" y="102"/>
                    <a:pt x="1184" y="102"/>
                  </a:cubicBezTo>
                  <a:close/>
                  <a:moveTo>
                    <a:pt x="1201" y="102"/>
                  </a:moveTo>
                  <a:cubicBezTo>
                    <a:pt x="1201" y="102"/>
                    <a:pt x="1200" y="102"/>
                    <a:pt x="1200" y="102"/>
                  </a:cubicBezTo>
                  <a:cubicBezTo>
                    <a:pt x="1200" y="102"/>
                    <a:pt x="1201" y="102"/>
                    <a:pt x="1201" y="102"/>
                  </a:cubicBezTo>
                  <a:close/>
                  <a:moveTo>
                    <a:pt x="971" y="14"/>
                  </a:moveTo>
                  <a:cubicBezTo>
                    <a:pt x="972" y="14"/>
                    <a:pt x="972" y="14"/>
                    <a:pt x="972" y="13"/>
                  </a:cubicBezTo>
                  <a:cubicBezTo>
                    <a:pt x="972" y="13"/>
                    <a:pt x="971" y="14"/>
                    <a:pt x="971" y="14"/>
                  </a:cubicBezTo>
                  <a:close/>
                  <a:moveTo>
                    <a:pt x="829" y="44"/>
                  </a:moveTo>
                  <a:cubicBezTo>
                    <a:pt x="829" y="44"/>
                    <a:pt x="829" y="43"/>
                    <a:pt x="829" y="43"/>
                  </a:cubicBezTo>
                  <a:cubicBezTo>
                    <a:pt x="829" y="43"/>
                    <a:pt x="829" y="43"/>
                    <a:pt x="829" y="44"/>
                  </a:cubicBezTo>
                  <a:close/>
                  <a:moveTo>
                    <a:pt x="839" y="43"/>
                  </a:moveTo>
                  <a:cubicBezTo>
                    <a:pt x="839" y="43"/>
                    <a:pt x="838" y="43"/>
                    <a:pt x="838" y="43"/>
                  </a:cubicBezTo>
                  <a:cubicBezTo>
                    <a:pt x="838" y="43"/>
                    <a:pt x="839" y="43"/>
                    <a:pt x="839" y="43"/>
                  </a:cubicBezTo>
                  <a:close/>
                  <a:moveTo>
                    <a:pt x="1449" y="101"/>
                  </a:moveTo>
                  <a:cubicBezTo>
                    <a:pt x="1449" y="101"/>
                    <a:pt x="1449" y="102"/>
                    <a:pt x="1449" y="102"/>
                  </a:cubicBezTo>
                  <a:cubicBezTo>
                    <a:pt x="1449" y="102"/>
                    <a:pt x="1449" y="102"/>
                    <a:pt x="1449" y="101"/>
                  </a:cubicBezTo>
                  <a:close/>
                  <a:moveTo>
                    <a:pt x="1291" y="53"/>
                  </a:moveTo>
                  <a:cubicBezTo>
                    <a:pt x="1290" y="53"/>
                    <a:pt x="1290" y="54"/>
                    <a:pt x="1290" y="54"/>
                  </a:cubicBezTo>
                  <a:cubicBezTo>
                    <a:pt x="1291" y="54"/>
                    <a:pt x="1291" y="53"/>
                    <a:pt x="1291" y="53"/>
                  </a:cubicBezTo>
                  <a:close/>
                  <a:moveTo>
                    <a:pt x="1493" y="14"/>
                  </a:moveTo>
                  <a:cubicBezTo>
                    <a:pt x="1493" y="14"/>
                    <a:pt x="1493" y="14"/>
                    <a:pt x="1494" y="13"/>
                  </a:cubicBezTo>
                  <a:cubicBezTo>
                    <a:pt x="1493" y="13"/>
                    <a:pt x="1493" y="14"/>
                    <a:pt x="1493" y="14"/>
                  </a:cubicBezTo>
                  <a:close/>
                  <a:moveTo>
                    <a:pt x="851" y="43"/>
                  </a:moveTo>
                  <a:cubicBezTo>
                    <a:pt x="851" y="43"/>
                    <a:pt x="851" y="43"/>
                    <a:pt x="850" y="43"/>
                  </a:cubicBezTo>
                  <a:cubicBezTo>
                    <a:pt x="851" y="43"/>
                    <a:pt x="851" y="43"/>
                    <a:pt x="851" y="43"/>
                  </a:cubicBezTo>
                  <a:close/>
                  <a:moveTo>
                    <a:pt x="867" y="43"/>
                  </a:moveTo>
                  <a:cubicBezTo>
                    <a:pt x="867" y="43"/>
                    <a:pt x="867" y="44"/>
                    <a:pt x="867" y="44"/>
                  </a:cubicBezTo>
                  <a:cubicBezTo>
                    <a:pt x="867" y="43"/>
                    <a:pt x="867" y="43"/>
                    <a:pt x="867" y="43"/>
                  </a:cubicBezTo>
                  <a:close/>
                  <a:moveTo>
                    <a:pt x="725" y="102"/>
                  </a:moveTo>
                  <a:cubicBezTo>
                    <a:pt x="725" y="102"/>
                    <a:pt x="725" y="102"/>
                    <a:pt x="724" y="102"/>
                  </a:cubicBezTo>
                  <a:cubicBezTo>
                    <a:pt x="725" y="102"/>
                    <a:pt x="725" y="102"/>
                    <a:pt x="725" y="102"/>
                  </a:cubicBezTo>
                  <a:close/>
                  <a:moveTo>
                    <a:pt x="882" y="43"/>
                  </a:moveTo>
                  <a:cubicBezTo>
                    <a:pt x="881" y="43"/>
                    <a:pt x="881" y="43"/>
                    <a:pt x="881" y="43"/>
                  </a:cubicBezTo>
                  <a:cubicBezTo>
                    <a:pt x="881" y="43"/>
                    <a:pt x="882" y="43"/>
                    <a:pt x="882" y="43"/>
                  </a:cubicBezTo>
                  <a:close/>
                  <a:moveTo>
                    <a:pt x="894" y="43"/>
                  </a:moveTo>
                  <a:cubicBezTo>
                    <a:pt x="894" y="43"/>
                    <a:pt x="893" y="43"/>
                    <a:pt x="893" y="43"/>
                  </a:cubicBezTo>
                  <a:cubicBezTo>
                    <a:pt x="893" y="43"/>
                    <a:pt x="894" y="43"/>
                    <a:pt x="894" y="43"/>
                  </a:cubicBezTo>
                  <a:close/>
                  <a:moveTo>
                    <a:pt x="1123" y="43"/>
                  </a:moveTo>
                  <a:cubicBezTo>
                    <a:pt x="1122" y="43"/>
                    <a:pt x="1122" y="43"/>
                    <a:pt x="1122" y="43"/>
                  </a:cubicBezTo>
                  <a:cubicBezTo>
                    <a:pt x="1122" y="43"/>
                    <a:pt x="1122" y="43"/>
                    <a:pt x="1123" y="43"/>
                  </a:cubicBezTo>
                  <a:close/>
                  <a:moveTo>
                    <a:pt x="1670" y="56"/>
                  </a:moveTo>
                  <a:cubicBezTo>
                    <a:pt x="1670" y="56"/>
                    <a:pt x="1670" y="56"/>
                    <a:pt x="1669" y="57"/>
                  </a:cubicBezTo>
                  <a:cubicBezTo>
                    <a:pt x="1670" y="57"/>
                    <a:pt x="1670" y="57"/>
                    <a:pt x="1670" y="56"/>
                  </a:cubicBezTo>
                  <a:close/>
                  <a:moveTo>
                    <a:pt x="1135" y="43"/>
                  </a:moveTo>
                  <a:cubicBezTo>
                    <a:pt x="1135" y="43"/>
                    <a:pt x="1135" y="43"/>
                    <a:pt x="1135" y="43"/>
                  </a:cubicBezTo>
                  <a:cubicBezTo>
                    <a:pt x="1135" y="43"/>
                    <a:pt x="1135" y="43"/>
                    <a:pt x="1135" y="43"/>
                  </a:cubicBezTo>
                  <a:close/>
                  <a:moveTo>
                    <a:pt x="1151" y="43"/>
                  </a:moveTo>
                  <a:cubicBezTo>
                    <a:pt x="1151" y="43"/>
                    <a:pt x="1152" y="44"/>
                    <a:pt x="1152" y="44"/>
                  </a:cubicBezTo>
                  <a:cubicBezTo>
                    <a:pt x="1152" y="43"/>
                    <a:pt x="1152" y="43"/>
                    <a:pt x="1151" y="43"/>
                  </a:cubicBezTo>
                  <a:close/>
                  <a:moveTo>
                    <a:pt x="1492" y="14"/>
                  </a:moveTo>
                  <a:cubicBezTo>
                    <a:pt x="1493" y="14"/>
                    <a:pt x="1493" y="14"/>
                    <a:pt x="1493" y="14"/>
                  </a:cubicBezTo>
                  <a:cubicBezTo>
                    <a:pt x="1493" y="14"/>
                    <a:pt x="1492" y="14"/>
                    <a:pt x="1492" y="14"/>
                  </a:cubicBezTo>
                  <a:close/>
                  <a:moveTo>
                    <a:pt x="1260" y="43"/>
                  </a:moveTo>
                  <a:cubicBezTo>
                    <a:pt x="1260" y="43"/>
                    <a:pt x="1260" y="44"/>
                    <a:pt x="1260" y="44"/>
                  </a:cubicBezTo>
                  <a:cubicBezTo>
                    <a:pt x="1260" y="43"/>
                    <a:pt x="1260" y="43"/>
                    <a:pt x="1260" y="43"/>
                  </a:cubicBezTo>
                  <a:close/>
                  <a:moveTo>
                    <a:pt x="1384" y="44"/>
                  </a:moveTo>
                  <a:cubicBezTo>
                    <a:pt x="1384" y="44"/>
                    <a:pt x="1384" y="43"/>
                    <a:pt x="1384" y="43"/>
                  </a:cubicBezTo>
                  <a:cubicBezTo>
                    <a:pt x="1384" y="43"/>
                    <a:pt x="1384" y="43"/>
                    <a:pt x="1384" y="44"/>
                  </a:cubicBezTo>
                  <a:close/>
                  <a:moveTo>
                    <a:pt x="725" y="14"/>
                  </a:moveTo>
                  <a:cubicBezTo>
                    <a:pt x="725" y="15"/>
                    <a:pt x="725" y="15"/>
                    <a:pt x="725" y="15"/>
                  </a:cubicBezTo>
                  <a:cubicBezTo>
                    <a:pt x="725" y="14"/>
                    <a:pt x="725" y="14"/>
                    <a:pt x="725" y="14"/>
                  </a:cubicBezTo>
                  <a:close/>
                  <a:moveTo>
                    <a:pt x="1580" y="43"/>
                  </a:moveTo>
                  <a:cubicBezTo>
                    <a:pt x="1580" y="43"/>
                    <a:pt x="1580" y="43"/>
                    <a:pt x="1580" y="44"/>
                  </a:cubicBezTo>
                  <a:cubicBezTo>
                    <a:pt x="1580" y="44"/>
                    <a:pt x="1580" y="43"/>
                    <a:pt x="1580" y="43"/>
                  </a:cubicBezTo>
                  <a:close/>
                  <a:moveTo>
                    <a:pt x="596" y="44"/>
                  </a:moveTo>
                  <a:cubicBezTo>
                    <a:pt x="596" y="44"/>
                    <a:pt x="596" y="43"/>
                    <a:pt x="596" y="43"/>
                  </a:cubicBezTo>
                  <a:cubicBezTo>
                    <a:pt x="596" y="44"/>
                    <a:pt x="596" y="44"/>
                    <a:pt x="596" y="44"/>
                  </a:cubicBezTo>
                  <a:close/>
                  <a:moveTo>
                    <a:pt x="1492" y="15"/>
                  </a:moveTo>
                  <a:cubicBezTo>
                    <a:pt x="1492" y="15"/>
                    <a:pt x="1492" y="14"/>
                    <a:pt x="1492" y="14"/>
                  </a:cubicBezTo>
                  <a:cubicBezTo>
                    <a:pt x="1492" y="14"/>
                    <a:pt x="1492" y="14"/>
                    <a:pt x="1492" y="15"/>
                  </a:cubicBezTo>
                  <a:close/>
                  <a:moveTo>
                    <a:pt x="1211" y="50"/>
                  </a:moveTo>
                  <a:cubicBezTo>
                    <a:pt x="1211" y="50"/>
                    <a:pt x="1211" y="50"/>
                    <a:pt x="1211" y="49"/>
                  </a:cubicBezTo>
                  <a:cubicBezTo>
                    <a:pt x="1211" y="49"/>
                    <a:pt x="1211" y="50"/>
                    <a:pt x="1211" y="50"/>
                  </a:cubicBezTo>
                  <a:close/>
                  <a:moveTo>
                    <a:pt x="629" y="102"/>
                  </a:moveTo>
                  <a:cubicBezTo>
                    <a:pt x="629" y="102"/>
                    <a:pt x="629" y="103"/>
                    <a:pt x="629" y="103"/>
                  </a:cubicBezTo>
                  <a:cubicBezTo>
                    <a:pt x="629" y="103"/>
                    <a:pt x="629" y="102"/>
                    <a:pt x="629" y="102"/>
                  </a:cubicBezTo>
                  <a:close/>
                  <a:moveTo>
                    <a:pt x="1293" y="49"/>
                  </a:moveTo>
                  <a:cubicBezTo>
                    <a:pt x="1293" y="49"/>
                    <a:pt x="1292" y="50"/>
                    <a:pt x="1292" y="50"/>
                  </a:cubicBezTo>
                  <a:cubicBezTo>
                    <a:pt x="1293" y="50"/>
                    <a:pt x="1293" y="50"/>
                    <a:pt x="1293" y="49"/>
                  </a:cubicBezTo>
                  <a:close/>
                  <a:moveTo>
                    <a:pt x="577" y="57"/>
                  </a:moveTo>
                  <a:cubicBezTo>
                    <a:pt x="577" y="57"/>
                    <a:pt x="577" y="57"/>
                    <a:pt x="577" y="57"/>
                  </a:cubicBezTo>
                  <a:cubicBezTo>
                    <a:pt x="577" y="57"/>
                    <a:pt x="577" y="57"/>
                    <a:pt x="577" y="57"/>
                  </a:cubicBezTo>
                  <a:close/>
                  <a:moveTo>
                    <a:pt x="724" y="15"/>
                  </a:moveTo>
                  <a:cubicBezTo>
                    <a:pt x="724" y="15"/>
                    <a:pt x="724" y="15"/>
                    <a:pt x="725" y="15"/>
                  </a:cubicBezTo>
                  <a:cubicBezTo>
                    <a:pt x="724" y="15"/>
                    <a:pt x="724" y="15"/>
                    <a:pt x="724" y="15"/>
                  </a:cubicBezTo>
                  <a:close/>
                  <a:moveTo>
                    <a:pt x="970" y="15"/>
                  </a:moveTo>
                  <a:cubicBezTo>
                    <a:pt x="970" y="15"/>
                    <a:pt x="970" y="15"/>
                    <a:pt x="970" y="14"/>
                  </a:cubicBezTo>
                  <a:cubicBezTo>
                    <a:pt x="970" y="15"/>
                    <a:pt x="970" y="15"/>
                    <a:pt x="970" y="15"/>
                  </a:cubicBezTo>
                  <a:close/>
                  <a:moveTo>
                    <a:pt x="1392" y="15"/>
                  </a:moveTo>
                  <a:cubicBezTo>
                    <a:pt x="1392" y="15"/>
                    <a:pt x="1392" y="15"/>
                    <a:pt x="1392" y="15"/>
                  </a:cubicBezTo>
                  <a:cubicBezTo>
                    <a:pt x="1392" y="15"/>
                    <a:pt x="1392" y="15"/>
                    <a:pt x="1392" y="15"/>
                  </a:cubicBezTo>
                  <a:close/>
                  <a:moveTo>
                    <a:pt x="1263" y="48"/>
                  </a:moveTo>
                  <a:cubicBezTo>
                    <a:pt x="1263" y="48"/>
                    <a:pt x="1263" y="48"/>
                    <a:pt x="1263" y="48"/>
                  </a:cubicBezTo>
                  <a:cubicBezTo>
                    <a:pt x="1263" y="48"/>
                    <a:pt x="1263" y="48"/>
                    <a:pt x="1263" y="48"/>
                  </a:cubicBezTo>
                  <a:close/>
                  <a:moveTo>
                    <a:pt x="634" y="63"/>
                  </a:moveTo>
                  <a:cubicBezTo>
                    <a:pt x="634" y="63"/>
                    <a:pt x="634" y="62"/>
                    <a:pt x="634" y="62"/>
                  </a:cubicBezTo>
                  <a:cubicBezTo>
                    <a:pt x="634" y="62"/>
                    <a:pt x="634" y="63"/>
                    <a:pt x="634" y="63"/>
                  </a:cubicBezTo>
                  <a:close/>
                  <a:moveTo>
                    <a:pt x="873" y="52"/>
                  </a:moveTo>
                  <a:cubicBezTo>
                    <a:pt x="873" y="52"/>
                    <a:pt x="873" y="52"/>
                    <a:pt x="873" y="52"/>
                  </a:cubicBezTo>
                  <a:cubicBezTo>
                    <a:pt x="873" y="52"/>
                    <a:pt x="873" y="52"/>
                    <a:pt x="873" y="52"/>
                  </a:cubicBezTo>
                  <a:close/>
                  <a:moveTo>
                    <a:pt x="679" y="62"/>
                  </a:moveTo>
                  <a:cubicBezTo>
                    <a:pt x="679" y="62"/>
                    <a:pt x="679" y="63"/>
                    <a:pt x="680" y="63"/>
                  </a:cubicBezTo>
                  <a:cubicBezTo>
                    <a:pt x="680" y="62"/>
                    <a:pt x="679" y="62"/>
                    <a:pt x="679" y="62"/>
                  </a:cubicBezTo>
                  <a:close/>
                  <a:moveTo>
                    <a:pt x="1380" y="62"/>
                  </a:moveTo>
                  <a:cubicBezTo>
                    <a:pt x="1380" y="62"/>
                    <a:pt x="1380" y="62"/>
                    <a:pt x="1380" y="63"/>
                  </a:cubicBezTo>
                  <a:cubicBezTo>
                    <a:pt x="1380" y="63"/>
                    <a:pt x="1380" y="62"/>
                    <a:pt x="1380" y="62"/>
                  </a:cubicBezTo>
                  <a:close/>
                  <a:moveTo>
                    <a:pt x="611" y="53"/>
                  </a:moveTo>
                  <a:cubicBezTo>
                    <a:pt x="611" y="53"/>
                    <a:pt x="611" y="53"/>
                    <a:pt x="611" y="54"/>
                  </a:cubicBezTo>
                  <a:cubicBezTo>
                    <a:pt x="611" y="53"/>
                    <a:pt x="611" y="53"/>
                    <a:pt x="611" y="53"/>
                  </a:cubicBezTo>
                  <a:close/>
                  <a:moveTo>
                    <a:pt x="1491" y="15"/>
                  </a:moveTo>
                  <a:cubicBezTo>
                    <a:pt x="1491" y="15"/>
                    <a:pt x="1491" y="15"/>
                    <a:pt x="1492" y="15"/>
                  </a:cubicBezTo>
                  <a:cubicBezTo>
                    <a:pt x="1491" y="15"/>
                    <a:pt x="1491" y="15"/>
                    <a:pt x="1491" y="15"/>
                  </a:cubicBezTo>
                  <a:close/>
                  <a:moveTo>
                    <a:pt x="1733" y="49"/>
                  </a:moveTo>
                  <a:cubicBezTo>
                    <a:pt x="1733" y="49"/>
                    <a:pt x="1733" y="49"/>
                    <a:pt x="1733" y="48"/>
                  </a:cubicBezTo>
                  <a:cubicBezTo>
                    <a:pt x="1733" y="48"/>
                    <a:pt x="1733" y="49"/>
                    <a:pt x="1733" y="49"/>
                  </a:cubicBezTo>
                  <a:close/>
                  <a:moveTo>
                    <a:pt x="601" y="57"/>
                  </a:moveTo>
                  <a:cubicBezTo>
                    <a:pt x="601" y="57"/>
                    <a:pt x="601" y="57"/>
                    <a:pt x="601" y="57"/>
                  </a:cubicBezTo>
                  <a:cubicBezTo>
                    <a:pt x="601" y="57"/>
                    <a:pt x="601" y="57"/>
                    <a:pt x="601" y="57"/>
                  </a:cubicBezTo>
                  <a:close/>
                  <a:moveTo>
                    <a:pt x="1653" y="62"/>
                  </a:moveTo>
                  <a:cubicBezTo>
                    <a:pt x="1653" y="62"/>
                    <a:pt x="1652" y="62"/>
                    <a:pt x="1652" y="62"/>
                  </a:cubicBezTo>
                  <a:cubicBezTo>
                    <a:pt x="1652" y="63"/>
                    <a:pt x="1653" y="63"/>
                    <a:pt x="1653" y="62"/>
                  </a:cubicBezTo>
                  <a:close/>
                  <a:moveTo>
                    <a:pt x="647" y="56"/>
                  </a:moveTo>
                  <a:cubicBezTo>
                    <a:pt x="647" y="57"/>
                    <a:pt x="647" y="57"/>
                    <a:pt x="647" y="57"/>
                  </a:cubicBezTo>
                  <a:cubicBezTo>
                    <a:pt x="647" y="57"/>
                    <a:pt x="647" y="57"/>
                    <a:pt x="647" y="56"/>
                  </a:cubicBezTo>
                  <a:close/>
                  <a:moveTo>
                    <a:pt x="965" y="39"/>
                  </a:moveTo>
                  <a:cubicBezTo>
                    <a:pt x="965" y="39"/>
                    <a:pt x="965" y="40"/>
                    <a:pt x="965" y="40"/>
                  </a:cubicBezTo>
                  <a:cubicBezTo>
                    <a:pt x="965" y="40"/>
                    <a:pt x="965" y="39"/>
                    <a:pt x="965" y="39"/>
                  </a:cubicBezTo>
                  <a:close/>
                  <a:moveTo>
                    <a:pt x="618" y="103"/>
                  </a:moveTo>
                  <a:cubicBezTo>
                    <a:pt x="618" y="103"/>
                    <a:pt x="618" y="103"/>
                    <a:pt x="618" y="103"/>
                  </a:cubicBezTo>
                  <a:cubicBezTo>
                    <a:pt x="618" y="103"/>
                    <a:pt x="617" y="103"/>
                    <a:pt x="618" y="103"/>
                  </a:cubicBezTo>
                  <a:close/>
                  <a:moveTo>
                    <a:pt x="852" y="44"/>
                  </a:moveTo>
                  <a:cubicBezTo>
                    <a:pt x="852" y="43"/>
                    <a:pt x="851" y="43"/>
                    <a:pt x="851" y="43"/>
                  </a:cubicBezTo>
                  <a:cubicBezTo>
                    <a:pt x="851" y="44"/>
                    <a:pt x="851" y="44"/>
                    <a:pt x="852" y="44"/>
                  </a:cubicBezTo>
                  <a:close/>
                  <a:moveTo>
                    <a:pt x="671" y="57"/>
                  </a:moveTo>
                  <a:cubicBezTo>
                    <a:pt x="671" y="57"/>
                    <a:pt x="671" y="57"/>
                    <a:pt x="671" y="57"/>
                  </a:cubicBezTo>
                  <a:cubicBezTo>
                    <a:pt x="671" y="57"/>
                    <a:pt x="671" y="57"/>
                    <a:pt x="671" y="57"/>
                  </a:cubicBezTo>
                  <a:close/>
                  <a:moveTo>
                    <a:pt x="749" y="54"/>
                  </a:moveTo>
                  <a:cubicBezTo>
                    <a:pt x="750" y="53"/>
                    <a:pt x="750" y="53"/>
                    <a:pt x="750" y="53"/>
                  </a:cubicBezTo>
                  <a:cubicBezTo>
                    <a:pt x="749" y="53"/>
                    <a:pt x="749" y="53"/>
                    <a:pt x="749" y="54"/>
                  </a:cubicBezTo>
                  <a:close/>
                  <a:moveTo>
                    <a:pt x="680" y="63"/>
                  </a:moveTo>
                  <a:cubicBezTo>
                    <a:pt x="680" y="63"/>
                    <a:pt x="680" y="63"/>
                    <a:pt x="680" y="63"/>
                  </a:cubicBezTo>
                  <a:cubicBezTo>
                    <a:pt x="680" y="63"/>
                    <a:pt x="680" y="63"/>
                    <a:pt x="680" y="63"/>
                  </a:cubicBezTo>
                  <a:close/>
                  <a:moveTo>
                    <a:pt x="638" y="52"/>
                  </a:moveTo>
                  <a:cubicBezTo>
                    <a:pt x="638" y="52"/>
                    <a:pt x="638" y="52"/>
                    <a:pt x="638" y="52"/>
                  </a:cubicBezTo>
                  <a:cubicBezTo>
                    <a:pt x="638" y="52"/>
                    <a:pt x="638" y="52"/>
                    <a:pt x="638" y="52"/>
                  </a:cubicBezTo>
                  <a:close/>
                  <a:moveTo>
                    <a:pt x="1577" y="49"/>
                  </a:moveTo>
                  <a:cubicBezTo>
                    <a:pt x="1577" y="49"/>
                    <a:pt x="1576" y="50"/>
                    <a:pt x="1576" y="50"/>
                  </a:cubicBezTo>
                  <a:cubicBezTo>
                    <a:pt x="1577" y="50"/>
                    <a:pt x="1577" y="50"/>
                    <a:pt x="1577" y="49"/>
                  </a:cubicBezTo>
                  <a:close/>
                  <a:moveTo>
                    <a:pt x="574" y="55"/>
                  </a:moveTo>
                  <a:cubicBezTo>
                    <a:pt x="574" y="55"/>
                    <a:pt x="575" y="55"/>
                    <a:pt x="575" y="55"/>
                  </a:cubicBezTo>
                  <a:cubicBezTo>
                    <a:pt x="575" y="55"/>
                    <a:pt x="575" y="55"/>
                    <a:pt x="574" y="55"/>
                  </a:cubicBezTo>
                  <a:close/>
                  <a:moveTo>
                    <a:pt x="723" y="15"/>
                  </a:moveTo>
                  <a:cubicBezTo>
                    <a:pt x="723" y="15"/>
                    <a:pt x="723" y="15"/>
                    <a:pt x="723" y="15"/>
                  </a:cubicBezTo>
                  <a:cubicBezTo>
                    <a:pt x="723" y="15"/>
                    <a:pt x="723" y="15"/>
                    <a:pt x="723" y="15"/>
                  </a:cubicBezTo>
                  <a:close/>
                  <a:moveTo>
                    <a:pt x="1564" y="62"/>
                  </a:moveTo>
                  <a:cubicBezTo>
                    <a:pt x="1564" y="62"/>
                    <a:pt x="1564" y="63"/>
                    <a:pt x="1564" y="63"/>
                  </a:cubicBezTo>
                  <a:cubicBezTo>
                    <a:pt x="1564" y="63"/>
                    <a:pt x="1564" y="63"/>
                    <a:pt x="1564" y="62"/>
                  </a:cubicBezTo>
                  <a:close/>
                  <a:moveTo>
                    <a:pt x="1744" y="51"/>
                  </a:moveTo>
                  <a:cubicBezTo>
                    <a:pt x="1743" y="51"/>
                    <a:pt x="1743" y="52"/>
                    <a:pt x="1743" y="52"/>
                  </a:cubicBezTo>
                  <a:cubicBezTo>
                    <a:pt x="1743" y="52"/>
                    <a:pt x="1744" y="52"/>
                    <a:pt x="1744" y="51"/>
                  </a:cubicBezTo>
                  <a:close/>
                  <a:moveTo>
                    <a:pt x="895" y="44"/>
                  </a:moveTo>
                  <a:cubicBezTo>
                    <a:pt x="894" y="43"/>
                    <a:pt x="894" y="43"/>
                    <a:pt x="894" y="43"/>
                  </a:cubicBezTo>
                  <a:cubicBezTo>
                    <a:pt x="894" y="44"/>
                    <a:pt x="894" y="44"/>
                    <a:pt x="895" y="44"/>
                  </a:cubicBezTo>
                  <a:close/>
                  <a:moveTo>
                    <a:pt x="752" y="48"/>
                  </a:moveTo>
                  <a:cubicBezTo>
                    <a:pt x="752" y="48"/>
                    <a:pt x="752" y="48"/>
                    <a:pt x="752" y="48"/>
                  </a:cubicBezTo>
                  <a:cubicBezTo>
                    <a:pt x="752" y="48"/>
                    <a:pt x="752" y="48"/>
                    <a:pt x="752" y="48"/>
                  </a:cubicBezTo>
                  <a:close/>
                  <a:moveTo>
                    <a:pt x="1654" y="63"/>
                  </a:moveTo>
                  <a:cubicBezTo>
                    <a:pt x="1654" y="63"/>
                    <a:pt x="1653" y="63"/>
                    <a:pt x="1653" y="63"/>
                  </a:cubicBezTo>
                  <a:cubicBezTo>
                    <a:pt x="1653" y="63"/>
                    <a:pt x="1653" y="63"/>
                    <a:pt x="1654" y="63"/>
                  </a:cubicBezTo>
                  <a:close/>
                  <a:moveTo>
                    <a:pt x="1490" y="15"/>
                  </a:moveTo>
                  <a:cubicBezTo>
                    <a:pt x="1490" y="15"/>
                    <a:pt x="1491" y="15"/>
                    <a:pt x="1491" y="15"/>
                  </a:cubicBezTo>
                  <a:cubicBezTo>
                    <a:pt x="1491" y="15"/>
                    <a:pt x="1490" y="15"/>
                    <a:pt x="1490" y="15"/>
                  </a:cubicBezTo>
                  <a:close/>
                  <a:moveTo>
                    <a:pt x="1732" y="62"/>
                  </a:moveTo>
                  <a:cubicBezTo>
                    <a:pt x="1732" y="62"/>
                    <a:pt x="1732" y="63"/>
                    <a:pt x="1732" y="63"/>
                  </a:cubicBezTo>
                  <a:cubicBezTo>
                    <a:pt x="1732" y="63"/>
                    <a:pt x="1732" y="63"/>
                    <a:pt x="1732" y="62"/>
                  </a:cubicBezTo>
                  <a:close/>
                  <a:moveTo>
                    <a:pt x="604" y="64"/>
                  </a:moveTo>
                  <a:cubicBezTo>
                    <a:pt x="604" y="63"/>
                    <a:pt x="604" y="63"/>
                    <a:pt x="603" y="63"/>
                  </a:cubicBezTo>
                  <a:cubicBezTo>
                    <a:pt x="603" y="63"/>
                    <a:pt x="603" y="63"/>
                    <a:pt x="604" y="64"/>
                  </a:cubicBezTo>
                  <a:close/>
                  <a:moveTo>
                    <a:pt x="910" y="43"/>
                  </a:moveTo>
                  <a:cubicBezTo>
                    <a:pt x="910" y="44"/>
                    <a:pt x="910" y="44"/>
                    <a:pt x="910" y="44"/>
                  </a:cubicBezTo>
                  <a:cubicBezTo>
                    <a:pt x="910" y="44"/>
                    <a:pt x="910" y="44"/>
                    <a:pt x="910" y="43"/>
                  </a:cubicBezTo>
                  <a:close/>
                  <a:moveTo>
                    <a:pt x="722" y="16"/>
                  </a:moveTo>
                  <a:cubicBezTo>
                    <a:pt x="722" y="16"/>
                    <a:pt x="722" y="16"/>
                    <a:pt x="722" y="15"/>
                  </a:cubicBezTo>
                  <a:cubicBezTo>
                    <a:pt x="722" y="15"/>
                    <a:pt x="722" y="15"/>
                    <a:pt x="722" y="16"/>
                  </a:cubicBezTo>
                  <a:close/>
                  <a:moveTo>
                    <a:pt x="1489" y="16"/>
                  </a:moveTo>
                  <a:cubicBezTo>
                    <a:pt x="1490" y="16"/>
                    <a:pt x="1490" y="16"/>
                    <a:pt x="1490" y="15"/>
                  </a:cubicBezTo>
                  <a:cubicBezTo>
                    <a:pt x="1490" y="15"/>
                    <a:pt x="1490" y="15"/>
                    <a:pt x="1489" y="16"/>
                  </a:cubicBezTo>
                  <a:close/>
                  <a:moveTo>
                    <a:pt x="562" y="48"/>
                  </a:moveTo>
                  <a:cubicBezTo>
                    <a:pt x="562" y="48"/>
                    <a:pt x="562" y="48"/>
                    <a:pt x="563" y="48"/>
                  </a:cubicBezTo>
                  <a:cubicBezTo>
                    <a:pt x="563" y="48"/>
                    <a:pt x="562" y="48"/>
                    <a:pt x="562" y="48"/>
                  </a:cubicBezTo>
                  <a:close/>
                  <a:moveTo>
                    <a:pt x="1680" y="47"/>
                  </a:moveTo>
                  <a:cubicBezTo>
                    <a:pt x="1680" y="47"/>
                    <a:pt x="1680" y="48"/>
                    <a:pt x="1680" y="48"/>
                  </a:cubicBezTo>
                  <a:cubicBezTo>
                    <a:pt x="1680" y="48"/>
                    <a:pt x="1680" y="48"/>
                    <a:pt x="1680" y="47"/>
                  </a:cubicBezTo>
                  <a:close/>
                  <a:moveTo>
                    <a:pt x="654" y="39"/>
                  </a:moveTo>
                  <a:cubicBezTo>
                    <a:pt x="654" y="39"/>
                    <a:pt x="654" y="39"/>
                    <a:pt x="654" y="40"/>
                  </a:cubicBezTo>
                  <a:cubicBezTo>
                    <a:pt x="654" y="39"/>
                    <a:pt x="654" y="39"/>
                    <a:pt x="654" y="39"/>
                  </a:cubicBezTo>
                  <a:close/>
                  <a:moveTo>
                    <a:pt x="606" y="39"/>
                  </a:moveTo>
                  <a:cubicBezTo>
                    <a:pt x="606" y="39"/>
                    <a:pt x="606" y="39"/>
                    <a:pt x="606" y="40"/>
                  </a:cubicBezTo>
                  <a:cubicBezTo>
                    <a:pt x="606" y="39"/>
                    <a:pt x="606" y="39"/>
                    <a:pt x="606" y="39"/>
                  </a:cubicBezTo>
                  <a:close/>
                  <a:moveTo>
                    <a:pt x="594" y="40"/>
                  </a:moveTo>
                  <a:cubicBezTo>
                    <a:pt x="594" y="39"/>
                    <a:pt x="594" y="39"/>
                    <a:pt x="594" y="39"/>
                  </a:cubicBezTo>
                  <a:cubicBezTo>
                    <a:pt x="594" y="39"/>
                    <a:pt x="594" y="39"/>
                    <a:pt x="594" y="40"/>
                  </a:cubicBezTo>
                  <a:close/>
                  <a:moveTo>
                    <a:pt x="1381" y="48"/>
                  </a:moveTo>
                  <a:cubicBezTo>
                    <a:pt x="1381" y="48"/>
                    <a:pt x="1382" y="48"/>
                    <a:pt x="1382" y="47"/>
                  </a:cubicBezTo>
                  <a:cubicBezTo>
                    <a:pt x="1381" y="47"/>
                    <a:pt x="1381" y="48"/>
                    <a:pt x="1381" y="48"/>
                  </a:cubicBezTo>
                  <a:close/>
                  <a:moveTo>
                    <a:pt x="1575" y="51"/>
                  </a:moveTo>
                  <a:cubicBezTo>
                    <a:pt x="1575" y="52"/>
                    <a:pt x="1575" y="52"/>
                    <a:pt x="1575" y="52"/>
                  </a:cubicBezTo>
                  <a:cubicBezTo>
                    <a:pt x="1575" y="52"/>
                    <a:pt x="1575" y="52"/>
                    <a:pt x="1575" y="51"/>
                  </a:cubicBezTo>
                  <a:close/>
                  <a:moveTo>
                    <a:pt x="1212" y="48"/>
                  </a:moveTo>
                  <a:cubicBezTo>
                    <a:pt x="1212" y="48"/>
                    <a:pt x="1212" y="48"/>
                    <a:pt x="1212" y="47"/>
                  </a:cubicBezTo>
                  <a:cubicBezTo>
                    <a:pt x="1212" y="47"/>
                    <a:pt x="1212" y="48"/>
                    <a:pt x="1212" y="48"/>
                  </a:cubicBezTo>
                  <a:close/>
                  <a:moveTo>
                    <a:pt x="647" y="56"/>
                  </a:moveTo>
                  <a:cubicBezTo>
                    <a:pt x="647" y="56"/>
                    <a:pt x="647" y="56"/>
                    <a:pt x="647" y="56"/>
                  </a:cubicBezTo>
                  <a:cubicBezTo>
                    <a:pt x="647" y="56"/>
                    <a:pt x="647" y="56"/>
                    <a:pt x="647" y="56"/>
                  </a:cubicBezTo>
                  <a:close/>
                  <a:moveTo>
                    <a:pt x="1085" y="47"/>
                  </a:moveTo>
                  <a:cubicBezTo>
                    <a:pt x="1085" y="48"/>
                    <a:pt x="1085" y="48"/>
                    <a:pt x="1085" y="48"/>
                  </a:cubicBezTo>
                  <a:cubicBezTo>
                    <a:pt x="1085" y="48"/>
                    <a:pt x="1085" y="47"/>
                    <a:pt x="1085" y="47"/>
                  </a:cubicBezTo>
                  <a:close/>
                  <a:moveTo>
                    <a:pt x="1034" y="48"/>
                  </a:moveTo>
                  <a:cubicBezTo>
                    <a:pt x="1034" y="48"/>
                    <a:pt x="1035" y="48"/>
                    <a:pt x="1035" y="47"/>
                  </a:cubicBezTo>
                  <a:cubicBezTo>
                    <a:pt x="1034" y="47"/>
                    <a:pt x="1034" y="48"/>
                    <a:pt x="1034" y="48"/>
                  </a:cubicBezTo>
                  <a:close/>
                  <a:moveTo>
                    <a:pt x="899" y="48"/>
                  </a:moveTo>
                  <a:cubicBezTo>
                    <a:pt x="899" y="48"/>
                    <a:pt x="899" y="47"/>
                    <a:pt x="898" y="47"/>
                  </a:cubicBezTo>
                  <a:cubicBezTo>
                    <a:pt x="898" y="47"/>
                    <a:pt x="898" y="48"/>
                    <a:pt x="899" y="48"/>
                  </a:cubicBezTo>
                  <a:close/>
                  <a:moveTo>
                    <a:pt x="636" y="56"/>
                  </a:moveTo>
                  <a:cubicBezTo>
                    <a:pt x="637" y="56"/>
                    <a:pt x="637" y="56"/>
                    <a:pt x="637" y="56"/>
                  </a:cubicBezTo>
                  <a:cubicBezTo>
                    <a:pt x="636" y="56"/>
                    <a:pt x="636" y="56"/>
                    <a:pt x="636" y="56"/>
                  </a:cubicBezTo>
                  <a:close/>
                  <a:moveTo>
                    <a:pt x="1210" y="52"/>
                  </a:moveTo>
                  <a:cubicBezTo>
                    <a:pt x="1210" y="52"/>
                    <a:pt x="1210" y="52"/>
                    <a:pt x="1210" y="51"/>
                  </a:cubicBezTo>
                  <a:cubicBezTo>
                    <a:pt x="1210" y="52"/>
                    <a:pt x="1210" y="52"/>
                    <a:pt x="1210" y="52"/>
                  </a:cubicBezTo>
                  <a:close/>
                  <a:moveTo>
                    <a:pt x="617" y="104"/>
                  </a:moveTo>
                  <a:cubicBezTo>
                    <a:pt x="617" y="104"/>
                    <a:pt x="618" y="104"/>
                    <a:pt x="618" y="103"/>
                  </a:cubicBezTo>
                  <a:cubicBezTo>
                    <a:pt x="617" y="103"/>
                    <a:pt x="617" y="104"/>
                    <a:pt x="617" y="104"/>
                  </a:cubicBezTo>
                  <a:close/>
                  <a:moveTo>
                    <a:pt x="628" y="104"/>
                  </a:moveTo>
                  <a:cubicBezTo>
                    <a:pt x="628" y="104"/>
                    <a:pt x="628" y="104"/>
                    <a:pt x="628" y="105"/>
                  </a:cubicBezTo>
                  <a:cubicBezTo>
                    <a:pt x="628" y="104"/>
                    <a:pt x="628" y="104"/>
                    <a:pt x="628" y="104"/>
                  </a:cubicBezTo>
                  <a:close/>
                  <a:moveTo>
                    <a:pt x="617" y="105"/>
                  </a:moveTo>
                  <a:cubicBezTo>
                    <a:pt x="617" y="105"/>
                    <a:pt x="617" y="105"/>
                    <a:pt x="617" y="104"/>
                  </a:cubicBezTo>
                  <a:cubicBezTo>
                    <a:pt x="617" y="104"/>
                    <a:pt x="617" y="105"/>
                    <a:pt x="617" y="105"/>
                  </a:cubicBezTo>
                  <a:close/>
                  <a:moveTo>
                    <a:pt x="721" y="16"/>
                  </a:moveTo>
                  <a:cubicBezTo>
                    <a:pt x="721" y="16"/>
                    <a:pt x="721" y="16"/>
                    <a:pt x="721" y="16"/>
                  </a:cubicBezTo>
                  <a:cubicBezTo>
                    <a:pt x="721" y="16"/>
                    <a:pt x="721" y="16"/>
                    <a:pt x="721" y="16"/>
                  </a:cubicBezTo>
                  <a:close/>
                  <a:moveTo>
                    <a:pt x="616" y="106"/>
                  </a:moveTo>
                  <a:cubicBezTo>
                    <a:pt x="617" y="106"/>
                    <a:pt x="617" y="105"/>
                    <a:pt x="617" y="105"/>
                  </a:cubicBezTo>
                  <a:cubicBezTo>
                    <a:pt x="616" y="105"/>
                    <a:pt x="616" y="105"/>
                    <a:pt x="616" y="106"/>
                  </a:cubicBezTo>
                  <a:close/>
                  <a:moveTo>
                    <a:pt x="616" y="107"/>
                  </a:moveTo>
                  <a:cubicBezTo>
                    <a:pt x="616" y="106"/>
                    <a:pt x="616" y="106"/>
                    <a:pt x="617" y="106"/>
                  </a:cubicBezTo>
                  <a:cubicBezTo>
                    <a:pt x="616" y="106"/>
                    <a:pt x="616" y="106"/>
                    <a:pt x="616" y="107"/>
                  </a:cubicBezTo>
                  <a:close/>
                  <a:moveTo>
                    <a:pt x="628" y="106"/>
                  </a:moveTo>
                  <a:cubicBezTo>
                    <a:pt x="627" y="106"/>
                    <a:pt x="627" y="106"/>
                    <a:pt x="627" y="106"/>
                  </a:cubicBezTo>
                  <a:cubicBezTo>
                    <a:pt x="628" y="106"/>
                    <a:pt x="628" y="106"/>
                    <a:pt x="628" y="106"/>
                  </a:cubicBezTo>
                  <a:close/>
                  <a:moveTo>
                    <a:pt x="1745" y="49"/>
                  </a:moveTo>
                  <a:cubicBezTo>
                    <a:pt x="1745" y="49"/>
                    <a:pt x="1745" y="50"/>
                    <a:pt x="1745" y="50"/>
                  </a:cubicBezTo>
                  <a:cubicBezTo>
                    <a:pt x="1745" y="50"/>
                    <a:pt x="1745" y="50"/>
                    <a:pt x="1745" y="49"/>
                  </a:cubicBezTo>
                  <a:close/>
                  <a:moveTo>
                    <a:pt x="616" y="107"/>
                  </a:moveTo>
                  <a:cubicBezTo>
                    <a:pt x="616" y="107"/>
                    <a:pt x="616" y="107"/>
                    <a:pt x="616" y="107"/>
                  </a:cubicBezTo>
                  <a:cubicBezTo>
                    <a:pt x="616" y="107"/>
                    <a:pt x="616" y="107"/>
                    <a:pt x="616" y="107"/>
                  </a:cubicBezTo>
                  <a:close/>
                  <a:moveTo>
                    <a:pt x="615" y="108"/>
                  </a:moveTo>
                  <a:cubicBezTo>
                    <a:pt x="616" y="108"/>
                    <a:pt x="616" y="108"/>
                    <a:pt x="616" y="107"/>
                  </a:cubicBezTo>
                  <a:cubicBezTo>
                    <a:pt x="615" y="108"/>
                    <a:pt x="615" y="108"/>
                    <a:pt x="615" y="108"/>
                  </a:cubicBezTo>
                  <a:close/>
                  <a:moveTo>
                    <a:pt x="627" y="107"/>
                  </a:moveTo>
                  <a:cubicBezTo>
                    <a:pt x="627" y="108"/>
                    <a:pt x="627" y="108"/>
                    <a:pt x="627" y="108"/>
                  </a:cubicBezTo>
                  <a:cubicBezTo>
                    <a:pt x="627" y="108"/>
                    <a:pt x="627" y="108"/>
                    <a:pt x="627" y="107"/>
                  </a:cubicBezTo>
                  <a:close/>
                  <a:moveTo>
                    <a:pt x="615" y="109"/>
                  </a:moveTo>
                  <a:cubicBezTo>
                    <a:pt x="615" y="109"/>
                    <a:pt x="615" y="109"/>
                    <a:pt x="615" y="108"/>
                  </a:cubicBezTo>
                  <a:cubicBezTo>
                    <a:pt x="615" y="109"/>
                    <a:pt x="615" y="109"/>
                    <a:pt x="615" y="109"/>
                  </a:cubicBezTo>
                  <a:close/>
                  <a:moveTo>
                    <a:pt x="626" y="108"/>
                  </a:moveTo>
                  <a:cubicBezTo>
                    <a:pt x="626" y="109"/>
                    <a:pt x="626" y="109"/>
                    <a:pt x="626" y="109"/>
                  </a:cubicBezTo>
                  <a:cubicBezTo>
                    <a:pt x="627" y="109"/>
                    <a:pt x="627" y="109"/>
                    <a:pt x="626" y="108"/>
                  </a:cubicBezTo>
                  <a:close/>
                  <a:moveTo>
                    <a:pt x="615" y="110"/>
                  </a:moveTo>
                  <a:cubicBezTo>
                    <a:pt x="615" y="110"/>
                    <a:pt x="615" y="109"/>
                    <a:pt x="615" y="109"/>
                  </a:cubicBezTo>
                  <a:cubicBezTo>
                    <a:pt x="615" y="109"/>
                    <a:pt x="615" y="110"/>
                    <a:pt x="615" y="110"/>
                  </a:cubicBezTo>
                  <a:close/>
                  <a:moveTo>
                    <a:pt x="626" y="109"/>
                  </a:moveTo>
                  <a:cubicBezTo>
                    <a:pt x="626" y="109"/>
                    <a:pt x="626" y="110"/>
                    <a:pt x="626" y="110"/>
                  </a:cubicBezTo>
                  <a:cubicBezTo>
                    <a:pt x="626" y="110"/>
                    <a:pt x="626" y="109"/>
                    <a:pt x="626" y="109"/>
                  </a:cubicBezTo>
                  <a:close/>
                  <a:moveTo>
                    <a:pt x="614" y="111"/>
                  </a:moveTo>
                  <a:cubicBezTo>
                    <a:pt x="615" y="111"/>
                    <a:pt x="615" y="110"/>
                    <a:pt x="615" y="110"/>
                  </a:cubicBezTo>
                  <a:cubicBezTo>
                    <a:pt x="614" y="110"/>
                    <a:pt x="614" y="110"/>
                    <a:pt x="614" y="111"/>
                  </a:cubicBezTo>
                  <a:close/>
                  <a:moveTo>
                    <a:pt x="626" y="110"/>
                  </a:moveTo>
                  <a:cubicBezTo>
                    <a:pt x="626" y="110"/>
                    <a:pt x="625" y="111"/>
                    <a:pt x="625" y="111"/>
                  </a:cubicBezTo>
                  <a:cubicBezTo>
                    <a:pt x="626" y="111"/>
                    <a:pt x="626" y="110"/>
                    <a:pt x="626" y="110"/>
                  </a:cubicBezTo>
                  <a:close/>
                  <a:moveTo>
                    <a:pt x="614" y="112"/>
                  </a:moveTo>
                  <a:cubicBezTo>
                    <a:pt x="614" y="111"/>
                    <a:pt x="614" y="111"/>
                    <a:pt x="614" y="111"/>
                  </a:cubicBezTo>
                  <a:cubicBezTo>
                    <a:pt x="614" y="111"/>
                    <a:pt x="614" y="111"/>
                    <a:pt x="614" y="112"/>
                  </a:cubicBezTo>
                  <a:close/>
                  <a:moveTo>
                    <a:pt x="625" y="111"/>
                  </a:moveTo>
                  <a:cubicBezTo>
                    <a:pt x="625" y="111"/>
                    <a:pt x="625" y="111"/>
                    <a:pt x="625" y="112"/>
                  </a:cubicBezTo>
                  <a:cubicBezTo>
                    <a:pt x="625" y="111"/>
                    <a:pt x="625" y="111"/>
                    <a:pt x="625" y="111"/>
                  </a:cubicBezTo>
                  <a:close/>
                  <a:moveTo>
                    <a:pt x="614" y="112"/>
                  </a:moveTo>
                  <a:cubicBezTo>
                    <a:pt x="614" y="112"/>
                    <a:pt x="614" y="112"/>
                    <a:pt x="614" y="112"/>
                  </a:cubicBezTo>
                  <a:cubicBezTo>
                    <a:pt x="614" y="112"/>
                    <a:pt x="614" y="112"/>
                    <a:pt x="614" y="112"/>
                  </a:cubicBezTo>
                  <a:close/>
                  <a:moveTo>
                    <a:pt x="625" y="112"/>
                  </a:moveTo>
                  <a:cubicBezTo>
                    <a:pt x="625" y="112"/>
                    <a:pt x="625" y="112"/>
                    <a:pt x="625" y="113"/>
                  </a:cubicBezTo>
                  <a:cubicBezTo>
                    <a:pt x="625" y="112"/>
                    <a:pt x="625" y="112"/>
                    <a:pt x="625" y="112"/>
                  </a:cubicBezTo>
                  <a:close/>
                  <a:moveTo>
                    <a:pt x="613" y="113"/>
                  </a:moveTo>
                  <a:cubicBezTo>
                    <a:pt x="614" y="113"/>
                    <a:pt x="614" y="113"/>
                    <a:pt x="614" y="112"/>
                  </a:cubicBezTo>
                  <a:cubicBezTo>
                    <a:pt x="613" y="113"/>
                    <a:pt x="613" y="113"/>
                    <a:pt x="613" y="113"/>
                  </a:cubicBezTo>
                  <a:close/>
                  <a:moveTo>
                    <a:pt x="625" y="113"/>
                  </a:moveTo>
                  <a:cubicBezTo>
                    <a:pt x="625" y="113"/>
                    <a:pt x="624" y="113"/>
                    <a:pt x="624" y="113"/>
                  </a:cubicBezTo>
                  <a:cubicBezTo>
                    <a:pt x="625" y="113"/>
                    <a:pt x="625" y="113"/>
                    <a:pt x="625" y="113"/>
                  </a:cubicBezTo>
                  <a:close/>
                  <a:moveTo>
                    <a:pt x="613" y="114"/>
                  </a:moveTo>
                  <a:cubicBezTo>
                    <a:pt x="613" y="114"/>
                    <a:pt x="613" y="114"/>
                    <a:pt x="613" y="113"/>
                  </a:cubicBezTo>
                  <a:cubicBezTo>
                    <a:pt x="613" y="114"/>
                    <a:pt x="613" y="114"/>
                    <a:pt x="613" y="114"/>
                  </a:cubicBezTo>
                  <a:close/>
                  <a:moveTo>
                    <a:pt x="624" y="114"/>
                  </a:moveTo>
                  <a:cubicBezTo>
                    <a:pt x="624" y="114"/>
                    <a:pt x="624" y="114"/>
                    <a:pt x="624" y="114"/>
                  </a:cubicBezTo>
                  <a:cubicBezTo>
                    <a:pt x="624" y="114"/>
                    <a:pt x="624" y="114"/>
                    <a:pt x="624" y="114"/>
                  </a:cubicBezTo>
                  <a:close/>
                  <a:moveTo>
                    <a:pt x="613" y="115"/>
                  </a:moveTo>
                  <a:cubicBezTo>
                    <a:pt x="613" y="115"/>
                    <a:pt x="613" y="114"/>
                    <a:pt x="613" y="114"/>
                  </a:cubicBezTo>
                  <a:cubicBezTo>
                    <a:pt x="613" y="114"/>
                    <a:pt x="613" y="114"/>
                    <a:pt x="613" y="115"/>
                  </a:cubicBezTo>
                  <a:close/>
                  <a:moveTo>
                    <a:pt x="624" y="114"/>
                  </a:moveTo>
                  <a:cubicBezTo>
                    <a:pt x="624" y="115"/>
                    <a:pt x="624" y="115"/>
                    <a:pt x="624" y="115"/>
                  </a:cubicBezTo>
                  <a:cubicBezTo>
                    <a:pt x="624" y="115"/>
                    <a:pt x="624" y="115"/>
                    <a:pt x="624" y="114"/>
                  </a:cubicBezTo>
                  <a:close/>
                  <a:moveTo>
                    <a:pt x="612" y="116"/>
                  </a:moveTo>
                  <a:cubicBezTo>
                    <a:pt x="613" y="115"/>
                    <a:pt x="613" y="115"/>
                    <a:pt x="613" y="115"/>
                  </a:cubicBezTo>
                  <a:cubicBezTo>
                    <a:pt x="612" y="115"/>
                    <a:pt x="612" y="115"/>
                    <a:pt x="612" y="116"/>
                  </a:cubicBezTo>
                  <a:close/>
                  <a:moveTo>
                    <a:pt x="624" y="115"/>
                  </a:moveTo>
                  <a:cubicBezTo>
                    <a:pt x="623" y="115"/>
                    <a:pt x="623" y="115"/>
                    <a:pt x="623" y="116"/>
                  </a:cubicBezTo>
                  <a:cubicBezTo>
                    <a:pt x="624" y="116"/>
                    <a:pt x="624" y="115"/>
                    <a:pt x="624" y="115"/>
                  </a:cubicBezTo>
                  <a:close/>
                  <a:moveTo>
                    <a:pt x="612" y="116"/>
                  </a:moveTo>
                  <a:cubicBezTo>
                    <a:pt x="612" y="116"/>
                    <a:pt x="612" y="116"/>
                    <a:pt x="612" y="115"/>
                  </a:cubicBezTo>
                  <a:cubicBezTo>
                    <a:pt x="612" y="116"/>
                    <a:pt x="612" y="116"/>
                    <a:pt x="612" y="116"/>
                  </a:cubicBezTo>
                  <a:close/>
                  <a:moveTo>
                    <a:pt x="623" y="116"/>
                  </a:moveTo>
                  <a:cubicBezTo>
                    <a:pt x="623" y="116"/>
                    <a:pt x="623" y="116"/>
                    <a:pt x="623" y="116"/>
                  </a:cubicBezTo>
                  <a:cubicBezTo>
                    <a:pt x="623" y="116"/>
                    <a:pt x="623" y="116"/>
                    <a:pt x="623" y="116"/>
                  </a:cubicBezTo>
                  <a:close/>
                  <a:moveTo>
                    <a:pt x="612" y="117"/>
                  </a:moveTo>
                  <a:cubicBezTo>
                    <a:pt x="612" y="117"/>
                    <a:pt x="612" y="116"/>
                    <a:pt x="612" y="116"/>
                  </a:cubicBezTo>
                  <a:cubicBezTo>
                    <a:pt x="612" y="116"/>
                    <a:pt x="612" y="117"/>
                    <a:pt x="612" y="117"/>
                  </a:cubicBezTo>
                  <a:close/>
                  <a:moveTo>
                    <a:pt x="623" y="116"/>
                  </a:moveTo>
                  <a:cubicBezTo>
                    <a:pt x="623" y="117"/>
                    <a:pt x="623" y="117"/>
                    <a:pt x="623" y="117"/>
                  </a:cubicBezTo>
                  <a:cubicBezTo>
                    <a:pt x="623" y="117"/>
                    <a:pt x="623" y="117"/>
                    <a:pt x="623" y="116"/>
                  </a:cubicBezTo>
                  <a:close/>
                  <a:moveTo>
                    <a:pt x="611" y="118"/>
                  </a:moveTo>
                  <a:cubicBezTo>
                    <a:pt x="611" y="117"/>
                    <a:pt x="612" y="117"/>
                    <a:pt x="612" y="117"/>
                  </a:cubicBezTo>
                  <a:cubicBezTo>
                    <a:pt x="611" y="117"/>
                    <a:pt x="611" y="117"/>
                    <a:pt x="611" y="118"/>
                  </a:cubicBezTo>
                  <a:close/>
                  <a:moveTo>
                    <a:pt x="623" y="117"/>
                  </a:moveTo>
                  <a:cubicBezTo>
                    <a:pt x="622" y="117"/>
                    <a:pt x="622" y="118"/>
                    <a:pt x="622" y="118"/>
                  </a:cubicBezTo>
                  <a:cubicBezTo>
                    <a:pt x="623" y="118"/>
                    <a:pt x="623" y="117"/>
                    <a:pt x="623" y="117"/>
                  </a:cubicBezTo>
                  <a:close/>
                  <a:moveTo>
                    <a:pt x="611" y="119"/>
                  </a:moveTo>
                  <a:cubicBezTo>
                    <a:pt x="611" y="118"/>
                    <a:pt x="611" y="118"/>
                    <a:pt x="611" y="118"/>
                  </a:cubicBezTo>
                  <a:cubicBezTo>
                    <a:pt x="611" y="118"/>
                    <a:pt x="611" y="118"/>
                    <a:pt x="611" y="119"/>
                  </a:cubicBezTo>
                  <a:close/>
                  <a:moveTo>
                    <a:pt x="622" y="118"/>
                  </a:moveTo>
                  <a:cubicBezTo>
                    <a:pt x="622" y="118"/>
                    <a:pt x="622" y="118"/>
                    <a:pt x="622" y="119"/>
                  </a:cubicBezTo>
                  <a:cubicBezTo>
                    <a:pt x="622" y="118"/>
                    <a:pt x="622" y="118"/>
                    <a:pt x="622" y="118"/>
                  </a:cubicBezTo>
                  <a:close/>
                  <a:moveTo>
                    <a:pt x="622" y="119"/>
                  </a:moveTo>
                  <a:cubicBezTo>
                    <a:pt x="622" y="119"/>
                    <a:pt x="622" y="119"/>
                    <a:pt x="622" y="119"/>
                  </a:cubicBezTo>
                  <a:cubicBezTo>
                    <a:pt x="622" y="119"/>
                    <a:pt x="622" y="119"/>
                    <a:pt x="622" y="119"/>
                  </a:cubicBezTo>
                  <a:close/>
                  <a:moveTo>
                    <a:pt x="622" y="119"/>
                  </a:moveTo>
                  <a:cubicBezTo>
                    <a:pt x="621" y="119"/>
                    <a:pt x="621" y="120"/>
                    <a:pt x="621" y="120"/>
                  </a:cubicBezTo>
                  <a:cubicBezTo>
                    <a:pt x="622" y="120"/>
                    <a:pt x="622" y="120"/>
                    <a:pt x="622" y="119"/>
                  </a:cubicBezTo>
                  <a:close/>
                  <a:moveTo>
                    <a:pt x="621" y="120"/>
                  </a:moveTo>
                  <a:cubicBezTo>
                    <a:pt x="621" y="120"/>
                    <a:pt x="621" y="121"/>
                    <a:pt x="621" y="121"/>
                  </a:cubicBezTo>
                  <a:cubicBezTo>
                    <a:pt x="621" y="121"/>
                    <a:pt x="621" y="121"/>
                    <a:pt x="621" y="120"/>
                  </a:cubicBezTo>
                  <a:close/>
                  <a:moveTo>
                    <a:pt x="621" y="121"/>
                  </a:moveTo>
                  <a:cubicBezTo>
                    <a:pt x="620" y="121"/>
                    <a:pt x="620" y="121"/>
                    <a:pt x="620" y="122"/>
                  </a:cubicBezTo>
                  <a:cubicBezTo>
                    <a:pt x="621" y="122"/>
                    <a:pt x="621" y="121"/>
                    <a:pt x="621" y="121"/>
                  </a:cubicBezTo>
                  <a:close/>
                  <a:moveTo>
                    <a:pt x="614" y="63"/>
                  </a:moveTo>
                  <a:cubicBezTo>
                    <a:pt x="614" y="63"/>
                    <a:pt x="614" y="63"/>
                    <a:pt x="615" y="64"/>
                  </a:cubicBezTo>
                  <a:cubicBezTo>
                    <a:pt x="615" y="63"/>
                    <a:pt x="615" y="63"/>
                    <a:pt x="614" y="63"/>
                  </a:cubicBezTo>
                  <a:close/>
                  <a:moveTo>
                    <a:pt x="606" y="122"/>
                  </a:moveTo>
                  <a:cubicBezTo>
                    <a:pt x="606" y="122"/>
                    <a:pt x="607" y="122"/>
                    <a:pt x="607" y="122"/>
                  </a:cubicBezTo>
                  <a:cubicBezTo>
                    <a:pt x="606" y="122"/>
                    <a:pt x="606" y="122"/>
                    <a:pt x="606" y="122"/>
                  </a:cubicBezTo>
                  <a:close/>
                  <a:moveTo>
                    <a:pt x="620" y="122"/>
                  </a:moveTo>
                  <a:cubicBezTo>
                    <a:pt x="620" y="122"/>
                    <a:pt x="620" y="122"/>
                    <a:pt x="619" y="123"/>
                  </a:cubicBezTo>
                  <a:cubicBezTo>
                    <a:pt x="620" y="123"/>
                    <a:pt x="620" y="122"/>
                    <a:pt x="620" y="122"/>
                  </a:cubicBezTo>
                  <a:close/>
                  <a:moveTo>
                    <a:pt x="1209" y="54"/>
                  </a:moveTo>
                  <a:cubicBezTo>
                    <a:pt x="1210" y="54"/>
                    <a:pt x="1210" y="53"/>
                    <a:pt x="1210" y="53"/>
                  </a:cubicBezTo>
                  <a:cubicBezTo>
                    <a:pt x="1209" y="53"/>
                    <a:pt x="1209" y="54"/>
                    <a:pt x="1209" y="54"/>
                  </a:cubicBezTo>
                  <a:close/>
                  <a:moveTo>
                    <a:pt x="605" y="123"/>
                  </a:moveTo>
                  <a:cubicBezTo>
                    <a:pt x="606" y="123"/>
                    <a:pt x="606" y="123"/>
                    <a:pt x="606" y="122"/>
                  </a:cubicBezTo>
                  <a:cubicBezTo>
                    <a:pt x="606" y="122"/>
                    <a:pt x="605" y="122"/>
                    <a:pt x="605" y="123"/>
                  </a:cubicBezTo>
                  <a:close/>
                  <a:moveTo>
                    <a:pt x="1136" y="44"/>
                  </a:moveTo>
                  <a:cubicBezTo>
                    <a:pt x="1136" y="43"/>
                    <a:pt x="1136" y="43"/>
                    <a:pt x="1135" y="43"/>
                  </a:cubicBezTo>
                  <a:cubicBezTo>
                    <a:pt x="1136" y="44"/>
                    <a:pt x="1136" y="44"/>
                    <a:pt x="1136" y="44"/>
                  </a:cubicBezTo>
                  <a:close/>
                  <a:moveTo>
                    <a:pt x="605" y="123"/>
                  </a:moveTo>
                  <a:cubicBezTo>
                    <a:pt x="605" y="123"/>
                    <a:pt x="605" y="123"/>
                    <a:pt x="605" y="123"/>
                  </a:cubicBezTo>
                  <a:cubicBezTo>
                    <a:pt x="605" y="123"/>
                    <a:pt x="605" y="123"/>
                    <a:pt x="605" y="123"/>
                  </a:cubicBezTo>
                  <a:close/>
                  <a:moveTo>
                    <a:pt x="1489" y="16"/>
                  </a:moveTo>
                  <a:cubicBezTo>
                    <a:pt x="1489" y="16"/>
                    <a:pt x="1489" y="16"/>
                    <a:pt x="1490" y="16"/>
                  </a:cubicBezTo>
                  <a:cubicBezTo>
                    <a:pt x="1489" y="16"/>
                    <a:pt x="1489" y="16"/>
                    <a:pt x="1489" y="16"/>
                  </a:cubicBezTo>
                  <a:close/>
                  <a:moveTo>
                    <a:pt x="566" y="50"/>
                  </a:moveTo>
                  <a:cubicBezTo>
                    <a:pt x="566" y="50"/>
                    <a:pt x="566" y="50"/>
                    <a:pt x="566" y="50"/>
                  </a:cubicBezTo>
                  <a:cubicBezTo>
                    <a:pt x="566" y="50"/>
                    <a:pt x="566" y="50"/>
                    <a:pt x="566" y="50"/>
                  </a:cubicBezTo>
                  <a:close/>
                  <a:moveTo>
                    <a:pt x="662" y="64"/>
                  </a:moveTo>
                  <a:cubicBezTo>
                    <a:pt x="662" y="63"/>
                    <a:pt x="662" y="63"/>
                    <a:pt x="661" y="63"/>
                  </a:cubicBezTo>
                  <a:cubicBezTo>
                    <a:pt x="661" y="63"/>
                    <a:pt x="661" y="63"/>
                    <a:pt x="662" y="64"/>
                  </a:cubicBezTo>
                  <a:close/>
                  <a:moveTo>
                    <a:pt x="719" y="16"/>
                  </a:moveTo>
                  <a:cubicBezTo>
                    <a:pt x="720" y="16"/>
                    <a:pt x="720" y="16"/>
                    <a:pt x="720" y="16"/>
                  </a:cubicBezTo>
                  <a:cubicBezTo>
                    <a:pt x="720" y="16"/>
                    <a:pt x="720" y="16"/>
                    <a:pt x="719" y="16"/>
                  </a:cubicBezTo>
                  <a:close/>
                  <a:moveTo>
                    <a:pt x="681" y="63"/>
                  </a:moveTo>
                  <a:cubicBezTo>
                    <a:pt x="681" y="63"/>
                    <a:pt x="681" y="63"/>
                    <a:pt x="682" y="63"/>
                  </a:cubicBezTo>
                  <a:cubicBezTo>
                    <a:pt x="681" y="63"/>
                    <a:pt x="681" y="63"/>
                    <a:pt x="681" y="63"/>
                  </a:cubicBezTo>
                  <a:close/>
                  <a:moveTo>
                    <a:pt x="607" y="41"/>
                  </a:moveTo>
                  <a:cubicBezTo>
                    <a:pt x="607" y="41"/>
                    <a:pt x="607" y="42"/>
                    <a:pt x="607" y="42"/>
                  </a:cubicBezTo>
                  <a:cubicBezTo>
                    <a:pt x="607" y="41"/>
                    <a:pt x="607" y="41"/>
                    <a:pt x="607" y="41"/>
                  </a:cubicBezTo>
                  <a:close/>
                  <a:moveTo>
                    <a:pt x="613" y="129"/>
                  </a:moveTo>
                  <a:cubicBezTo>
                    <a:pt x="613" y="129"/>
                    <a:pt x="613" y="129"/>
                    <a:pt x="613" y="130"/>
                  </a:cubicBezTo>
                  <a:cubicBezTo>
                    <a:pt x="613" y="130"/>
                    <a:pt x="613" y="130"/>
                    <a:pt x="613" y="129"/>
                  </a:cubicBezTo>
                  <a:close/>
                  <a:moveTo>
                    <a:pt x="612" y="130"/>
                  </a:moveTo>
                  <a:cubicBezTo>
                    <a:pt x="612" y="130"/>
                    <a:pt x="612" y="130"/>
                    <a:pt x="612" y="130"/>
                  </a:cubicBezTo>
                  <a:cubicBezTo>
                    <a:pt x="612" y="130"/>
                    <a:pt x="612" y="130"/>
                    <a:pt x="612" y="130"/>
                  </a:cubicBezTo>
                  <a:close/>
                  <a:moveTo>
                    <a:pt x="610" y="131"/>
                  </a:moveTo>
                  <a:cubicBezTo>
                    <a:pt x="610" y="131"/>
                    <a:pt x="610" y="131"/>
                    <a:pt x="610" y="131"/>
                  </a:cubicBezTo>
                  <a:cubicBezTo>
                    <a:pt x="610" y="131"/>
                    <a:pt x="610" y="131"/>
                    <a:pt x="610" y="131"/>
                  </a:cubicBezTo>
                  <a:close/>
                  <a:moveTo>
                    <a:pt x="609" y="131"/>
                  </a:moveTo>
                  <a:cubicBezTo>
                    <a:pt x="609" y="131"/>
                    <a:pt x="609" y="132"/>
                    <a:pt x="609" y="132"/>
                  </a:cubicBezTo>
                  <a:cubicBezTo>
                    <a:pt x="609" y="132"/>
                    <a:pt x="609" y="132"/>
                    <a:pt x="609" y="131"/>
                  </a:cubicBezTo>
                  <a:close/>
                  <a:moveTo>
                    <a:pt x="609" y="132"/>
                  </a:moveTo>
                  <a:cubicBezTo>
                    <a:pt x="608" y="132"/>
                    <a:pt x="608" y="132"/>
                    <a:pt x="608" y="132"/>
                  </a:cubicBezTo>
                  <a:cubicBezTo>
                    <a:pt x="608" y="132"/>
                    <a:pt x="609" y="132"/>
                    <a:pt x="609" y="132"/>
                  </a:cubicBezTo>
                  <a:close/>
                  <a:moveTo>
                    <a:pt x="1290" y="44"/>
                  </a:moveTo>
                  <a:cubicBezTo>
                    <a:pt x="1290" y="44"/>
                    <a:pt x="1290" y="44"/>
                    <a:pt x="1290" y="43"/>
                  </a:cubicBezTo>
                  <a:cubicBezTo>
                    <a:pt x="1290" y="44"/>
                    <a:pt x="1290" y="44"/>
                    <a:pt x="1290" y="44"/>
                  </a:cubicBezTo>
                  <a:close/>
                  <a:moveTo>
                    <a:pt x="653" y="42"/>
                  </a:moveTo>
                  <a:cubicBezTo>
                    <a:pt x="653" y="42"/>
                    <a:pt x="653" y="42"/>
                    <a:pt x="653" y="42"/>
                  </a:cubicBezTo>
                  <a:cubicBezTo>
                    <a:pt x="653" y="42"/>
                    <a:pt x="653" y="42"/>
                    <a:pt x="653" y="42"/>
                  </a:cubicBezTo>
                  <a:close/>
                  <a:moveTo>
                    <a:pt x="751" y="87"/>
                  </a:moveTo>
                  <a:cubicBezTo>
                    <a:pt x="751" y="87"/>
                    <a:pt x="751" y="87"/>
                    <a:pt x="750" y="87"/>
                  </a:cubicBezTo>
                  <a:cubicBezTo>
                    <a:pt x="750" y="87"/>
                    <a:pt x="751" y="87"/>
                    <a:pt x="751" y="87"/>
                  </a:cubicBezTo>
                  <a:close/>
                  <a:moveTo>
                    <a:pt x="1364" y="74"/>
                  </a:moveTo>
                  <a:cubicBezTo>
                    <a:pt x="1364" y="74"/>
                    <a:pt x="1364" y="74"/>
                    <a:pt x="1364" y="74"/>
                  </a:cubicBezTo>
                  <a:cubicBezTo>
                    <a:pt x="1364" y="74"/>
                    <a:pt x="1364" y="74"/>
                    <a:pt x="1364" y="74"/>
                  </a:cubicBezTo>
                  <a:close/>
                  <a:moveTo>
                    <a:pt x="796" y="39"/>
                  </a:moveTo>
                  <a:cubicBezTo>
                    <a:pt x="796" y="39"/>
                    <a:pt x="796" y="39"/>
                    <a:pt x="796" y="39"/>
                  </a:cubicBezTo>
                  <a:cubicBezTo>
                    <a:pt x="796" y="39"/>
                    <a:pt x="796" y="39"/>
                    <a:pt x="796" y="39"/>
                  </a:cubicBezTo>
                  <a:close/>
                  <a:moveTo>
                    <a:pt x="1535" y="74"/>
                  </a:moveTo>
                  <a:cubicBezTo>
                    <a:pt x="1535" y="74"/>
                    <a:pt x="1535" y="74"/>
                    <a:pt x="1535" y="74"/>
                  </a:cubicBezTo>
                  <a:cubicBezTo>
                    <a:pt x="1535" y="74"/>
                    <a:pt x="1535" y="74"/>
                    <a:pt x="1535" y="74"/>
                  </a:cubicBezTo>
                  <a:close/>
                  <a:moveTo>
                    <a:pt x="833" y="39"/>
                  </a:moveTo>
                  <a:cubicBezTo>
                    <a:pt x="833" y="39"/>
                    <a:pt x="833" y="39"/>
                    <a:pt x="833" y="39"/>
                  </a:cubicBezTo>
                  <a:cubicBezTo>
                    <a:pt x="833" y="39"/>
                    <a:pt x="833" y="39"/>
                    <a:pt x="833" y="39"/>
                  </a:cubicBezTo>
                  <a:close/>
                  <a:moveTo>
                    <a:pt x="1703" y="74"/>
                  </a:moveTo>
                  <a:cubicBezTo>
                    <a:pt x="1703" y="74"/>
                    <a:pt x="1704" y="74"/>
                    <a:pt x="1704" y="74"/>
                  </a:cubicBezTo>
                  <a:cubicBezTo>
                    <a:pt x="1703" y="74"/>
                    <a:pt x="1703" y="74"/>
                    <a:pt x="1703" y="74"/>
                  </a:cubicBezTo>
                  <a:close/>
                  <a:moveTo>
                    <a:pt x="1717" y="74"/>
                  </a:moveTo>
                  <a:cubicBezTo>
                    <a:pt x="1717" y="74"/>
                    <a:pt x="1716" y="74"/>
                    <a:pt x="1716" y="74"/>
                  </a:cubicBezTo>
                  <a:cubicBezTo>
                    <a:pt x="1717" y="74"/>
                    <a:pt x="1717" y="74"/>
                    <a:pt x="1717" y="74"/>
                  </a:cubicBezTo>
                  <a:close/>
                  <a:moveTo>
                    <a:pt x="864" y="39"/>
                  </a:moveTo>
                  <a:cubicBezTo>
                    <a:pt x="864" y="39"/>
                    <a:pt x="864" y="39"/>
                    <a:pt x="864" y="39"/>
                  </a:cubicBezTo>
                  <a:cubicBezTo>
                    <a:pt x="864" y="39"/>
                    <a:pt x="864" y="39"/>
                    <a:pt x="864" y="39"/>
                  </a:cubicBezTo>
                  <a:close/>
                  <a:moveTo>
                    <a:pt x="874" y="39"/>
                  </a:moveTo>
                  <a:cubicBezTo>
                    <a:pt x="874" y="39"/>
                    <a:pt x="874" y="39"/>
                    <a:pt x="874" y="39"/>
                  </a:cubicBezTo>
                  <a:cubicBezTo>
                    <a:pt x="874" y="39"/>
                    <a:pt x="874" y="39"/>
                    <a:pt x="874" y="39"/>
                  </a:cubicBezTo>
                  <a:close/>
                  <a:moveTo>
                    <a:pt x="1042" y="39"/>
                  </a:moveTo>
                  <a:cubicBezTo>
                    <a:pt x="1042" y="39"/>
                    <a:pt x="1042" y="39"/>
                    <a:pt x="1042" y="39"/>
                  </a:cubicBezTo>
                  <a:cubicBezTo>
                    <a:pt x="1042" y="39"/>
                    <a:pt x="1042" y="39"/>
                    <a:pt x="1042" y="39"/>
                  </a:cubicBezTo>
                  <a:close/>
                  <a:moveTo>
                    <a:pt x="1115" y="39"/>
                  </a:moveTo>
                  <a:cubicBezTo>
                    <a:pt x="1116" y="39"/>
                    <a:pt x="1116" y="39"/>
                    <a:pt x="1116" y="39"/>
                  </a:cubicBezTo>
                  <a:cubicBezTo>
                    <a:pt x="1115" y="39"/>
                    <a:pt x="1115" y="39"/>
                    <a:pt x="1115" y="39"/>
                  </a:cubicBezTo>
                  <a:close/>
                  <a:moveTo>
                    <a:pt x="1148" y="39"/>
                  </a:moveTo>
                  <a:cubicBezTo>
                    <a:pt x="1148" y="39"/>
                    <a:pt x="1148" y="39"/>
                    <a:pt x="1149" y="39"/>
                  </a:cubicBezTo>
                  <a:cubicBezTo>
                    <a:pt x="1149" y="39"/>
                    <a:pt x="1148" y="39"/>
                    <a:pt x="1148" y="39"/>
                  </a:cubicBezTo>
                  <a:close/>
                  <a:moveTo>
                    <a:pt x="1220" y="39"/>
                  </a:moveTo>
                  <a:cubicBezTo>
                    <a:pt x="1220" y="39"/>
                    <a:pt x="1220" y="39"/>
                    <a:pt x="1220" y="39"/>
                  </a:cubicBezTo>
                  <a:cubicBezTo>
                    <a:pt x="1220" y="39"/>
                    <a:pt x="1220" y="39"/>
                    <a:pt x="1220" y="39"/>
                  </a:cubicBezTo>
                  <a:close/>
                  <a:moveTo>
                    <a:pt x="1351" y="75"/>
                  </a:moveTo>
                  <a:cubicBezTo>
                    <a:pt x="1351" y="75"/>
                    <a:pt x="1351" y="75"/>
                    <a:pt x="1351" y="74"/>
                  </a:cubicBezTo>
                  <a:cubicBezTo>
                    <a:pt x="1351" y="74"/>
                    <a:pt x="1351" y="75"/>
                    <a:pt x="1351" y="75"/>
                  </a:cubicBezTo>
                  <a:close/>
                  <a:moveTo>
                    <a:pt x="1364" y="74"/>
                  </a:moveTo>
                  <a:cubicBezTo>
                    <a:pt x="1364" y="74"/>
                    <a:pt x="1364" y="74"/>
                    <a:pt x="1364" y="75"/>
                  </a:cubicBezTo>
                  <a:cubicBezTo>
                    <a:pt x="1364" y="75"/>
                    <a:pt x="1364" y="75"/>
                    <a:pt x="1364" y="74"/>
                  </a:cubicBezTo>
                  <a:close/>
                  <a:moveTo>
                    <a:pt x="1535" y="75"/>
                  </a:moveTo>
                  <a:cubicBezTo>
                    <a:pt x="1535" y="75"/>
                    <a:pt x="1535" y="75"/>
                    <a:pt x="1535" y="74"/>
                  </a:cubicBezTo>
                  <a:cubicBezTo>
                    <a:pt x="1535" y="74"/>
                    <a:pt x="1535" y="75"/>
                    <a:pt x="1535" y="75"/>
                  </a:cubicBezTo>
                  <a:close/>
                  <a:moveTo>
                    <a:pt x="1548" y="74"/>
                  </a:moveTo>
                  <a:cubicBezTo>
                    <a:pt x="1548" y="74"/>
                    <a:pt x="1548" y="74"/>
                    <a:pt x="1548" y="75"/>
                  </a:cubicBezTo>
                  <a:cubicBezTo>
                    <a:pt x="1548" y="75"/>
                    <a:pt x="1548" y="74"/>
                    <a:pt x="1548" y="74"/>
                  </a:cubicBezTo>
                  <a:close/>
                  <a:moveTo>
                    <a:pt x="1256" y="39"/>
                  </a:moveTo>
                  <a:cubicBezTo>
                    <a:pt x="1256" y="39"/>
                    <a:pt x="1256" y="39"/>
                    <a:pt x="1256" y="39"/>
                  </a:cubicBezTo>
                  <a:cubicBezTo>
                    <a:pt x="1256" y="39"/>
                    <a:pt x="1256" y="39"/>
                    <a:pt x="1256" y="39"/>
                  </a:cubicBezTo>
                  <a:close/>
                  <a:moveTo>
                    <a:pt x="1703" y="75"/>
                  </a:moveTo>
                  <a:cubicBezTo>
                    <a:pt x="1703" y="75"/>
                    <a:pt x="1703" y="75"/>
                    <a:pt x="1703" y="74"/>
                  </a:cubicBezTo>
                  <a:cubicBezTo>
                    <a:pt x="1703" y="74"/>
                    <a:pt x="1703" y="75"/>
                    <a:pt x="1703" y="75"/>
                  </a:cubicBezTo>
                  <a:close/>
                  <a:moveTo>
                    <a:pt x="1716" y="74"/>
                  </a:moveTo>
                  <a:cubicBezTo>
                    <a:pt x="1716" y="74"/>
                    <a:pt x="1716" y="74"/>
                    <a:pt x="1716" y="75"/>
                  </a:cubicBezTo>
                  <a:cubicBezTo>
                    <a:pt x="1716" y="75"/>
                    <a:pt x="1716" y="74"/>
                    <a:pt x="1716" y="74"/>
                  </a:cubicBezTo>
                  <a:close/>
                  <a:moveTo>
                    <a:pt x="551" y="39"/>
                  </a:moveTo>
                  <a:cubicBezTo>
                    <a:pt x="551" y="39"/>
                    <a:pt x="551" y="39"/>
                    <a:pt x="551" y="39"/>
                  </a:cubicBezTo>
                  <a:cubicBezTo>
                    <a:pt x="551" y="39"/>
                    <a:pt x="551" y="39"/>
                    <a:pt x="551" y="39"/>
                  </a:cubicBezTo>
                  <a:close/>
                  <a:moveTo>
                    <a:pt x="664" y="39"/>
                  </a:moveTo>
                  <a:cubicBezTo>
                    <a:pt x="664" y="39"/>
                    <a:pt x="664" y="39"/>
                    <a:pt x="664" y="39"/>
                  </a:cubicBezTo>
                  <a:cubicBezTo>
                    <a:pt x="664" y="39"/>
                    <a:pt x="664" y="39"/>
                    <a:pt x="664" y="39"/>
                  </a:cubicBezTo>
                  <a:close/>
                  <a:moveTo>
                    <a:pt x="698" y="75"/>
                  </a:moveTo>
                  <a:cubicBezTo>
                    <a:pt x="698" y="75"/>
                    <a:pt x="698" y="75"/>
                    <a:pt x="698" y="75"/>
                  </a:cubicBezTo>
                  <a:cubicBezTo>
                    <a:pt x="698" y="75"/>
                    <a:pt x="698" y="75"/>
                    <a:pt x="698" y="75"/>
                  </a:cubicBezTo>
                  <a:close/>
                  <a:moveTo>
                    <a:pt x="796" y="39"/>
                  </a:moveTo>
                  <a:cubicBezTo>
                    <a:pt x="796" y="39"/>
                    <a:pt x="797" y="39"/>
                    <a:pt x="797" y="39"/>
                  </a:cubicBezTo>
                  <a:cubicBezTo>
                    <a:pt x="797" y="39"/>
                    <a:pt x="797" y="39"/>
                    <a:pt x="796" y="39"/>
                  </a:cubicBezTo>
                  <a:close/>
                  <a:moveTo>
                    <a:pt x="1350" y="75"/>
                  </a:moveTo>
                  <a:cubicBezTo>
                    <a:pt x="1350" y="75"/>
                    <a:pt x="1351" y="75"/>
                    <a:pt x="1351" y="75"/>
                  </a:cubicBezTo>
                  <a:cubicBezTo>
                    <a:pt x="1350" y="75"/>
                    <a:pt x="1350" y="75"/>
                    <a:pt x="1350" y="75"/>
                  </a:cubicBezTo>
                  <a:close/>
                  <a:moveTo>
                    <a:pt x="832" y="39"/>
                  </a:moveTo>
                  <a:cubicBezTo>
                    <a:pt x="832" y="39"/>
                    <a:pt x="833" y="39"/>
                    <a:pt x="833" y="39"/>
                  </a:cubicBezTo>
                  <a:cubicBezTo>
                    <a:pt x="832" y="39"/>
                    <a:pt x="832" y="39"/>
                    <a:pt x="832" y="39"/>
                  </a:cubicBezTo>
                  <a:close/>
                  <a:moveTo>
                    <a:pt x="864" y="39"/>
                  </a:moveTo>
                  <a:cubicBezTo>
                    <a:pt x="864" y="39"/>
                    <a:pt x="864" y="39"/>
                    <a:pt x="864" y="39"/>
                  </a:cubicBezTo>
                  <a:cubicBezTo>
                    <a:pt x="864" y="39"/>
                    <a:pt x="864" y="39"/>
                    <a:pt x="864" y="39"/>
                  </a:cubicBezTo>
                  <a:close/>
                  <a:moveTo>
                    <a:pt x="1534" y="75"/>
                  </a:moveTo>
                  <a:cubicBezTo>
                    <a:pt x="1535" y="75"/>
                    <a:pt x="1535" y="75"/>
                    <a:pt x="1535" y="75"/>
                  </a:cubicBezTo>
                  <a:cubicBezTo>
                    <a:pt x="1535" y="75"/>
                    <a:pt x="1534" y="75"/>
                    <a:pt x="1534" y="75"/>
                  </a:cubicBezTo>
                  <a:close/>
                  <a:moveTo>
                    <a:pt x="1548" y="75"/>
                  </a:moveTo>
                  <a:cubicBezTo>
                    <a:pt x="1548" y="75"/>
                    <a:pt x="1548" y="75"/>
                    <a:pt x="1548" y="75"/>
                  </a:cubicBezTo>
                  <a:cubicBezTo>
                    <a:pt x="1548" y="75"/>
                    <a:pt x="1548" y="75"/>
                    <a:pt x="1548" y="75"/>
                  </a:cubicBezTo>
                  <a:close/>
                  <a:moveTo>
                    <a:pt x="873" y="39"/>
                  </a:moveTo>
                  <a:cubicBezTo>
                    <a:pt x="874" y="39"/>
                    <a:pt x="874" y="39"/>
                    <a:pt x="874" y="39"/>
                  </a:cubicBezTo>
                  <a:cubicBezTo>
                    <a:pt x="874" y="39"/>
                    <a:pt x="873" y="39"/>
                    <a:pt x="873" y="39"/>
                  </a:cubicBezTo>
                  <a:close/>
                  <a:moveTo>
                    <a:pt x="1703" y="75"/>
                  </a:moveTo>
                  <a:cubicBezTo>
                    <a:pt x="1703" y="75"/>
                    <a:pt x="1703" y="75"/>
                    <a:pt x="1703" y="75"/>
                  </a:cubicBezTo>
                  <a:cubicBezTo>
                    <a:pt x="1703" y="75"/>
                    <a:pt x="1703" y="75"/>
                    <a:pt x="1703" y="75"/>
                  </a:cubicBezTo>
                  <a:close/>
                  <a:moveTo>
                    <a:pt x="1716" y="75"/>
                  </a:moveTo>
                  <a:cubicBezTo>
                    <a:pt x="1716" y="75"/>
                    <a:pt x="1716" y="75"/>
                    <a:pt x="1716" y="75"/>
                  </a:cubicBezTo>
                  <a:cubicBezTo>
                    <a:pt x="1716" y="75"/>
                    <a:pt x="1716" y="75"/>
                    <a:pt x="1716" y="75"/>
                  </a:cubicBezTo>
                  <a:close/>
                  <a:moveTo>
                    <a:pt x="1041" y="39"/>
                  </a:moveTo>
                  <a:cubicBezTo>
                    <a:pt x="1042" y="39"/>
                    <a:pt x="1042" y="39"/>
                    <a:pt x="1042" y="39"/>
                  </a:cubicBezTo>
                  <a:cubicBezTo>
                    <a:pt x="1042" y="39"/>
                    <a:pt x="1042" y="39"/>
                    <a:pt x="1041" y="39"/>
                  </a:cubicBezTo>
                  <a:close/>
                  <a:moveTo>
                    <a:pt x="1115" y="39"/>
                  </a:moveTo>
                  <a:cubicBezTo>
                    <a:pt x="1115" y="39"/>
                    <a:pt x="1115" y="39"/>
                    <a:pt x="1115" y="39"/>
                  </a:cubicBezTo>
                  <a:cubicBezTo>
                    <a:pt x="1115" y="39"/>
                    <a:pt x="1115" y="39"/>
                    <a:pt x="1115" y="39"/>
                  </a:cubicBezTo>
                  <a:close/>
                  <a:moveTo>
                    <a:pt x="1219" y="39"/>
                  </a:moveTo>
                  <a:cubicBezTo>
                    <a:pt x="1220" y="39"/>
                    <a:pt x="1220" y="39"/>
                    <a:pt x="1220" y="39"/>
                  </a:cubicBezTo>
                  <a:cubicBezTo>
                    <a:pt x="1220" y="39"/>
                    <a:pt x="1219" y="39"/>
                    <a:pt x="1219" y="39"/>
                  </a:cubicBezTo>
                  <a:close/>
                  <a:moveTo>
                    <a:pt x="1293" y="39"/>
                  </a:moveTo>
                  <a:cubicBezTo>
                    <a:pt x="1293" y="39"/>
                    <a:pt x="1293" y="39"/>
                    <a:pt x="1293" y="39"/>
                  </a:cubicBezTo>
                  <a:cubicBezTo>
                    <a:pt x="1293" y="39"/>
                    <a:pt x="1293" y="39"/>
                    <a:pt x="1293" y="39"/>
                  </a:cubicBezTo>
                  <a:close/>
                  <a:moveTo>
                    <a:pt x="1350" y="75"/>
                  </a:moveTo>
                  <a:cubicBezTo>
                    <a:pt x="1350" y="75"/>
                    <a:pt x="1350" y="75"/>
                    <a:pt x="1350" y="75"/>
                  </a:cubicBezTo>
                  <a:cubicBezTo>
                    <a:pt x="1350" y="75"/>
                    <a:pt x="1350" y="75"/>
                    <a:pt x="1350" y="75"/>
                  </a:cubicBezTo>
                  <a:close/>
                  <a:moveTo>
                    <a:pt x="663" y="40"/>
                  </a:moveTo>
                  <a:cubicBezTo>
                    <a:pt x="664" y="40"/>
                    <a:pt x="664" y="39"/>
                    <a:pt x="664" y="39"/>
                  </a:cubicBezTo>
                  <a:cubicBezTo>
                    <a:pt x="664" y="39"/>
                    <a:pt x="664" y="39"/>
                    <a:pt x="663" y="40"/>
                  </a:cubicBezTo>
                  <a:close/>
                  <a:moveTo>
                    <a:pt x="759" y="40"/>
                  </a:moveTo>
                  <a:cubicBezTo>
                    <a:pt x="759" y="40"/>
                    <a:pt x="759" y="39"/>
                    <a:pt x="759" y="39"/>
                  </a:cubicBezTo>
                  <a:cubicBezTo>
                    <a:pt x="759" y="39"/>
                    <a:pt x="759" y="39"/>
                    <a:pt x="759" y="40"/>
                  </a:cubicBezTo>
                  <a:close/>
                  <a:moveTo>
                    <a:pt x="797" y="39"/>
                  </a:moveTo>
                  <a:cubicBezTo>
                    <a:pt x="797" y="39"/>
                    <a:pt x="797" y="40"/>
                    <a:pt x="797" y="40"/>
                  </a:cubicBezTo>
                  <a:cubicBezTo>
                    <a:pt x="797" y="39"/>
                    <a:pt x="797" y="39"/>
                    <a:pt x="797" y="39"/>
                  </a:cubicBezTo>
                  <a:close/>
                  <a:moveTo>
                    <a:pt x="832" y="40"/>
                  </a:moveTo>
                  <a:cubicBezTo>
                    <a:pt x="832" y="40"/>
                    <a:pt x="832" y="39"/>
                    <a:pt x="832" y="39"/>
                  </a:cubicBezTo>
                  <a:cubicBezTo>
                    <a:pt x="832" y="39"/>
                    <a:pt x="832" y="39"/>
                    <a:pt x="832" y="40"/>
                  </a:cubicBezTo>
                  <a:close/>
                  <a:moveTo>
                    <a:pt x="873" y="40"/>
                  </a:moveTo>
                  <a:cubicBezTo>
                    <a:pt x="873" y="40"/>
                    <a:pt x="873" y="39"/>
                    <a:pt x="873" y="39"/>
                  </a:cubicBezTo>
                  <a:cubicBezTo>
                    <a:pt x="873" y="39"/>
                    <a:pt x="873" y="39"/>
                    <a:pt x="873" y="40"/>
                  </a:cubicBezTo>
                  <a:close/>
                  <a:moveTo>
                    <a:pt x="1115" y="40"/>
                  </a:moveTo>
                  <a:cubicBezTo>
                    <a:pt x="1115" y="40"/>
                    <a:pt x="1115" y="39"/>
                    <a:pt x="1115" y="39"/>
                  </a:cubicBezTo>
                  <a:cubicBezTo>
                    <a:pt x="1115" y="39"/>
                    <a:pt x="1115" y="39"/>
                    <a:pt x="1115" y="40"/>
                  </a:cubicBezTo>
                  <a:close/>
                  <a:moveTo>
                    <a:pt x="682" y="76"/>
                  </a:moveTo>
                  <a:cubicBezTo>
                    <a:pt x="682" y="75"/>
                    <a:pt x="682" y="75"/>
                    <a:pt x="682" y="75"/>
                  </a:cubicBezTo>
                  <a:cubicBezTo>
                    <a:pt x="682" y="76"/>
                    <a:pt x="682" y="76"/>
                    <a:pt x="682" y="76"/>
                  </a:cubicBezTo>
                  <a:close/>
                  <a:moveTo>
                    <a:pt x="698" y="75"/>
                  </a:moveTo>
                  <a:cubicBezTo>
                    <a:pt x="698" y="76"/>
                    <a:pt x="698" y="76"/>
                    <a:pt x="698" y="76"/>
                  </a:cubicBezTo>
                  <a:cubicBezTo>
                    <a:pt x="698" y="76"/>
                    <a:pt x="698" y="76"/>
                    <a:pt x="698" y="75"/>
                  </a:cubicBezTo>
                  <a:close/>
                  <a:moveTo>
                    <a:pt x="1292" y="40"/>
                  </a:moveTo>
                  <a:cubicBezTo>
                    <a:pt x="1293" y="40"/>
                    <a:pt x="1293" y="39"/>
                    <a:pt x="1293" y="39"/>
                  </a:cubicBezTo>
                  <a:cubicBezTo>
                    <a:pt x="1293" y="39"/>
                    <a:pt x="1293" y="39"/>
                    <a:pt x="1292" y="40"/>
                  </a:cubicBezTo>
                  <a:close/>
                  <a:moveTo>
                    <a:pt x="663" y="40"/>
                  </a:moveTo>
                  <a:cubicBezTo>
                    <a:pt x="663" y="40"/>
                    <a:pt x="663" y="40"/>
                    <a:pt x="663" y="40"/>
                  </a:cubicBezTo>
                  <a:cubicBezTo>
                    <a:pt x="663" y="40"/>
                    <a:pt x="663" y="40"/>
                    <a:pt x="663" y="40"/>
                  </a:cubicBezTo>
                  <a:close/>
                  <a:moveTo>
                    <a:pt x="1350" y="76"/>
                  </a:moveTo>
                  <a:cubicBezTo>
                    <a:pt x="1350" y="76"/>
                    <a:pt x="1350" y="76"/>
                    <a:pt x="1350" y="75"/>
                  </a:cubicBezTo>
                  <a:cubicBezTo>
                    <a:pt x="1350" y="76"/>
                    <a:pt x="1350" y="76"/>
                    <a:pt x="1350" y="76"/>
                  </a:cubicBezTo>
                  <a:close/>
                  <a:moveTo>
                    <a:pt x="1363" y="75"/>
                  </a:moveTo>
                  <a:cubicBezTo>
                    <a:pt x="1363" y="75"/>
                    <a:pt x="1362" y="76"/>
                    <a:pt x="1362" y="76"/>
                  </a:cubicBezTo>
                  <a:cubicBezTo>
                    <a:pt x="1363" y="76"/>
                    <a:pt x="1363" y="76"/>
                    <a:pt x="1363" y="75"/>
                  </a:cubicBezTo>
                  <a:close/>
                  <a:moveTo>
                    <a:pt x="758" y="40"/>
                  </a:moveTo>
                  <a:cubicBezTo>
                    <a:pt x="759" y="40"/>
                    <a:pt x="759" y="40"/>
                    <a:pt x="759" y="40"/>
                  </a:cubicBezTo>
                  <a:cubicBezTo>
                    <a:pt x="759" y="40"/>
                    <a:pt x="759" y="40"/>
                    <a:pt x="758" y="40"/>
                  </a:cubicBezTo>
                  <a:close/>
                  <a:moveTo>
                    <a:pt x="797" y="40"/>
                  </a:moveTo>
                  <a:cubicBezTo>
                    <a:pt x="797" y="40"/>
                    <a:pt x="797" y="40"/>
                    <a:pt x="797" y="40"/>
                  </a:cubicBezTo>
                  <a:cubicBezTo>
                    <a:pt x="797" y="40"/>
                    <a:pt x="797" y="40"/>
                    <a:pt x="797" y="40"/>
                  </a:cubicBezTo>
                  <a:close/>
                  <a:moveTo>
                    <a:pt x="832" y="40"/>
                  </a:moveTo>
                  <a:cubicBezTo>
                    <a:pt x="832" y="40"/>
                    <a:pt x="832" y="40"/>
                    <a:pt x="832" y="40"/>
                  </a:cubicBezTo>
                  <a:cubicBezTo>
                    <a:pt x="832" y="40"/>
                    <a:pt x="832" y="40"/>
                    <a:pt x="832" y="40"/>
                  </a:cubicBezTo>
                  <a:close/>
                  <a:moveTo>
                    <a:pt x="873" y="40"/>
                  </a:moveTo>
                  <a:cubicBezTo>
                    <a:pt x="873" y="40"/>
                    <a:pt x="873" y="40"/>
                    <a:pt x="873" y="40"/>
                  </a:cubicBezTo>
                  <a:cubicBezTo>
                    <a:pt x="873" y="40"/>
                    <a:pt x="873" y="40"/>
                    <a:pt x="873" y="40"/>
                  </a:cubicBezTo>
                  <a:close/>
                  <a:moveTo>
                    <a:pt x="907" y="40"/>
                  </a:moveTo>
                  <a:cubicBezTo>
                    <a:pt x="907" y="40"/>
                    <a:pt x="907" y="40"/>
                    <a:pt x="907" y="40"/>
                  </a:cubicBezTo>
                  <a:cubicBezTo>
                    <a:pt x="907" y="40"/>
                    <a:pt x="907" y="40"/>
                    <a:pt x="907" y="40"/>
                  </a:cubicBezTo>
                  <a:close/>
                  <a:moveTo>
                    <a:pt x="1114" y="40"/>
                  </a:moveTo>
                  <a:cubicBezTo>
                    <a:pt x="1114" y="40"/>
                    <a:pt x="1115" y="40"/>
                    <a:pt x="1115" y="40"/>
                  </a:cubicBezTo>
                  <a:cubicBezTo>
                    <a:pt x="1114" y="40"/>
                    <a:pt x="1114" y="40"/>
                    <a:pt x="1114" y="40"/>
                  </a:cubicBezTo>
                  <a:close/>
                  <a:moveTo>
                    <a:pt x="1292" y="40"/>
                  </a:moveTo>
                  <a:cubicBezTo>
                    <a:pt x="1292" y="40"/>
                    <a:pt x="1292" y="40"/>
                    <a:pt x="1292" y="40"/>
                  </a:cubicBezTo>
                  <a:cubicBezTo>
                    <a:pt x="1292" y="40"/>
                    <a:pt x="1292" y="40"/>
                    <a:pt x="1292" y="40"/>
                  </a:cubicBezTo>
                  <a:close/>
                  <a:moveTo>
                    <a:pt x="1362" y="76"/>
                  </a:moveTo>
                  <a:cubicBezTo>
                    <a:pt x="1362" y="76"/>
                    <a:pt x="1362" y="76"/>
                    <a:pt x="1362" y="76"/>
                  </a:cubicBezTo>
                  <a:cubicBezTo>
                    <a:pt x="1362" y="76"/>
                    <a:pt x="1362" y="76"/>
                    <a:pt x="1362" y="76"/>
                  </a:cubicBezTo>
                  <a:close/>
                  <a:moveTo>
                    <a:pt x="663" y="40"/>
                  </a:moveTo>
                  <a:cubicBezTo>
                    <a:pt x="663" y="40"/>
                    <a:pt x="663" y="40"/>
                    <a:pt x="663" y="40"/>
                  </a:cubicBezTo>
                  <a:cubicBezTo>
                    <a:pt x="663" y="40"/>
                    <a:pt x="663" y="40"/>
                    <a:pt x="663" y="40"/>
                  </a:cubicBezTo>
                  <a:close/>
                  <a:moveTo>
                    <a:pt x="758" y="40"/>
                  </a:moveTo>
                  <a:cubicBezTo>
                    <a:pt x="758" y="40"/>
                    <a:pt x="758" y="40"/>
                    <a:pt x="758" y="40"/>
                  </a:cubicBezTo>
                  <a:cubicBezTo>
                    <a:pt x="758" y="40"/>
                    <a:pt x="758" y="40"/>
                    <a:pt x="758" y="40"/>
                  </a:cubicBezTo>
                  <a:close/>
                  <a:moveTo>
                    <a:pt x="797" y="40"/>
                  </a:moveTo>
                  <a:cubicBezTo>
                    <a:pt x="797" y="40"/>
                    <a:pt x="798" y="40"/>
                    <a:pt x="798" y="40"/>
                  </a:cubicBezTo>
                  <a:cubicBezTo>
                    <a:pt x="798" y="40"/>
                    <a:pt x="798" y="40"/>
                    <a:pt x="797" y="40"/>
                  </a:cubicBezTo>
                  <a:close/>
                  <a:moveTo>
                    <a:pt x="831" y="40"/>
                  </a:moveTo>
                  <a:cubicBezTo>
                    <a:pt x="831" y="40"/>
                    <a:pt x="832" y="40"/>
                    <a:pt x="832" y="40"/>
                  </a:cubicBezTo>
                  <a:cubicBezTo>
                    <a:pt x="831" y="40"/>
                    <a:pt x="831" y="40"/>
                    <a:pt x="831" y="40"/>
                  </a:cubicBezTo>
                  <a:close/>
                  <a:moveTo>
                    <a:pt x="872" y="40"/>
                  </a:moveTo>
                  <a:cubicBezTo>
                    <a:pt x="873" y="40"/>
                    <a:pt x="873" y="40"/>
                    <a:pt x="873" y="40"/>
                  </a:cubicBezTo>
                  <a:cubicBezTo>
                    <a:pt x="873" y="40"/>
                    <a:pt x="872" y="40"/>
                    <a:pt x="872" y="40"/>
                  </a:cubicBezTo>
                  <a:close/>
                  <a:moveTo>
                    <a:pt x="907" y="40"/>
                  </a:moveTo>
                  <a:cubicBezTo>
                    <a:pt x="907" y="40"/>
                    <a:pt x="908" y="40"/>
                    <a:pt x="908" y="40"/>
                  </a:cubicBezTo>
                  <a:cubicBezTo>
                    <a:pt x="908" y="40"/>
                    <a:pt x="908" y="40"/>
                    <a:pt x="907" y="40"/>
                  </a:cubicBezTo>
                  <a:close/>
                  <a:moveTo>
                    <a:pt x="1114" y="40"/>
                  </a:moveTo>
                  <a:cubicBezTo>
                    <a:pt x="1114" y="40"/>
                    <a:pt x="1114" y="40"/>
                    <a:pt x="1114" y="40"/>
                  </a:cubicBezTo>
                  <a:cubicBezTo>
                    <a:pt x="1114" y="40"/>
                    <a:pt x="1114" y="40"/>
                    <a:pt x="1114" y="40"/>
                  </a:cubicBezTo>
                  <a:close/>
                  <a:moveTo>
                    <a:pt x="1362" y="76"/>
                  </a:moveTo>
                  <a:cubicBezTo>
                    <a:pt x="1362" y="76"/>
                    <a:pt x="1362" y="76"/>
                    <a:pt x="1362" y="76"/>
                  </a:cubicBezTo>
                  <a:cubicBezTo>
                    <a:pt x="1362" y="76"/>
                    <a:pt x="1362" y="76"/>
                    <a:pt x="1362" y="76"/>
                  </a:cubicBezTo>
                  <a:close/>
                  <a:moveTo>
                    <a:pt x="1149" y="40"/>
                  </a:moveTo>
                  <a:cubicBezTo>
                    <a:pt x="1149" y="40"/>
                    <a:pt x="1149" y="40"/>
                    <a:pt x="1150" y="40"/>
                  </a:cubicBezTo>
                  <a:cubicBezTo>
                    <a:pt x="1150" y="40"/>
                    <a:pt x="1149" y="40"/>
                    <a:pt x="1149" y="40"/>
                  </a:cubicBezTo>
                  <a:close/>
                  <a:moveTo>
                    <a:pt x="1533" y="77"/>
                  </a:moveTo>
                  <a:cubicBezTo>
                    <a:pt x="1534" y="76"/>
                    <a:pt x="1534" y="76"/>
                    <a:pt x="1534" y="76"/>
                  </a:cubicBezTo>
                  <a:cubicBezTo>
                    <a:pt x="1534" y="76"/>
                    <a:pt x="1533" y="76"/>
                    <a:pt x="1533" y="77"/>
                  </a:cubicBezTo>
                  <a:close/>
                  <a:moveTo>
                    <a:pt x="1546" y="76"/>
                  </a:moveTo>
                  <a:cubicBezTo>
                    <a:pt x="1546" y="76"/>
                    <a:pt x="1546" y="76"/>
                    <a:pt x="1546" y="76"/>
                  </a:cubicBezTo>
                  <a:cubicBezTo>
                    <a:pt x="1546" y="76"/>
                    <a:pt x="1546" y="76"/>
                    <a:pt x="1546" y="76"/>
                  </a:cubicBezTo>
                  <a:close/>
                  <a:moveTo>
                    <a:pt x="1218" y="40"/>
                  </a:moveTo>
                  <a:cubicBezTo>
                    <a:pt x="1218" y="40"/>
                    <a:pt x="1218" y="40"/>
                    <a:pt x="1218" y="40"/>
                  </a:cubicBezTo>
                  <a:cubicBezTo>
                    <a:pt x="1218" y="40"/>
                    <a:pt x="1218" y="40"/>
                    <a:pt x="1218" y="40"/>
                  </a:cubicBezTo>
                  <a:close/>
                  <a:moveTo>
                    <a:pt x="662" y="41"/>
                  </a:moveTo>
                  <a:cubicBezTo>
                    <a:pt x="663" y="41"/>
                    <a:pt x="663" y="41"/>
                    <a:pt x="663" y="40"/>
                  </a:cubicBezTo>
                  <a:cubicBezTo>
                    <a:pt x="663" y="40"/>
                    <a:pt x="662" y="40"/>
                    <a:pt x="662" y="41"/>
                  </a:cubicBezTo>
                  <a:close/>
                  <a:moveTo>
                    <a:pt x="1701" y="77"/>
                  </a:moveTo>
                  <a:cubicBezTo>
                    <a:pt x="1702" y="76"/>
                    <a:pt x="1702" y="76"/>
                    <a:pt x="1702" y="76"/>
                  </a:cubicBezTo>
                  <a:cubicBezTo>
                    <a:pt x="1702" y="76"/>
                    <a:pt x="1702" y="76"/>
                    <a:pt x="1701" y="77"/>
                  </a:cubicBezTo>
                  <a:close/>
                  <a:moveTo>
                    <a:pt x="1714" y="76"/>
                  </a:moveTo>
                  <a:cubicBezTo>
                    <a:pt x="1714" y="76"/>
                    <a:pt x="1714" y="76"/>
                    <a:pt x="1714" y="76"/>
                  </a:cubicBezTo>
                  <a:cubicBezTo>
                    <a:pt x="1714" y="76"/>
                    <a:pt x="1714" y="76"/>
                    <a:pt x="1714" y="76"/>
                  </a:cubicBezTo>
                  <a:close/>
                  <a:moveTo>
                    <a:pt x="684" y="77"/>
                  </a:moveTo>
                  <a:cubicBezTo>
                    <a:pt x="684" y="77"/>
                    <a:pt x="683" y="76"/>
                    <a:pt x="683" y="76"/>
                  </a:cubicBezTo>
                  <a:cubicBezTo>
                    <a:pt x="683" y="77"/>
                    <a:pt x="684" y="77"/>
                    <a:pt x="684" y="77"/>
                  </a:cubicBezTo>
                  <a:close/>
                  <a:moveTo>
                    <a:pt x="967" y="76"/>
                  </a:moveTo>
                  <a:cubicBezTo>
                    <a:pt x="967" y="77"/>
                    <a:pt x="967" y="77"/>
                    <a:pt x="968" y="77"/>
                  </a:cubicBezTo>
                  <a:cubicBezTo>
                    <a:pt x="968" y="77"/>
                    <a:pt x="968" y="77"/>
                    <a:pt x="967" y="76"/>
                  </a:cubicBezTo>
                  <a:close/>
                  <a:moveTo>
                    <a:pt x="758" y="41"/>
                  </a:moveTo>
                  <a:cubicBezTo>
                    <a:pt x="758" y="41"/>
                    <a:pt x="758" y="40"/>
                    <a:pt x="758" y="40"/>
                  </a:cubicBezTo>
                  <a:cubicBezTo>
                    <a:pt x="758" y="40"/>
                    <a:pt x="758" y="40"/>
                    <a:pt x="758" y="41"/>
                  </a:cubicBezTo>
                  <a:close/>
                  <a:moveTo>
                    <a:pt x="798" y="40"/>
                  </a:moveTo>
                  <a:cubicBezTo>
                    <a:pt x="798" y="40"/>
                    <a:pt x="798" y="41"/>
                    <a:pt x="798" y="41"/>
                  </a:cubicBezTo>
                  <a:cubicBezTo>
                    <a:pt x="798" y="40"/>
                    <a:pt x="798" y="40"/>
                    <a:pt x="798" y="40"/>
                  </a:cubicBezTo>
                  <a:close/>
                  <a:moveTo>
                    <a:pt x="1349" y="77"/>
                  </a:moveTo>
                  <a:cubicBezTo>
                    <a:pt x="1349" y="77"/>
                    <a:pt x="1349" y="77"/>
                    <a:pt x="1349" y="76"/>
                  </a:cubicBezTo>
                  <a:cubicBezTo>
                    <a:pt x="1349" y="77"/>
                    <a:pt x="1349" y="77"/>
                    <a:pt x="1349" y="77"/>
                  </a:cubicBezTo>
                  <a:close/>
                  <a:moveTo>
                    <a:pt x="1362" y="76"/>
                  </a:moveTo>
                  <a:cubicBezTo>
                    <a:pt x="1361" y="76"/>
                    <a:pt x="1361" y="77"/>
                    <a:pt x="1361" y="77"/>
                  </a:cubicBezTo>
                  <a:cubicBezTo>
                    <a:pt x="1361" y="77"/>
                    <a:pt x="1362" y="77"/>
                    <a:pt x="1362" y="76"/>
                  </a:cubicBezTo>
                  <a:close/>
                  <a:moveTo>
                    <a:pt x="1533" y="77"/>
                  </a:moveTo>
                  <a:cubicBezTo>
                    <a:pt x="1533" y="77"/>
                    <a:pt x="1533" y="77"/>
                    <a:pt x="1533" y="76"/>
                  </a:cubicBezTo>
                  <a:cubicBezTo>
                    <a:pt x="1533" y="77"/>
                    <a:pt x="1533" y="77"/>
                    <a:pt x="1533" y="77"/>
                  </a:cubicBezTo>
                  <a:close/>
                  <a:moveTo>
                    <a:pt x="1546" y="76"/>
                  </a:moveTo>
                  <a:cubicBezTo>
                    <a:pt x="1546" y="76"/>
                    <a:pt x="1546" y="77"/>
                    <a:pt x="1545" y="77"/>
                  </a:cubicBezTo>
                  <a:cubicBezTo>
                    <a:pt x="1546" y="77"/>
                    <a:pt x="1546" y="77"/>
                    <a:pt x="1546" y="76"/>
                  </a:cubicBezTo>
                  <a:close/>
                  <a:moveTo>
                    <a:pt x="1701" y="77"/>
                  </a:moveTo>
                  <a:cubicBezTo>
                    <a:pt x="1701" y="77"/>
                    <a:pt x="1701" y="77"/>
                    <a:pt x="1701" y="76"/>
                  </a:cubicBezTo>
                  <a:cubicBezTo>
                    <a:pt x="1701" y="77"/>
                    <a:pt x="1701" y="77"/>
                    <a:pt x="1701" y="77"/>
                  </a:cubicBezTo>
                  <a:close/>
                  <a:moveTo>
                    <a:pt x="1714" y="76"/>
                  </a:moveTo>
                  <a:cubicBezTo>
                    <a:pt x="1714" y="76"/>
                    <a:pt x="1714" y="77"/>
                    <a:pt x="1714" y="77"/>
                  </a:cubicBezTo>
                  <a:cubicBezTo>
                    <a:pt x="1714" y="77"/>
                    <a:pt x="1714" y="77"/>
                    <a:pt x="1714" y="76"/>
                  </a:cubicBezTo>
                  <a:close/>
                  <a:moveTo>
                    <a:pt x="865" y="40"/>
                  </a:moveTo>
                  <a:cubicBezTo>
                    <a:pt x="865" y="40"/>
                    <a:pt x="865" y="41"/>
                    <a:pt x="865" y="41"/>
                  </a:cubicBezTo>
                  <a:cubicBezTo>
                    <a:pt x="865" y="41"/>
                    <a:pt x="865" y="40"/>
                    <a:pt x="865" y="40"/>
                  </a:cubicBezTo>
                  <a:close/>
                  <a:moveTo>
                    <a:pt x="872" y="41"/>
                  </a:moveTo>
                  <a:cubicBezTo>
                    <a:pt x="872" y="41"/>
                    <a:pt x="872" y="40"/>
                    <a:pt x="872" y="40"/>
                  </a:cubicBezTo>
                  <a:cubicBezTo>
                    <a:pt x="872" y="40"/>
                    <a:pt x="872" y="41"/>
                    <a:pt x="872" y="41"/>
                  </a:cubicBezTo>
                  <a:close/>
                  <a:moveTo>
                    <a:pt x="1040" y="41"/>
                  </a:moveTo>
                  <a:cubicBezTo>
                    <a:pt x="1040" y="41"/>
                    <a:pt x="1040" y="41"/>
                    <a:pt x="1040" y="40"/>
                  </a:cubicBezTo>
                  <a:cubicBezTo>
                    <a:pt x="1040" y="40"/>
                    <a:pt x="1040" y="40"/>
                    <a:pt x="1040" y="41"/>
                  </a:cubicBezTo>
                  <a:close/>
                  <a:moveTo>
                    <a:pt x="1114" y="41"/>
                  </a:moveTo>
                  <a:cubicBezTo>
                    <a:pt x="1114" y="41"/>
                    <a:pt x="1114" y="40"/>
                    <a:pt x="1114" y="40"/>
                  </a:cubicBezTo>
                  <a:cubicBezTo>
                    <a:pt x="1114" y="40"/>
                    <a:pt x="1114" y="40"/>
                    <a:pt x="1114" y="41"/>
                  </a:cubicBezTo>
                  <a:close/>
                  <a:moveTo>
                    <a:pt x="1150" y="40"/>
                  </a:moveTo>
                  <a:cubicBezTo>
                    <a:pt x="1150" y="40"/>
                    <a:pt x="1150" y="41"/>
                    <a:pt x="1150" y="41"/>
                  </a:cubicBezTo>
                  <a:cubicBezTo>
                    <a:pt x="1150" y="40"/>
                    <a:pt x="1150" y="40"/>
                    <a:pt x="1150" y="40"/>
                  </a:cubicBezTo>
                  <a:close/>
                  <a:moveTo>
                    <a:pt x="1218" y="41"/>
                  </a:moveTo>
                  <a:cubicBezTo>
                    <a:pt x="1218" y="41"/>
                    <a:pt x="1218" y="41"/>
                    <a:pt x="1218" y="40"/>
                  </a:cubicBezTo>
                  <a:cubicBezTo>
                    <a:pt x="1218" y="40"/>
                    <a:pt x="1218" y="40"/>
                    <a:pt x="1218" y="41"/>
                  </a:cubicBezTo>
                  <a:close/>
                  <a:moveTo>
                    <a:pt x="1349" y="77"/>
                  </a:moveTo>
                  <a:cubicBezTo>
                    <a:pt x="1349" y="77"/>
                    <a:pt x="1349" y="77"/>
                    <a:pt x="1349" y="77"/>
                  </a:cubicBezTo>
                  <a:cubicBezTo>
                    <a:pt x="1349" y="77"/>
                    <a:pt x="1349" y="77"/>
                    <a:pt x="1349" y="77"/>
                  </a:cubicBezTo>
                  <a:close/>
                  <a:moveTo>
                    <a:pt x="1361" y="77"/>
                  </a:moveTo>
                  <a:cubicBezTo>
                    <a:pt x="1361" y="77"/>
                    <a:pt x="1361" y="77"/>
                    <a:pt x="1361" y="77"/>
                  </a:cubicBezTo>
                  <a:cubicBezTo>
                    <a:pt x="1361" y="77"/>
                    <a:pt x="1361" y="77"/>
                    <a:pt x="1361" y="77"/>
                  </a:cubicBezTo>
                  <a:close/>
                  <a:moveTo>
                    <a:pt x="552" y="41"/>
                  </a:moveTo>
                  <a:cubicBezTo>
                    <a:pt x="552" y="41"/>
                    <a:pt x="553" y="41"/>
                    <a:pt x="553" y="41"/>
                  </a:cubicBezTo>
                  <a:cubicBezTo>
                    <a:pt x="553" y="41"/>
                    <a:pt x="553" y="41"/>
                    <a:pt x="552" y="41"/>
                  </a:cubicBezTo>
                  <a:close/>
                  <a:moveTo>
                    <a:pt x="1545" y="77"/>
                  </a:moveTo>
                  <a:cubicBezTo>
                    <a:pt x="1545" y="77"/>
                    <a:pt x="1545" y="77"/>
                    <a:pt x="1545" y="77"/>
                  </a:cubicBezTo>
                  <a:cubicBezTo>
                    <a:pt x="1545" y="77"/>
                    <a:pt x="1545" y="77"/>
                    <a:pt x="1545" y="77"/>
                  </a:cubicBezTo>
                  <a:close/>
                  <a:moveTo>
                    <a:pt x="757" y="41"/>
                  </a:moveTo>
                  <a:cubicBezTo>
                    <a:pt x="758" y="41"/>
                    <a:pt x="758" y="41"/>
                    <a:pt x="758" y="41"/>
                  </a:cubicBezTo>
                  <a:cubicBezTo>
                    <a:pt x="758" y="41"/>
                    <a:pt x="758" y="41"/>
                    <a:pt x="757" y="41"/>
                  </a:cubicBezTo>
                  <a:close/>
                  <a:moveTo>
                    <a:pt x="798" y="41"/>
                  </a:moveTo>
                  <a:cubicBezTo>
                    <a:pt x="798" y="41"/>
                    <a:pt x="798" y="41"/>
                    <a:pt x="798" y="41"/>
                  </a:cubicBezTo>
                  <a:cubicBezTo>
                    <a:pt x="798" y="41"/>
                    <a:pt x="798" y="41"/>
                    <a:pt x="798" y="41"/>
                  </a:cubicBezTo>
                  <a:close/>
                  <a:moveTo>
                    <a:pt x="872" y="41"/>
                  </a:moveTo>
                  <a:cubicBezTo>
                    <a:pt x="872" y="41"/>
                    <a:pt x="872" y="41"/>
                    <a:pt x="872" y="41"/>
                  </a:cubicBezTo>
                  <a:cubicBezTo>
                    <a:pt x="872" y="41"/>
                    <a:pt x="872" y="41"/>
                    <a:pt x="872" y="41"/>
                  </a:cubicBezTo>
                  <a:close/>
                  <a:moveTo>
                    <a:pt x="1714" y="77"/>
                  </a:moveTo>
                  <a:cubicBezTo>
                    <a:pt x="1713" y="77"/>
                    <a:pt x="1713" y="77"/>
                    <a:pt x="1713" y="77"/>
                  </a:cubicBezTo>
                  <a:cubicBezTo>
                    <a:pt x="1713" y="77"/>
                    <a:pt x="1713" y="77"/>
                    <a:pt x="1714" y="77"/>
                  </a:cubicBezTo>
                  <a:close/>
                  <a:moveTo>
                    <a:pt x="1039" y="41"/>
                  </a:moveTo>
                  <a:cubicBezTo>
                    <a:pt x="1040" y="41"/>
                    <a:pt x="1040" y="41"/>
                    <a:pt x="1040" y="41"/>
                  </a:cubicBezTo>
                  <a:cubicBezTo>
                    <a:pt x="1040" y="41"/>
                    <a:pt x="1039" y="41"/>
                    <a:pt x="1039" y="41"/>
                  </a:cubicBezTo>
                  <a:close/>
                  <a:moveTo>
                    <a:pt x="1113" y="41"/>
                  </a:moveTo>
                  <a:cubicBezTo>
                    <a:pt x="1113" y="41"/>
                    <a:pt x="1114" y="41"/>
                    <a:pt x="1114" y="41"/>
                  </a:cubicBezTo>
                  <a:cubicBezTo>
                    <a:pt x="1113" y="41"/>
                    <a:pt x="1113" y="41"/>
                    <a:pt x="1113" y="41"/>
                  </a:cubicBezTo>
                  <a:close/>
                  <a:moveTo>
                    <a:pt x="685" y="77"/>
                  </a:moveTo>
                  <a:cubicBezTo>
                    <a:pt x="685" y="77"/>
                    <a:pt x="685" y="77"/>
                    <a:pt x="684" y="77"/>
                  </a:cubicBezTo>
                  <a:cubicBezTo>
                    <a:pt x="684" y="77"/>
                    <a:pt x="685" y="77"/>
                    <a:pt x="685" y="77"/>
                  </a:cubicBezTo>
                  <a:close/>
                  <a:moveTo>
                    <a:pt x="1217" y="41"/>
                  </a:moveTo>
                  <a:cubicBezTo>
                    <a:pt x="1217" y="41"/>
                    <a:pt x="1218" y="41"/>
                    <a:pt x="1218" y="41"/>
                  </a:cubicBezTo>
                  <a:cubicBezTo>
                    <a:pt x="1217" y="41"/>
                    <a:pt x="1217" y="41"/>
                    <a:pt x="1217" y="41"/>
                  </a:cubicBezTo>
                  <a:close/>
                  <a:moveTo>
                    <a:pt x="1258" y="41"/>
                  </a:moveTo>
                  <a:cubicBezTo>
                    <a:pt x="1258" y="41"/>
                    <a:pt x="1258" y="41"/>
                    <a:pt x="1258" y="41"/>
                  </a:cubicBezTo>
                  <a:cubicBezTo>
                    <a:pt x="1258" y="41"/>
                    <a:pt x="1258" y="41"/>
                    <a:pt x="1258" y="41"/>
                  </a:cubicBezTo>
                  <a:close/>
                  <a:moveTo>
                    <a:pt x="1361" y="77"/>
                  </a:moveTo>
                  <a:cubicBezTo>
                    <a:pt x="1361" y="77"/>
                    <a:pt x="1361" y="77"/>
                    <a:pt x="1361" y="77"/>
                  </a:cubicBezTo>
                  <a:cubicBezTo>
                    <a:pt x="1361" y="77"/>
                    <a:pt x="1361" y="77"/>
                    <a:pt x="1361" y="77"/>
                  </a:cubicBezTo>
                  <a:close/>
                  <a:moveTo>
                    <a:pt x="1291" y="41"/>
                  </a:moveTo>
                  <a:cubicBezTo>
                    <a:pt x="1292" y="41"/>
                    <a:pt x="1292" y="41"/>
                    <a:pt x="1292" y="41"/>
                  </a:cubicBezTo>
                  <a:cubicBezTo>
                    <a:pt x="1292" y="41"/>
                    <a:pt x="1292" y="41"/>
                    <a:pt x="1291" y="41"/>
                  </a:cubicBezTo>
                  <a:close/>
                  <a:moveTo>
                    <a:pt x="1545" y="77"/>
                  </a:moveTo>
                  <a:cubicBezTo>
                    <a:pt x="1545" y="77"/>
                    <a:pt x="1545" y="77"/>
                    <a:pt x="1545" y="77"/>
                  </a:cubicBezTo>
                  <a:cubicBezTo>
                    <a:pt x="1545" y="77"/>
                    <a:pt x="1545" y="77"/>
                    <a:pt x="1545" y="77"/>
                  </a:cubicBezTo>
                  <a:close/>
                  <a:moveTo>
                    <a:pt x="1713" y="77"/>
                  </a:moveTo>
                  <a:cubicBezTo>
                    <a:pt x="1713" y="77"/>
                    <a:pt x="1713" y="77"/>
                    <a:pt x="1713" y="77"/>
                  </a:cubicBezTo>
                  <a:cubicBezTo>
                    <a:pt x="1713" y="77"/>
                    <a:pt x="1713" y="77"/>
                    <a:pt x="1713" y="77"/>
                  </a:cubicBezTo>
                  <a:close/>
                  <a:moveTo>
                    <a:pt x="553" y="41"/>
                  </a:moveTo>
                  <a:cubicBezTo>
                    <a:pt x="553" y="41"/>
                    <a:pt x="553" y="41"/>
                    <a:pt x="553" y="41"/>
                  </a:cubicBezTo>
                  <a:cubicBezTo>
                    <a:pt x="553" y="41"/>
                    <a:pt x="553" y="41"/>
                    <a:pt x="553" y="41"/>
                  </a:cubicBezTo>
                  <a:close/>
                  <a:moveTo>
                    <a:pt x="757" y="41"/>
                  </a:moveTo>
                  <a:cubicBezTo>
                    <a:pt x="757" y="41"/>
                    <a:pt x="757" y="41"/>
                    <a:pt x="757" y="41"/>
                  </a:cubicBezTo>
                  <a:cubicBezTo>
                    <a:pt x="757" y="41"/>
                    <a:pt x="757" y="41"/>
                    <a:pt x="757" y="41"/>
                  </a:cubicBezTo>
                  <a:close/>
                  <a:moveTo>
                    <a:pt x="798" y="41"/>
                  </a:moveTo>
                  <a:cubicBezTo>
                    <a:pt x="798" y="41"/>
                    <a:pt x="799" y="41"/>
                    <a:pt x="799" y="41"/>
                  </a:cubicBezTo>
                  <a:cubicBezTo>
                    <a:pt x="799" y="41"/>
                    <a:pt x="799" y="41"/>
                    <a:pt x="798" y="41"/>
                  </a:cubicBezTo>
                  <a:close/>
                  <a:moveTo>
                    <a:pt x="871" y="41"/>
                  </a:moveTo>
                  <a:cubicBezTo>
                    <a:pt x="872" y="41"/>
                    <a:pt x="872" y="41"/>
                    <a:pt x="872" y="41"/>
                  </a:cubicBezTo>
                  <a:cubicBezTo>
                    <a:pt x="871" y="41"/>
                    <a:pt x="871" y="41"/>
                    <a:pt x="871" y="41"/>
                  </a:cubicBezTo>
                  <a:close/>
                  <a:moveTo>
                    <a:pt x="908" y="41"/>
                  </a:moveTo>
                  <a:cubicBezTo>
                    <a:pt x="908" y="41"/>
                    <a:pt x="908" y="41"/>
                    <a:pt x="908" y="41"/>
                  </a:cubicBezTo>
                  <a:cubicBezTo>
                    <a:pt x="908" y="41"/>
                    <a:pt x="908" y="41"/>
                    <a:pt x="908" y="41"/>
                  </a:cubicBezTo>
                  <a:close/>
                  <a:moveTo>
                    <a:pt x="1361" y="77"/>
                  </a:moveTo>
                  <a:cubicBezTo>
                    <a:pt x="1360" y="77"/>
                    <a:pt x="1360" y="78"/>
                    <a:pt x="1360" y="78"/>
                  </a:cubicBezTo>
                  <a:cubicBezTo>
                    <a:pt x="1360" y="78"/>
                    <a:pt x="1361" y="78"/>
                    <a:pt x="1361" y="77"/>
                  </a:cubicBezTo>
                  <a:close/>
                  <a:moveTo>
                    <a:pt x="1039" y="41"/>
                  </a:moveTo>
                  <a:cubicBezTo>
                    <a:pt x="1039" y="41"/>
                    <a:pt x="1039" y="41"/>
                    <a:pt x="1039" y="41"/>
                  </a:cubicBezTo>
                  <a:cubicBezTo>
                    <a:pt x="1039" y="41"/>
                    <a:pt x="1039" y="41"/>
                    <a:pt x="1039" y="41"/>
                  </a:cubicBezTo>
                  <a:close/>
                  <a:moveTo>
                    <a:pt x="1532" y="78"/>
                  </a:moveTo>
                  <a:cubicBezTo>
                    <a:pt x="1533" y="78"/>
                    <a:pt x="1533" y="78"/>
                    <a:pt x="1533" y="77"/>
                  </a:cubicBezTo>
                  <a:cubicBezTo>
                    <a:pt x="1532" y="78"/>
                    <a:pt x="1532" y="78"/>
                    <a:pt x="1532" y="78"/>
                  </a:cubicBezTo>
                  <a:close/>
                  <a:moveTo>
                    <a:pt x="1545" y="77"/>
                  </a:moveTo>
                  <a:cubicBezTo>
                    <a:pt x="1545" y="77"/>
                    <a:pt x="1544" y="78"/>
                    <a:pt x="1544" y="78"/>
                  </a:cubicBezTo>
                  <a:cubicBezTo>
                    <a:pt x="1545" y="78"/>
                    <a:pt x="1545" y="78"/>
                    <a:pt x="1545" y="77"/>
                  </a:cubicBezTo>
                  <a:close/>
                  <a:moveTo>
                    <a:pt x="1080" y="41"/>
                  </a:moveTo>
                  <a:cubicBezTo>
                    <a:pt x="1080" y="41"/>
                    <a:pt x="1081" y="41"/>
                    <a:pt x="1081" y="41"/>
                  </a:cubicBezTo>
                  <a:cubicBezTo>
                    <a:pt x="1081" y="41"/>
                    <a:pt x="1081" y="41"/>
                    <a:pt x="1080" y="41"/>
                  </a:cubicBezTo>
                  <a:close/>
                  <a:moveTo>
                    <a:pt x="1217" y="41"/>
                  </a:moveTo>
                  <a:cubicBezTo>
                    <a:pt x="1217" y="41"/>
                    <a:pt x="1217" y="41"/>
                    <a:pt x="1217" y="41"/>
                  </a:cubicBezTo>
                  <a:cubicBezTo>
                    <a:pt x="1217" y="41"/>
                    <a:pt x="1217" y="41"/>
                    <a:pt x="1217" y="41"/>
                  </a:cubicBezTo>
                  <a:close/>
                  <a:moveTo>
                    <a:pt x="1700" y="78"/>
                  </a:moveTo>
                  <a:cubicBezTo>
                    <a:pt x="1701" y="78"/>
                    <a:pt x="1701" y="78"/>
                    <a:pt x="1701" y="77"/>
                  </a:cubicBezTo>
                  <a:cubicBezTo>
                    <a:pt x="1701" y="78"/>
                    <a:pt x="1700" y="78"/>
                    <a:pt x="1700" y="78"/>
                  </a:cubicBezTo>
                  <a:close/>
                  <a:moveTo>
                    <a:pt x="1713" y="77"/>
                  </a:moveTo>
                  <a:cubicBezTo>
                    <a:pt x="1713" y="77"/>
                    <a:pt x="1713" y="78"/>
                    <a:pt x="1713" y="78"/>
                  </a:cubicBezTo>
                  <a:cubicBezTo>
                    <a:pt x="1713" y="78"/>
                    <a:pt x="1713" y="78"/>
                    <a:pt x="1713" y="77"/>
                  </a:cubicBezTo>
                  <a:close/>
                  <a:moveTo>
                    <a:pt x="1258" y="41"/>
                  </a:moveTo>
                  <a:cubicBezTo>
                    <a:pt x="1258" y="41"/>
                    <a:pt x="1258" y="41"/>
                    <a:pt x="1259" y="41"/>
                  </a:cubicBezTo>
                  <a:cubicBezTo>
                    <a:pt x="1259" y="41"/>
                    <a:pt x="1258" y="41"/>
                    <a:pt x="1258" y="41"/>
                  </a:cubicBezTo>
                  <a:close/>
                  <a:moveTo>
                    <a:pt x="553" y="41"/>
                  </a:moveTo>
                  <a:cubicBezTo>
                    <a:pt x="553" y="41"/>
                    <a:pt x="553" y="42"/>
                    <a:pt x="553" y="42"/>
                  </a:cubicBezTo>
                  <a:cubicBezTo>
                    <a:pt x="553" y="42"/>
                    <a:pt x="553" y="41"/>
                    <a:pt x="553" y="41"/>
                  </a:cubicBezTo>
                  <a:close/>
                  <a:moveTo>
                    <a:pt x="662" y="42"/>
                  </a:moveTo>
                  <a:cubicBezTo>
                    <a:pt x="662" y="42"/>
                    <a:pt x="662" y="41"/>
                    <a:pt x="662" y="41"/>
                  </a:cubicBezTo>
                  <a:cubicBezTo>
                    <a:pt x="662" y="41"/>
                    <a:pt x="662" y="42"/>
                    <a:pt x="662" y="42"/>
                  </a:cubicBezTo>
                  <a:close/>
                  <a:moveTo>
                    <a:pt x="757" y="42"/>
                  </a:moveTo>
                  <a:cubicBezTo>
                    <a:pt x="757" y="42"/>
                    <a:pt x="757" y="41"/>
                    <a:pt x="757" y="41"/>
                  </a:cubicBezTo>
                  <a:cubicBezTo>
                    <a:pt x="757" y="41"/>
                    <a:pt x="757" y="42"/>
                    <a:pt x="757" y="42"/>
                  </a:cubicBezTo>
                  <a:close/>
                  <a:moveTo>
                    <a:pt x="1348" y="78"/>
                  </a:moveTo>
                  <a:cubicBezTo>
                    <a:pt x="1348" y="78"/>
                    <a:pt x="1348" y="78"/>
                    <a:pt x="1348" y="78"/>
                  </a:cubicBezTo>
                  <a:cubicBezTo>
                    <a:pt x="1348" y="78"/>
                    <a:pt x="1348" y="78"/>
                    <a:pt x="1348" y="78"/>
                  </a:cubicBezTo>
                  <a:close/>
                  <a:moveTo>
                    <a:pt x="1360" y="78"/>
                  </a:moveTo>
                  <a:cubicBezTo>
                    <a:pt x="1360" y="78"/>
                    <a:pt x="1360" y="78"/>
                    <a:pt x="1360" y="78"/>
                  </a:cubicBezTo>
                  <a:cubicBezTo>
                    <a:pt x="1360" y="78"/>
                    <a:pt x="1360" y="78"/>
                    <a:pt x="1360" y="78"/>
                  </a:cubicBezTo>
                  <a:close/>
                  <a:moveTo>
                    <a:pt x="830" y="42"/>
                  </a:moveTo>
                  <a:cubicBezTo>
                    <a:pt x="830" y="42"/>
                    <a:pt x="830" y="41"/>
                    <a:pt x="831" y="41"/>
                  </a:cubicBezTo>
                  <a:cubicBezTo>
                    <a:pt x="830" y="41"/>
                    <a:pt x="830" y="42"/>
                    <a:pt x="830" y="42"/>
                  </a:cubicBezTo>
                  <a:close/>
                  <a:moveTo>
                    <a:pt x="1544" y="78"/>
                  </a:moveTo>
                  <a:cubicBezTo>
                    <a:pt x="1544" y="78"/>
                    <a:pt x="1544" y="78"/>
                    <a:pt x="1544" y="78"/>
                  </a:cubicBezTo>
                  <a:cubicBezTo>
                    <a:pt x="1544" y="78"/>
                    <a:pt x="1544" y="78"/>
                    <a:pt x="1544" y="78"/>
                  </a:cubicBezTo>
                  <a:close/>
                  <a:moveTo>
                    <a:pt x="866" y="41"/>
                  </a:moveTo>
                  <a:cubicBezTo>
                    <a:pt x="866" y="41"/>
                    <a:pt x="866" y="42"/>
                    <a:pt x="866" y="42"/>
                  </a:cubicBezTo>
                  <a:cubicBezTo>
                    <a:pt x="866" y="42"/>
                    <a:pt x="866" y="41"/>
                    <a:pt x="866" y="41"/>
                  </a:cubicBezTo>
                  <a:close/>
                  <a:moveTo>
                    <a:pt x="1713" y="78"/>
                  </a:moveTo>
                  <a:cubicBezTo>
                    <a:pt x="1712" y="78"/>
                    <a:pt x="1712" y="78"/>
                    <a:pt x="1712" y="78"/>
                  </a:cubicBezTo>
                  <a:cubicBezTo>
                    <a:pt x="1712" y="78"/>
                    <a:pt x="1713" y="78"/>
                    <a:pt x="1713" y="78"/>
                  </a:cubicBezTo>
                  <a:close/>
                  <a:moveTo>
                    <a:pt x="1039" y="42"/>
                  </a:moveTo>
                  <a:cubicBezTo>
                    <a:pt x="1039" y="42"/>
                    <a:pt x="1039" y="42"/>
                    <a:pt x="1039" y="41"/>
                  </a:cubicBezTo>
                  <a:cubicBezTo>
                    <a:pt x="1039" y="41"/>
                    <a:pt x="1039" y="42"/>
                    <a:pt x="1039" y="42"/>
                  </a:cubicBezTo>
                  <a:close/>
                  <a:moveTo>
                    <a:pt x="686" y="79"/>
                  </a:moveTo>
                  <a:cubicBezTo>
                    <a:pt x="686" y="78"/>
                    <a:pt x="686" y="78"/>
                    <a:pt x="686" y="78"/>
                  </a:cubicBezTo>
                  <a:cubicBezTo>
                    <a:pt x="686" y="78"/>
                    <a:pt x="686" y="78"/>
                    <a:pt x="686" y="79"/>
                  </a:cubicBezTo>
                  <a:close/>
                  <a:moveTo>
                    <a:pt x="968" y="78"/>
                  </a:moveTo>
                  <a:cubicBezTo>
                    <a:pt x="968" y="78"/>
                    <a:pt x="968" y="79"/>
                    <a:pt x="969" y="79"/>
                  </a:cubicBezTo>
                  <a:cubicBezTo>
                    <a:pt x="969" y="78"/>
                    <a:pt x="969" y="78"/>
                    <a:pt x="968" y="78"/>
                  </a:cubicBezTo>
                  <a:close/>
                  <a:moveTo>
                    <a:pt x="1081" y="41"/>
                  </a:moveTo>
                  <a:cubicBezTo>
                    <a:pt x="1081" y="42"/>
                    <a:pt x="1081" y="42"/>
                    <a:pt x="1081" y="42"/>
                  </a:cubicBezTo>
                  <a:cubicBezTo>
                    <a:pt x="1081" y="42"/>
                    <a:pt x="1081" y="41"/>
                    <a:pt x="1081" y="41"/>
                  </a:cubicBezTo>
                  <a:close/>
                  <a:moveTo>
                    <a:pt x="1150" y="41"/>
                  </a:moveTo>
                  <a:cubicBezTo>
                    <a:pt x="1150" y="42"/>
                    <a:pt x="1150" y="42"/>
                    <a:pt x="1151" y="42"/>
                  </a:cubicBezTo>
                  <a:cubicBezTo>
                    <a:pt x="1151" y="42"/>
                    <a:pt x="1151" y="41"/>
                    <a:pt x="1150" y="41"/>
                  </a:cubicBezTo>
                  <a:close/>
                  <a:moveTo>
                    <a:pt x="1217" y="42"/>
                  </a:moveTo>
                  <a:cubicBezTo>
                    <a:pt x="1217" y="42"/>
                    <a:pt x="1217" y="42"/>
                    <a:pt x="1217" y="41"/>
                  </a:cubicBezTo>
                  <a:cubicBezTo>
                    <a:pt x="1217" y="41"/>
                    <a:pt x="1217" y="42"/>
                    <a:pt x="1217" y="42"/>
                  </a:cubicBezTo>
                  <a:close/>
                  <a:moveTo>
                    <a:pt x="1259" y="41"/>
                  </a:moveTo>
                  <a:cubicBezTo>
                    <a:pt x="1259" y="42"/>
                    <a:pt x="1259" y="42"/>
                    <a:pt x="1259" y="42"/>
                  </a:cubicBezTo>
                  <a:cubicBezTo>
                    <a:pt x="1259" y="42"/>
                    <a:pt x="1259" y="41"/>
                    <a:pt x="1259" y="41"/>
                  </a:cubicBezTo>
                  <a:close/>
                  <a:moveTo>
                    <a:pt x="1360" y="78"/>
                  </a:moveTo>
                  <a:cubicBezTo>
                    <a:pt x="1360" y="78"/>
                    <a:pt x="1360" y="78"/>
                    <a:pt x="1360" y="78"/>
                  </a:cubicBezTo>
                  <a:cubicBezTo>
                    <a:pt x="1360" y="78"/>
                    <a:pt x="1360" y="78"/>
                    <a:pt x="1360" y="78"/>
                  </a:cubicBezTo>
                  <a:close/>
                  <a:moveTo>
                    <a:pt x="1544" y="78"/>
                  </a:moveTo>
                  <a:cubicBezTo>
                    <a:pt x="1544" y="78"/>
                    <a:pt x="1544" y="78"/>
                    <a:pt x="1544" y="79"/>
                  </a:cubicBezTo>
                  <a:cubicBezTo>
                    <a:pt x="1544" y="78"/>
                    <a:pt x="1544" y="78"/>
                    <a:pt x="1544" y="78"/>
                  </a:cubicBezTo>
                  <a:close/>
                  <a:moveTo>
                    <a:pt x="661" y="42"/>
                  </a:moveTo>
                  <a:cubicBezTo>
                    <a:pt x="662" y="42"/>
                    <a:pt x="662" y="42"/>
                    <a:pt x="662" y="42"/>
                  </a:cubicBezTo>
                  <a:cubicBezTo>
                    <a:pt x="662" y="42"/>
                    <a:pt x="661" y="42"/>
                    <a:pt x="661" y="42"/>
                  </a:cubicBezTo>
                  <a:close/>
                  <a:moveTo>
                    <a:pt x="1712" y="78"/>
                  </a:moveTo>
                  <a:cubicBezTo>
                    <a:pt x="1712" y="78"/>
                    <a:pt x="1712" y="78"/>
                    <a:pt x="1712" y="79"/>
                  </a:cubicBezTo>
                  <a:cubicBezTo>
                    <a:pt x="1712" y="78"/>
                    <a:pt x="1712" y="78"/>
                    <a:pt x="1712" y="78"/>
                  </a:cubicBezTo>
                  <a:close/>
                  <a:moveTo>
                    <a:pt x="756" y="42"/>
                  </a:moveTo>
                  <a:cubicBezTo>
                    <a:pt x="757" y="42"/>
                    <a:pt x="757" y="42"/>
                    <a:pt x="757" y="42"/>
                  </a:cubicBezTo>
                  <a:cubicBezTo>
                    <a:pt x="757" y="42"/>
                    <a:pt x="756" y="42"/>
                    <a:pt x="756" y="42"/>
                  </a:cubicBezTo>
                  <a:close/>
                  <a:moveTo>
                    <a:pt x="830" y="42"/>
                  </a:moveTo>
                  <a:cubicBezTo>
                    <a:pt x="830" y="42"/>
                    <a:pt x="830" y="42"/>
                    <a:pt x="830" y="42"/>
                  </a:cubicBezTo>
                  <a:cubicBezTo>
                    <a:pt x="830" y="42"/>
                    <a:pt x="830" y="42"/>
                    <a:pt x="830" y="42"/>
                  </a:cubicBezTo>
                  <a:close/>
                  <a:moveTo>
                    <a:pt x="686" y="79"/>
                  </a:moveTo>
                  <a:cubicBezTo>
                    <a:pt x="686" y="79"/>
                    <a:pt x="686" y="79"/>
                    <a:pt x="686" y="79"/>
                  </a:cubicBezTo>
                  <a:cubicBezTo>
                    <a:pt x="686" y="79"/>
                    <a:pt x="686" y="79"/>
                    <a:pt x="686" y="79"/>
                  </a:cubicBezTo>
                  <a:close/>
                  <a:moveTo>
                    <a:pt x="1038" y="42"/>
                  </a:moveTo>
                  <a:cubicBezTo>
                    <a:pt x="1039" y="42"/>
                    <a:pt x="1039" y="42"/>
                    <a:pt x="1039" y="42"/>
                  </a:cubicBezTo>
                  <a:cubicBezTo>
                    <a:pt x="1039" y="42"/>
                    <a:pt x="1038" y="42"/>
                    <a:pt x="1038" y="42"/>
                  </a:cubicBezTo>
                  <a:close/>
                  <a:moveTo>
                    <a:pt x="1081" y="42"/>
                  </a:moveTo>
                  <a:cubicBezTo>
                    <a:pt x="1081" y="42"/>
                    <a:pt x="1081" y="42"/>
                    <a:pt x="1081" y="42"/>
                  </a:cubicBezTo>
                  <a:cubicBezTo>
                    <a:pt x="1081" y="42"/>
                    <a:pt x="1081" y="42"/>
                    <a:pt x="1081" y="42"/>
                  </a:cubicBezTo>
                  <a:close/>
                  <a:moveTo>
                    <a:pt x="1360" y="78"/>
                  </a:moveTo>
                  <a:cubicBezTo>
                    <a:pt x="1359" y="78"/>
                    <a:pt x="1359" y="79"/>
                    <a:pt x="1359" y="79"/>
                  </a:cubicBezTo>
                  <a:cubicBezTo>
                    <a:pt x="1359" y="79"/>
                    <a:pt x="1360" y="79"/>
                    <a:pt x="1360" y="78"/>
                  </a:cubicBezTo>
                  <a:close/>
                  <a:moveTo>
                    <a:pt x="1216" y="42"/>
                  </a:moveTo>
                  <a:cubicBezTo>
                    <a:pt x="1216" y="42"/>
                    <a:pt x="1217" y="42"/>
                    <a:pt x="1217" y="42"/>
                  </a:cubicBezTo>
                  <a:cubicBezTo>
                    <a:pt x="1216" y="42"/>
                    <a:pt x="1216" y="42"/>
                    <a:pt x="1216" y="42"/>
                  </a:cubicBezTo>
                  <a:close/>
                  <a:moveTo>
                    <a:pt x="1291" y="42"/>
                  </a:moveTo>
                  <a:cubicBezTo>
                    <a:pt x="1291" y="42"/>
                    <a:pt x="1291" y="42"/>
                    <a:pt x="1291" y="42"/>
                  </a:cubicBezTo>
                  <a:cubicBezTo>
                    <a:pt x="1291" y="42"/>
                    <a:pt x="1291" y="42"/>
                    <a:pt x="1291" y="42"/>
                  </a:cubicBezTo>
                  <a:close/>
                  <a:moveTo>
                    <a:pt x="1532" y="79"/>
                  </a:moveTo>
                  <a:cubicBezTo>
                    <a:pt x="1532" y="79"/>
                    <a:pt x="1532" y="79"/>
                    <a:pt x="1532" y="79"/>
                  </a:cubicBezTo>
                  <a:cubicBezTo>
                    <a:pt x="1532" y="79"/>
                    <a:pt x="1532" y="79"/>
                    <a:pt x="1532" y="79"/>
                  </a:cubicBezTo>
                  <a:close/>
                  <a:moveTo>
                    <a:pt x="1544" y="79"/>
                  </a:moveTo>
                  <a:cubicBezTo>
                    <a:pt x="1544" y="79"/>
                    <a:pt x="1543" y="79"/>
                    <a:pt x="1543" y="79"/>
                  </a:cubicBezTo>
                  <a:cubicBezTo>
                    <a:pt x="1544" y="79"/>
                    <a:pt x="1544" y="79"/>
                    <a:pt x="1544" y="79"/>
                  </a:cubicBezTo>
                  <a:close/>
                  <a:moveTo>
                    <a:pt x="756" y="42"/>
                  </a:moveTo>
                  <a:cubicBezTo>
                    <a:pt x="756" y="42"/>
                    <a:pt x="756" y="42"/>
                    <a:pt x="756" y="42"/>
                  </a:cubicBezTo>
                  <a:cubicBezTo>
                    <a:pt x="756" y="42"/>
                    <a:pt x="756" y="42"/>
                    <a:pt x="756" y="42"/>
                  </a:cubicBezTo>
                  <a:close/>
                  <a:moveTo>
                    <a:pt x="1700" y="79"/>
                  </a:moveTo>
                  <a:cubicBezTo>
                    <a:pt x="1700" y="79"/>
                    <a:pt x="1700" y="79"/>
                    <a:pt x="1700" y="79"/>
                  </a:cubicBezTo>
                  <a:cubicBezTo>
                    <a:pt x="1700" y="79"/>
                    <a:pt x="1700" y="79"/>
                    <a:pt x="1700" y="79"/>
                  </a:cubicBezTo>
                  <a:close/>
                  <a:moveTo>
                    <a:pt x="1712" y="79"/>
                  </a:moveTo>
                  <a:cubicBezTo>
                    <a:pt x="1712" y="79"/>
                    <a:pt x="1712" y="79"/>
                    <a:pt x="1712" y="79"/>
                  </a:cubicBezTo>
                  <a:cubicBezTo>
                    <a:pt x="1712" y="79"/>
                    <a:pt x="1712" y="79"/>
                    <a:pt x="1712" y="79"/>
                  </a:cubicBezTo>
                  <a:close/>
                  <a:moveTo>
                    <a:pt x="799" y="42"/>
                  </a:moveTo>
                  <a:cubicBezTo>
                    <a:pt x="799" y="42"/>
                    <a:pt x="799" y="42"/>
                    <a:pt x="800" y="42"/>
                  </a:cubicBezTo>
                  <a:cubicBezTo>
                    <a:pt x="799" y="42"/>
                    <a:pt x="799" y="42"/>
                    <a:pt x="799" y="42"/>
                  </a:cubicBezTo>
                  <a:close/>
                  <a:moveTo>
                    <a:pt x="687" y="79"/>
                  </a:moveTo>
                  <a:cubicBezTo>
                    <a:pt x="687" y="79"/>
                    <a:pt x="687" y="79"/>
                    <a:pt x="686" y="79"/>
                  </a:cubicBezTo>
                  <a:cubicBezTo>
                    <a:pt x="687" y="79"/>
                    <a:pt x="687" y="79"/>
                    <a:pt x="687" y="79"/>
                  </a:cubicBezTo>
                  <a:close/>
                  <a:moveTo>
                    <a:pt x="871" y="42"/>
                  </a:moveTo>
                  <a:cubicBezTo>
                    <a:pt x="871" y="42"/>
                    <a:pt x="871" y="42"/>
                    <a:pt x="871" y="42"/>
                  </a:cubicBezTo>
                  <a:cubicBezTo>
                    <a:pt x="871" y="42"/>
                    <a:pt x="871" y="42"/>
                    <a:pt x="871" y="42"/>
                  </a:cubicBezTo>
                  <a:close/>
                  <a:moveTo>
                    <a:pt x="1112" y="42"/>
                  </a:moveTo>
                  <a:cubicBezTo>
                    <a:pt x="1112" y="42"/>
                    <a:pt x="1112" y="42"/>
                    <a:pt x="1112" y="42"/>
                  </a:cubicBezTo>
                  <a:cubicBezTo>
                    <a:pt x="1112" y="42"/>
                    <a:pt x="1112" y="42"/>
                    <a:pt x="1112" y="42"/>
                  </a:cubicBezTo>
                  <a:close/>
                  <a:moveTo>
                    <a:pt x="1347" y="79"/>
                  </a:moveTo>
                  <a:cubicBezTo>
                    <a:pt x="1347" y="79"/>
                    <a:pt x="1347" y="79"/>
                    <a:pt x="1347" y="79"/>
                  </a:cubicBezTo>
                  <a:cubicBezTo>
                    <a:pt x="1347" y="79"/>
                    <a:pt x="1347" y="79"/>
                    <a:pt x="1347" y="79"/>
                  </a:cubicBezTo>
                  <a:close/>
                  <a:moveTo>
                    <a:pt x="1359" y="79"/>
                  </a:moveTo>
                  <a:cubicBezTo>
                    <a:pt x="1359" y="79"/>
                    <a:pt x="1359" y="79"/>
                    <a:pt x="1359" y="79"/>
                  </a:cubicBezTo>
                  <a:cubicBezTo>
                    <a:pt x="1359" y="79"/>
                    <a:pt x="1359" y="79"/>
                    <a:pt x="1359" y="79"/>
                  </a:cubicBezTo>
                  <a:close/>
                  <a:moveTo>
                    <a:pt x="1216" y="42"/>
                  </a:moveTo>
                  <a:cubicBezTo>
                    <a:pt x="1216" y="42"/>
                    <a:pt x="1216" y="42"/>
                    <a:pt x="1216" y="42"/>
                  </a:cubicBezTo>
                  <a:cubicBezTo>
                    <a:pt x="1216" y="42"/>
                    <a:pt x="1216" y="42"/>
                    <a:pt x="1216" y="42"/>
                  </a:cubicBezTo>
                  <a:close/>
                  <a:moveTo>
                    <a:pt x="1543" y="79"/>
                  </a:moveTo>
                  <a:cubicBezTo>
                    <a:pt x="1543" y="79"/>
                    <a:pt x="1543" y="79"/>
                    <a:pt x="1543" y="79"/>
                  </a:cubicBezTo>
                  <a:cubicBezTo>
                    <a:pt x="1543" y="79"/>
                    <a:pt x="1543" y="79"/>
                    <a:pt x="1543" y="79"/>
                  </a:cubicBezTo>
                  <a:close/>
                  <a:moveTo>
                    <a:pt x="554" y="42"/>
                  </a:moveTo>
                  <a:cubicBezTo>
                    <a:pt x="554" y="43"/>
                    <a:pt x="555" y="43"/>
                    <a:pt x="555" y="43"/>
                  </a:cubicBezTo>
                  <a:cubicBezTo>
                    <a:pt x="555" y="43"/>
                    <a:pt x="555" y="42"/>
                    <a:pt x="554" y="42"/>
                  </a:cubicBezTo>
                  <a:close/>
                  <a:moveTo>
                    <a:pt x="756" y="43"/>
                  </a:moveTo>
                  <a:cubicBezTo>
                    <a:pt x="756" y="43"/>
                    <a:pt x="756" y="43"/>
                    <a:pt x="756" y="42"/>
                  </a:cubicBezTo>
                  <a:cubicBezTo>
                    <a:pt x="756" y="42"/>
                    <a:pt x="756" y="43"/>
                    <a:pt x="756" y="43"/>
                  </a:cubicBezTo>
                  <a:close/>
                  <a:moveTo>
                    <a:pt x="1712" y="79"/>
                  </a:moveTo>
                  <a:cubicBezTo>
                    <a:pt x="1711" y="79"/>
                    <a:pt x="1711" y="79"/>
                    <a:pt x="1711" y="79"/>
                  </a:cubicBezTo>
                  <a:cubicBezTo>
                    <a:pt x="1711" y="79"/>
                    <a:pt x="1711" y="79"/>
                    <a:pt x="1712" y="79"/>
                  </a:cubicBezTo>
                  <a:close/>
                  <a:moveTo>
                    <a:pt x="800" y="42"/>
                  </a:moveTo>
                  <a:cubicBezTo>
                    <a:pt x="800" y="43"/>
                    <a:pt x="800" y="43"/>
                    <a:pt x="800" y="43"/>
                  </a:cubicBezTo>
                  <a:cubicBezTo>
                    <a:pt x="800" y="43"/>
                    <a:pt x="800" y="42"/>
                    <a:pt x="800" y="42"/>
                  </a:cubicBezTo>
                  <a:close/>
                  <a:moveTo>
                    <a:pt x="870" y="43"/>
                  </a:moveTo>
                  <a:cubicBezTo>
                    <a:pt x="870" y="43"/>
                    <a:pt x="871" y="43"/>
                    <a:pt x="871" y="42"/>
                  </a:cubicBezTo>
                  <a:cubicBezTo>
                    <a:pt x="870" y="42"/>
                    <a:pt x="870" y="43"/>
                    <a:pt x="870" y="43"/>
                  </a:cubicBezTo>
                  <a:close/>
                  <a:moveTo>
                    <a:pt x="555" y="43"/>
                  </a:moveTo>
                  <a:cubicBezTo>
                    <a:pt x="555" y="43"/>
                    <a:pt x="555" y="43"/>
                    <a:pt x="555" y="43"/>
                  </a:cubicBezTo>
                  <a:cubicBezTo>
                    <a:pt x="555" y="43"/>
                    <a:pt x="555" y="43"/>
                    <a:pt x="555" y="43"/>
                  </a:cubicBezTo>
                  <a:close/>
                  <a:moveTo>
                    <a:pt x="661" y="43"/>
                  </a:moveTo>
                  <a:cubicBezTo>
                    <a:pt x="661" y="43"/>
                    <a:pt x="661" y="43"/>
                    <a:pt x="661" y="43"/>
                  </a:cubicBezTo>
                  <a:cubicBezTo>
                    <a:pt x="661" y="43"/>
                    <a:pt x="661" y="43"/>
                    <a:pt x="661" y="43"/>
                  </a:cubicBezTo>
                  <a:close/>
                  <a:moveTo>
                    <a:pt x="755" y="43"/>
                  </a:moveTo>
                  <a:cubicBezTo>
                    <a:pt x="756" y="43"/>
                    <a:pt x="756" y="43"/>
                    <a:pt x="756" y="43"/>
                  </a:cubicBezTo>
                  <a:cubicBezTo>
                    <a:pt x="756" y="43"/>
                    <a:pt x="755" y="43"/>
                    <a:pt x="755" y="43"/>
                  </a:cubicBezTo>
                  <a:close/>
                  <a:moveTo>
                    <a:pt x="969" y="79"/>
                  </a:moveTo>
                  <a:cubicBezTo>
                    <a:pt x="969" y="79"/>
                    <a:pt x="969" y="80"/>
                    <a:pt x="969" y="80"/>
                  </a:cubicBezTo>
                  <a:cubicBezTo>
                    <a:pt x="969" y="79"/>
                    <a:pt x="969" y="79"/>
                    <a:pt x="969" y="79"/>
                  </a:cubicBezTo>
                  <a:close/>
                  <a:moveTo>
                    <a:pt x="829" y="43"/>
                  </a:moveTo>
                  <a:cubicBezTo>
                    <a:pt x="829" y="43"/>
                    <a:pt x="829" y="43"/>
                    <a:pt x="829" y="43"/>
                  </a:cubicBezTo>
                  <a:cubicBezTo>
                    <a:pt x="829" y="43"/>
                    <a:pt x="829" y="43"/>
                    <a:pt x="829" y="43"/>
                  </a:cubicBezTo>
                  <a:close/>
                  <a:moveTo>
                    <a:pt x="1082" y="43"/>
                  </a:moveTo>
                  <a:cubicBezTo>
                    <a:pt x="1082" y="43"/>
                    <a:pt x="1082" y="43"/>
                    <a:pt x="1082" y="43"/>
                  </a:cubicBezTo>
                  <a:cubicBezTo>
                    <a:pt x="1082" y="43"/>
                    <a:pt x="1082" y="43"/>
                    <a:pt x="1082" y="43"/>
                  </a:cubicBezTo>
                  <a:close/>
                  <a:moveTo>
                    <a:pt x="1359" y="79"/>
                  </a:moveTo>
                  <a:cubicBezTo>
                    <a:pt x="1359" y="79"/>
                    <a:pt x="1359" y="79"/>
                    <a:pt x="1359" y="80"/>
                  </a:cubicBezTo>
                  <a:cubicBezTo>
                    <a:pt x="1359" y="80"/>
                    <a:pt x="1359" y="79"/>
                    <a:pt x="1359" y="79"/>
                  </a:cubicBezTo>
                  <a:close/>
                  <a:moveTo>
                    <a:pt x="1260" y="43"/>
                  </a:moveTo>
                  <a:cubicBezTo>
                    <a:pt x="1260" y="43"/>
                    <a:pt x="1260" y="43"/>
                    <a:pt x="1260" y="43"/>
                  </a:cubicBezTo>
                  <a:cubicBezTo>
                    <a:pt x="1260" y="43"/>
                    <a:pt x="1260" y="43"/>
                    <a:pt x="1260" y="43"/>
                  </a:cubicBezTo>
                  <a:close/>
                  <a:moveTo>
                    <a:pt x="1037" y="43"/>
                  </a:moveTo>
                  <a:cubicBezTo>
                    <a:pt x="1037" y="43"/>
                    <a:pt x="1038" y="43"/>
                    <a:pt x="1038" y="43"/>
                  </a:cubicBezTo>
                  <a:cubicBezTo>
                    <a:pt x="1038" y="43"/>
                    <a:pt x="1037" y="43"/>
                    <a:pt x="1037" y="43"/>
                  </a:cubicBezTo>
                  <a:close/>
                  <a:moveTo>
                    <a:pt x="675" y="43"/>
                  </a:moveTo>
                  <a:cubicBezTo>
                    <a:pt x="674" y="43"/>
                    <a:pt x="674" y="43"/>
                    <a:pt x="674" y="44"/>
                  </a:cubicBezTo>
                  <a:cubicBezTo>
                    <a:pt x="674" y="44"/>
                    <a:pt x="674" y="44"/>
                    <a:pt x="675" y="43"/>
                  </a:cubicBezTo>
                  <a:close/>
                  <a:moveTo>
                    <a:pt x="800" y="43"/>
                  </a:moveTo>
                  <a:cubicBezTo>
                    <a:pt x="800" y="44"/>
                    <a:pt x="800" y="44"/>
                    <a:pt x="801" y="44"/>
                  </a:cubicBezTo>
                  <a:cubicBezTo>
                    <a:pt x="801" y="44"/>
                    <a:pt x="800" y="43"/>
                    <a:pt x="800" y="43"/>
                  </a:cubicBezTo>
                  <a:close/>
                  <a:moveTo>
                    <a:pt x="838" y="43"/>
                  </a:moveTo>
                  <a:cubicBezTo>
                    <a:pt x="838" y="43"/>
                    <a:pt x="837" y="43"/>
                    <a:pt x="837" y="44"/>
                  </a:cubicBezTo>
                  <a:cubicBezTo>
                    <a:pt x="838" y="44"/>
                    <a:pt x="838" y="44"/>
                    <a:pt x="838" y="43"/>
                  </a:cubicBezTo>
                  <a:close/>
                  <a:moveTo>
                    <a:pt x="870" y="44"/>
                  </a:moveTo>
                  <a:cubicBezTo>
                    <a:pt x="870" y="44"/>
                    <a:pt x="870" y="44"/>
                    <a:pt x="870" y="43"/>
                  </a:cubicBezTo>
                  <a:cubicBezTo>
                    <a:pt x="870" y="43"/>
                    <a:pt x="870" y="44"/>
                    <a:pt x="870" y="44"/>
                  </a:cubicBezTo>
                  <a:close/>
                  <a:moveTo>
                    <a:pt x="881" y="43"/>
                  </a:moveTo>
                  <a:cubicBezTo>
                    <a:pt x="880" y="43"/>
                    <a:pt x="880" y="43"/>
                    <a:pt x="880" y="44"/>
                  </a:cubicBezTo>
                  <a:cubicBezTo>
                    <a:pt x="880" y="44"/>
                    <a:pt x="881" y="44"/>
                    <a:pt x="881" y="43"/>
                  </a:cubicBezTo>
                  <a:close/>
                  <a:moveTo>
                    <a:pt x="1037" y="44"/>
                  </a:moveTo>
                  <a:cubicBezTo>
                    <a:pt x="1037" y="44"/>
                    <a:pt x="1037" y="44"/>
                    <a:pt x="1037" y="43"/>
                  </a:cubicBezTo>
                  <a:cubicBezTo>
                    <a:pt x="1037" y="43"/>
                    <a:pt x="1037" y="44"/>
                    <a:pt x="1037" y="44"/>
                  </a:cubicBezTo>
                  <a:close/>
                  <a:moveTo>
                    <a:pt x="1359" y="80"/>
                  </a:moveTo>
                  <a:cubicBezTo>
                    <a:pt x="1358" y="80"/>
                    <a:pt x="1358" y="80"/>
                    <a:pt x="1358" y="80"/>
                  </a:cubicBezTo>
                  <a:cubicBezTo>
                    <a:pt x="1358" y="80"/>
                    <a:pt x="1358" y="80"/>
                    <a:pt x="1359" y="80"/>
                  </a:cubicBezTo>
                  <a:close/>
                  <a:moveTo>
                    <a:pt x="1531" y="80"/>
                  </a:moveTo>
                  <a:cubicBezTo>
                    <a:pt x="1531" y="80"/>
                    <a:pt x="1531" y="80"/>
                    <a:pt x="1531" y="80"/>
                  </a:cubicBezTo>
                  <a:cubicBezTo>
                    <a:pt x="1531" y="80"/>
                    <a:pt x="1531" y="80"/>
                    <a:pt x="1531" y="80"/>
                  </a:cubicBezTo>
                  <a:close/>
                  <a:moveTo>
                    <a:pt x="1111" y="44"/>
                  </a:moveTo>
                  <a:cubicBezTo>
                    <a:pt x="1111" y="44"/>
                    <a:pt x="1111" y="44"/>
                    <a:pt x="1111" y="43"/>
                  </a:cubicBezTo>
                  <a:cubicBezTo>
                    <a:pt x="1111" y="43"/>
                    <a:pt x="1111" y="44"/>
                    <a:pt x="1111" y="44"/>
                  </a:cubicBezTo>
                  <a:close/>
                  <a:moveTo>
                    <a:pt x="1699" y="80"/>
                  </a:moveTo>
                  <a:cubicBezTo>
                    <a:pt x="1699" y="80"/>
                    <a:pt x="1699" y="80"/>
                    <a:pt x="1699" y="80"/>
                  </a:cubicBezTo>
                  <a:cubicBezTo>
                    <a:pt x="1699" y="80"/>
                    <a:pt x="1699" y="80"/>
                    <a:pt x="1699" y="80"/>
                  </a:cubicBezTo>
                  <a:close/>
                  <a:moveTo>
                    <a:pt x="1122" y="43"/>
                  </a:moveTo>
                  <a:cubicBezTo>
                    <a:pt x="1121" y="43"/>
                    <a:pt x="1121" y="43"/>
                    <a:pt x="1121" y="44"/>
                  </a:cubicBezTo>
                  <a:cubicBezTo>
                    <a:pt x="1121" y="44"/>
                    <a:pt x="1121" y="44"/>
                    <a:pt x="1122" y="43"/>
                  </a:cubicBezTo>
                  <a:close/>
                  <a:moveTo>
                    <a:pt x="687" y="80"/>
                  </a:moveTo>
                  <a:cubicBezTo>
                    <a:pt x="687" y="80"/>
                    <a:pt x="687" y="80"/>
                    <a:pt x="687" y="80"/>
                  </a:cubicBezTo>
                  <a:cubicBezTo>
                    <a:pt x="687" y="80"/>
                    <a:pt x="687" y="80"/>
                    <a:pt x="687" y="80"/>
                  </a:cubicBezTo>
                  <a:close/>
                  <a:moveTo>
                    <a:pt x="1215" y="44"/>
                  </a:moveTo>
                  <a:cubicBezTo>
                    <a:pt x="1215" y="44"/>
                    <a:pt x="1215" y="44"/>
                    <a:pt x="1215" y="43"/>
                  </a:cubicBezTo>
                  <a:cubicBezTo>
                    <a:pt x="1215" y="44"/>
                    <a:pt x="1215" y="44"/>
                    <a:pt x="1215" y="44"/>
                  </a:cubicBezTo>
                  <a:close/>
                  <a:moveTo>
                    <a:pt x="556" y="44"/>
                  </a:moveTo>
                  <a:cubicBezTo>
                    <a:pt x="556" y="44"/>
                    <a:pt x="556" y="44"/>
                    <a:pt x="557" y="44"/>
                  </a:cubicBezTo>
                  <a:cubicBezTo>
                    <a:pt x="556" y="44"/>
                    <a:pt x="556" y="44"/>
                    <a:pt x="556" y="44"/>
                  </a:cubicBezTo>
                  <a:close/>
                  <a:moveTo>
                    <a:pt x="828" y="44"/>
                  </a:moveTo>
                  <a:cubicBezTo>
                    <a:pt x="829" y="44"/>
                    <a:pt x="829" y="44"/>
                    <a:pt x="829" y="44"/>
                  </a:cubicBezTo>
                  <a:cubicBezTo>
                    <a:pt x="829" y="44"/>
                    <a:pt x="829" y="44"/>
                    <a:pt x="828" y="44"/>
                  </a:cubicBezTo>
                  <a:close/>
                  <a:moveTo>
                    <a:pt x="1121" y="44"/>
                  </a:moveTo>
                  <a:cubicBezTo>
                    <a:pt x="1121" y="44"/>
                    <a:pt x="1120" y="44"/>
                    <a:pt x="1120" y="44"/>
                  </a:cubicBezTo>
                  <a:cubicBezTo>
                    <a:pt x="1121" y="44"/>
                    <a:pt x="1121" y="44"/>
                    <a:pt x="1121" y="44"/>
                  </a:cubicBezTo>
                  <a:close/>
                  <a:moveTo>
                    <a:pt x="1215" y="44"/>
                  </a:moveTo>
                  <a:cubicBezTo>
                    <a:pt x="1215" y="44"/>
                    <a:pt x="1215" y="44"/>
                    <a:pt x="1215" y="44"/>
                  </a:cubicBezTo>
                  <a:cubicBezTo>
                    <a:pt x="1215" y="44"/>
                    <a:pt x="1215" y="44"/>
                    <a:pt x="1215" y="44"/>
                  </a:cubicBezTo>
                  <a:close/>
                  <a:moveTo>
                    <a:pt x="1260" y="44"/>
                  </a:moveTo>
                  <a:cubicBezTo>
                    <a:pt x="1260" y="44"/>
                    <a:pt x="1261" y="44"/>
                    <a:pt x="1261" y="44"/>
                  </a:cubicBezTo>
                  <a:cubicBezTo>
                    <a:pt x="1261" y="44"/>
                    <a:pt x="1261" y="44"/>
                    <a:pt x="1260" y="44"/>
                  </a:cubicBezTo>
                  <a:close/>
                  <a:moveTo>
                    <a:pt x="674" y="44"/>
                  </a:moveTo>
                  <a:cubicBezTo>
                    <a:pt x="673" y="44"/>
                    <a:pt x="673" y="44"/>
                    <a:pt x="673" y="44"/>
                  </a:cubicBezTo>
                  <a:cubicBezTo>
                    <a:pt x="673" y="44"/>
                    <a:pt x="673" y="44"/>
                    <a:pt x="674" y="44"/>
                  </a:cubicBezTo>
                  <a:close/>
                  <a:moveTo>
                    <a:pt x="754" y="44"/>
                  </a:moveTo>
                  <a:cubicBezTo>
                    <a:pt x="755" y="44"/>
                    <a:pt x="755" y="44"/>
                    <a:pt x="755" y="44"/>
                  </a:cubicBezTo>
                  <a:cubicBezTo>
                    <a:pt x="754" y="44"/>
                    <a:pt x="754" y="44"/>
                    <a:pt x="754" y="44"/>
                  </a:cubicBezTo>
                  <a:close/>
                  <a:moveTo>
                    <a:pt x="853" y="44"/>
                  </a:moveTo>
                  <a:cubicBezTo>
                    <a:pt x="853" y="44"/>
                    <a:pt x="853" y="44"/>
                    <a:pt x="852" y="44"/>
                  </a:cubicBezTo>
                  <a:cubicBezTo>
                    <a:pt x="853" y="44"/>
                    <a:pt x="853" y="44"/>
                    <a:pt x="853" y="44"/>
                  </a:cubicBezTo>
                  <a:close/>
                  <a:moveTo>
                    <a:pt x="896" y="44"/>
                  </a:moveTo>
                  <a:cubicBezTo>
                    <a:pt x="896" y="44"/>
                    <a:pt x="895" y="44"/>
                    <a:pt x="895" y="44"/>
                  </a:cubicBezTo>
                  <a:cubicBezTo>
                    <a:pt x="895" y="44"/>
                    <a:pt x="896" y="44"/>
                    <a:pt x="896" y="44"/>
                  </a:cubicBezTo>
                  <a:close/>
                  <a:moveTo>
                    <a:pt x="970" y="80"/>
                  </a:moveTo>
                  <a:cubicBezTo>
                    <a:pt x="970" y="80"/>
                    <a:pt x="970" y="81"/>
                    <a:pt x="970" y="81"/>
                  </a:cubicBezTo>
                  <a:cubicBezTo>
                    <a:pt x="970" y="81"/>
                    <a:pt x="970" y="80"/>
                    <a:pt x="970" y="80"/>
                  </a:cubicBezTo>
                  <a:close/>
                  <a:moveTo>
                    <a:pt x="1120" y="44"/>
                  </a:moveTo>
                  <a:cubicBezTo>
                    <a:pt x="1120" y="44"/>
                    <a:pt x="1120" y="44"/>
                    <a:pt x="1120" y="44"/>
                  </a:cubicBezTo>
                  <a:cubicBezTo>
                    <a:pt x="1120" y="44"/>
                    <a:pt x="1120" y="44"/>
                    <a:pt x="1120" y="44"/>
                  </a:cubicBezTo>
                  <a:close/>
                  <a:moveTo>
                    <a:pt x="1531" y="81"/>
                  </a:moveTo>
                  <a:cubicBezTo>
                    <a:pt x="1531" y="81"/>
                    <a:pt x="1531" y="80"/>
                    <a:pt x="1531" y="80"/>
                  </a:cubicBezTo>
                  <a:cubicBezTo>
                    <a:pt x="1531" y="80"/>
                    <a:pt x="1531" y="81"/>
                    <a:pt x="1531" y="81"/>
                  </a:cubicBezTo>
                  <a:close/>
                  <a:moveTo>
                    <a:pt x="1542" y="80"/>
                  </a:moveTo>
                  <a:cubicBezTo>
                    <a:pt x="1542" y="80"/>
                    <a:pt x="1542" y="80"/>
                    <a:pt x="1542" y="81"/>
                  </a:cubicBezTo>
                  <a:cubicBezTo>
                    <a:pt x="1542" y="81"/>
                    <a:pt x="1542" y="80"/>
                    <a:pt x="1542" y="80"/>
                  </a:cubicBezTo>
                  <a:close/>
                  <a:moveTo>
                    <a:pt x="1699" y="81"/>
                  </a:moveTo>
                  <a:cubicBezTo>
                    <a:pt x="1699" y="81"/>
                    <a:pt x="1699" y="80"/>
                    <a:pt x="1699" y="80"/>
                  </a:cubicBezTo>
                  <a:cubicBezTo>
                    <a:pt x="1699" y="80"/>
                    <a:pt x="1699" y="81"/>
                    <a:pt x="1699" y="81"/>
                  </a:cubicBezTo>
                  <a:close/>
                  <a:moveTo>
                    <a:pt x="1710" y="80"/>
                  </a:moveTo>
                  <a:cubicBezTo>
                    <a:pt x="1710" y="80"/>
                    <a:pt x="1710" y="80"/>
                    <a:pt x="1710" y="81"/>
                  </a:cubicBezTo>
                  <a:cubicBezTo>
                    <a:pt x="1710" y="81"/>
                    <a:pt x="1710" y="80"/>
                    <a:pt x="1710" y="80"/>
                  </a:cubicBezTo>
                  <a:close/>
                  <a:moveTo>
                    <a:pt x="1137" y="44"/>
                  </a:moveTo>
                  <a:cubicBezTo>
                    <a:pt x="1137" y="44"/>
                    <a:pt x="1137" y="44"/>
                    <a:pt x="1137" y="44"/>
                  </a:cubicBezTo>
                  <a:cubicBezTo>
                    <a:pt x="1137" y="44"/>
                    <a:pt x="1137" y="44"/>
                    <a:pt x="1137" y="44"/>
                  </a:cubicBezTo>
                  <a:close/>
                  <a:moveTo>
                    <a:pt x="557" y="44"/>
                  </a:moveTo>
                  <a:cubicBezTo>
                    <a:pt x="557" y="45"/>
                    <a:pt x="557" y="45"/>
                    <a:pt x="558" y="45"/>
                  </a:cubicBezTo>
                  <a:cubicBezTo>
                    <a:pt x="558" y="45"/>
                    <a:pt x="557" y="45"/>
                    <a:pt x="557" y="44"/>
                  </a:cubicBezTo>
                  <a:close/>
                  <a:moveTo>
                    <a:pt x="688" y="81"/>
                  </a:moveTo>
                  <a:cubicBezTo>
                    <a:pt x="688" y="81"/>
                    <a:pt x="688" y="81"/>
                    <a:pt x="688" y="80"/>
                  </a:cubicBezTo>
                  <a:cubicBezTo>
                    <a:pt x="688" y="81"/>
                    <a:pt x="688" y="81"/>
                    <a:pt x="688" y="81"/>
                  </a:cubicBezTo>
                  <a:close/>
                  <a:moveTo>
                    <a:pt x="801" y="44"/>
                  </a:moveTo>
                  <a:cubicBezTo>
                    <a:pt x="801" y="45"/>
                    <a:pt x="801" y="45"/>
                    <a:pt x="801" y="45"/>
                  </a:cubicBezTo>
                  <a:cubicBezTo>
                    <a:pt x="801" y="45"/>
                    <a:pt x="801" y="45"/>
                    <a:pt x="801" y="44"/>
                  </a:cubicBezTo>
                  <a:close/>
                  <a:moveTo>
                    <a:pt x="970" y="81"/>
                  </a:moveTo>
                  <a:cubicBezTo>
                    <a:pt x="970" y="81"/>
                    <a:pt x="970" y="81"/>
                    <a:pt x="970" y="81"/>
                  </a:cubicBezTo>
                  <a:cubicBezTo>
                    <a:pt x="970" y="81"/>
                    <a:pt x="970" y="81"/>
                    <a:pt x="970" y="81"/>
                  </a:cubicBezTo>
                  <a:close/>
                  <a:moveTo>
                    <a:pt x="836" y="44"/>
                  </a:moveTo>
                  <a:cubicBezTo>
                    <a:pt x="836" y="44"/>
                    <a:pt x="836" y="45"/>
                    <a:pt x="836" y="45"/>
                  </a:cubicBezTo>
                  <a:cubicBezTo>
                    <a:pt x="836" y="45"/>
                    <a:pt x="836" y="45"/>
                    <a:pt x="836" y="44"/>
                  </a:cubicBezTo>
                  <a:close/>
                  <a:moveTo>
                    <a:pt x="869" y="45"/>
                  </a:moveTo>
                  <a:cubicBezTo>
                    <a:pt x="869" y="45"/>
                    <a:pt x="869" y="45"/>
                    <a:pt x="869" y="44"/>
                  </a:cubicBezTo>
                  <a:cubicBezTo>
                    <a:pt x="869" y="45"/>
                    <a:pt x="869" y="45"/>
                    <a:pt x="869" y="45"/>
                  </a:cubicBezTo>
                  <a:close/>
                  <a:moveTo>
                    <a:pt x="836" y="45"/>
                  </a:moveTo>
                  <a:cubicBezTo>
                    <a:pt x="836" y="45"/>
                    <a:pt x="835" y="45"/>
                    <a:pt x="835" y="45"/>
                  </a:cubicBezTo>
                  <a:cubicBezTo>
                    <a:pt x="836" y="45"/>
                    <a:pt x="836" y="45"/>
                    <a:pt x="836" y="45"/>
                  </a:cubicBezTo>
                  <a:close/>
                  <a:moveTo>
                    <a:pt x="1358" y="81"/>
                  </a:moveTo>
                  <a:cubicBezTo>
                    <a:pt x="1358" y="81"/>
                    <a:pt x="1357" y="81"/>
                    <a:pt x="1357" y="81"/>
                  </a:cubicBezTo>
                  <a:cubicBezTo>
                    <a:pt x="1358" y="81"/>
                    <a:pt x="1358" y="81"/>
                    <a:pt x="1358" y="81"/>
                  </a:cubicBezTo>
                  <a:close/>
                  <a:moveTo>
                    <a:pt x="854" y="45"/>
                  </a:moveTo>
                  <a:cubicBezTo>
                    <a:pt x="854" y="45"/>
                    <a:pt x="854" y="45"/>
                    <a:pt x="853" y="45"/>
                  </a:cubicBezTo>
                  <a:cubicBezTo>
                    <a:pt x="854" y="45"/>
                    <a:pt x="854" y="45"/>
                    <a:pt x="854" y="45"/>
                  </a:cubicBezTo>
                  <a:close/>
                  <a:moveTo>
                    <a:pt x="1542" y="81"/>
                  </a:moveTo>
                  <a:cubicBezTo>
                    <a:pt x="1542" y="81"/>
                    <a:pt x="1542" y="81"/>
                    <a:pt x="1542" y="81"/>
                  </a:cubicBezTo>
                  <a:cubicBezTo>
                    <a:pt x="1542" y="81"/>
                    <a:pt x="1542" y="81"/>
                    <a:pt x="1542" y="81"/>
                  </a:cubicBezTo>
                  <a:close/>
                  <a:moveTo>
                    <a:pt x="1678" y="81"/>
                  </a:moveTo>
                  <a:cubicBezTo>
                    <a:pt x="1678" y="81"/>
                    <a:pt x="1678" y="81"/>
                    <a:pt x="1678" y="81"/>
                  </a:cubicBezTo>
                  <a:cubicBezTo>
                    <a:pt x="1678" y="81"/>
                    <a:pt x="1678" y="81"/>
                    <a:pt x="1678" y="81"/>
                  </a:cubicBezTo>
                  <a:close/>
                  <a:moveTo>
                    <a:pt x="879" y="45"/>
                  </a:moveTo>
                  <a:cubicBezTo>
                    <a:pt x="878" y="45"/>
                    <a:pt x="878" y="45"/>
                    <a:pt x="878" y="45"/>
                  </a:cubicBezTo>
                  <a:cubicBezTo>
                    <a:pt x="878" y="45"/>
                    <a:pt x="878" y="45"/>
                    <a:pt x="879" y="45"/>
                  </a:cubicBezTo>
                  <a:close/>
                  <a:moveTo>
                    <a:pt x="1710" y="81"/>
                  </a:moveTo>
                  <a:cubicBezTo>
                    <a:pt x="1710" y="81"/>
                    <a:pt x="1710" y="81"/>
                    <a:pt x="1710" y="81"/>
                  </a:cubicBezTo>
                  <a:cubicBezTo>
                    <a:pt x="1710" y="81"/>
                    <a:pt x="1710" y="81"/>
                    <a:pt x="1710" y="81"/>
                  </a:cubicBezTo>
                  <a:close/>
                  <a:moveTo>
                    <a:pt x="897" y="45"/>
                  </a:moveTo>
                  <a:cubicBezTo>
                    <a:pt x="897" y="45"/>
                    <a:pt x="897" y="45"/>
                    <a:pt x="896" y="45"/>
                  </a:cubicBezTo>
                  <a:cubicBezTo>
                    <a:pt x="896" y="45"/>
                    <a:pt x="897" y="45"/>
                    <a:pt x="897" y="45"/>
                  </a:cubicBezTo>
                  <a:close/>
                  <a:moveTo>
                    <a:pt x="1036" y="45"/>
                  </a:moveTo>
                  <a:cubicBezTo>
                    <a:pt x="1036" y="45"/>
                    <a:pt x="1036" y="45"/>
                    <a:pt x="1036" y="45"/>
                  </a:cubicBezTo>
                  <a:cubicBezTo>
                    <a:pt x="1036" y="45"/>
                    <a:pt x="1036" y="45"/>
                    <a:pt x="1036" y="45"/>
                  </a:cubicBezTo>
                  <a:close/>
                  <a:moveTo>
                    <a:pt x="1083" y="45"/>
                  </a:moveTo>
                  <a:cubicBezTo>
                    <a:pt x="1083" y="45"/>
                    <a:pt x="1083" y="45"/>
                    <a:pt x="1084" y="45"/>
                  </a:cubicBezTo>
                  <a:cubicBezTo>
                    <a:pt x="1084" y="45"/>
                    <a:pt x="1083" y="45"/>
                    <a:pt x="1083" y="45"/>
                  </a:cubicBezTo>
                  <a:close/>
                  <a:moveTo>
                    <a:pt x="1119" y="45"/>
                  </a:moveTo>
                  <a:cubicBezTo>
                    <a:pt x="1119" y="45"/>
                    <a:pt x="1119" y="45"/>
                    <a:pt x="1119" y="45"/>
                  </a:cubicBezTo>
                  <a:cubicBezTo>
                    <a:pt x="1119" y="45"/>
                    <a:pt x="1119" y="45"/>
                    <a:pt x="1119" y="45"/>
                  </a:cubicBezTo>
                  <a:close/>
                  <a:moveTo>
                    <a:pt x="1138" y="45"/>
                  </a:moveTo>
                  <a:cubicBezTo>
                    <a:pt x="1138" y="45"/>
                    <a:pt x="1138" y="45"/>
                    <a:pt x="1138" y="45"/>
                  </a:cubicBezTo>
                  <a:cubicBezTo>
                    <a:pt x="1138" y="45"/>
                    <a:pt x="1138" y="45"/>
                    <a:pt x="1138" y="45"/>
                  </a:cubicBezTo>
                  <a:close/>
                  <a:moveTo>
                    <a:pt x="1358" y="81"/>
                  </a:moveTo>
                  <a:cubicBezTo>
                    <a:pt x="1357" y="81"/>
                    <a:pt x="1357" y="81"/>
                    <a:pt x="1357" y="81"/>
                  </a:cubicBezTo>
                  <a:cubicBezTo>
                    <a:pt x="1357" y="81"/>
                    <a:pt x="1357" y="81"/>
                    <a:pt x="1358" y="81"/>
                  </a:cubicBezTo>
                  <a:close/>
                  <a:moveTo>
                    <a:pt x="1214" y="45"/>
                  </a:moveTo>
                  <a:cubicBezTo>
                    <a:pt x="1214" y="45"/>
                    <a:pt x="1214" y="45"/>
                    <a:pt x="1214" y="45"/>
                  </a:cubicBezTo>
                  <a:cubicBezTo>
                    <a:pt x="1214" y="45"/>
                    <a:pt x="1214" y="45"/>
                    <a:pt x="1214" y="45"/>
                  </a:cubicBezTo>
                  <a:close/>
                  <a:moveTo>
                    <a:pt x="1312" y="45"/>
                  </a:moveTo>
                  <a:cubicBezTo>
                    <a:pt x="1312" y="45"/>
                    <a:pt x="1311" y="45"/>
                    <a:pt x="1311" y="45"/>
                  </a:cubicBezTo>
                  <a:cubicBezTo>
                    <a:pt x="1311" y="45"/>
                    <a:pt x="1311" y="45"/>
                    <a:pt x="1312" y="45"/>
                  </a:cubicBezTo>
                  <a:close/>
                  <a:moveTo>
                    <a:pt x="1567" y="45"/>
                  </a:moveTo>
                  <a:cubicBezTo>
                    <a:pt x="1567" y="45"/>
                    <a:pt x="1567" y="45"/>
                    <a:pt x="1567" y="45"/>
                  </a:cubicBezTo>
                  <a:cubicBezTo>
                    <a:pt x="1567" y="45"/>
                    <a:pt x="1567" y="45"/>
                    <a:pt x="1567" y="45"/>
                  </a:cubicBezTo>
                  <a:close/>
                  <a:moveTo>
                    <a:pt x="1735" y="45"/>
                  </a:moveTo>
                  <a:cubicBezTo>
                    <a:pt x="1735" y="45"/>
                    <a:pt x="1736" y="45"/>
                    <a:pt x="1736" y="45"/>
                  </a:cubicBezTo>
                  <a:cubicBezTo>
                    <a:pt x="1735" y="45"/>
                    <a:pt x="1735" y="45"/>
                    <a:pt x="1735" y="45"/>
                  </a:cubicBezTo>
                  <a:close/>
                  <a:moveTo>
                    <a:pt x="558" y="45"/>
                  </a:moveTo>
                  <a:cubicBezTo>
                    <a:pt x="558" y="45"/>
                    <a:pt x="558" y="45"/>
                    <a:pt x="559" y="45"/>
                  </a:cubicBezTo>
                  <a:cubicBezTo>
                    <a:pt x="559" y="45"/>
                    <a:pt x="558" y="45"/>
                    <a:pt x="558" y="45"/>
                  </a:cubicBezTo>
                  <a:close/>
                  <a:moveTo>
                    <a:pt x="801" y="45"/>
                  </a:moveTo>
                  <a:cubicBezTo>
                    <a:pt x="801" y="45"/>
                    <a:pt x="801" y="45"/>
                    <a:pt x="802" y="46"/>
                  </a:cubicBezTo>
                  <a:cubicBezTo>
                    <a:pt x="802" y="45"/>
                    <a:pt x="801" y="45"/>
                    <a:pt x="801" y="45"/>
                  </a:cubicBezTo>
                  <a:close/>
                  <a:moveTo>
                    <a:pt x="835" y="45"/>
                  </a:moveTo>
                  <a:cubicBezTo>
                    <a:pt x="835" y="45"/>
                    <a:pt x="835" y="45"/>
                    <a:pt x="835" y="45"/>
                  </a:cubicBezTo>
                  <a:cubicBezTo>
                    <a:pt x="835" y="45"/>
                    <a:pt x="835" y="45"/>
                    <a:pt x="835" y="45"/>
                  </a:cubicBezTo>
                  <a:close/>
                  <a:moveTo>
                    <a:pt x="854" y="45"/>
                  </a:moveTo>
                  <a:cubicBezTo>
                    <a:pt x="854" y="45"/>
                    <a:pt x="854" y="45"/>
                    <a:pt x="854" y="45"/>
                  </a:cubicBezTo>
                  <a:cubicBezTo>
                    <a:pt x="854" y="45"/>
                    <a:pt x="854" y="45"/>
                    <a:pt x="854" y="45"/>
                  </a:cubicBezTo>
                  <a:close/>
                  <a:moveTo>
                    <a:pt x="878" y="45"/>
                  </a:moveTo>
                  <a:cubicBezTo>
                    <a:pt x="878" y="45"/>
                    <a:pt x="878" y="45"/>
                    <a:pt x="878" y="45"/>
                  </a:cubicBezTo>
                  <a:cubicBezTo>
                    <a:pt x="878" y="45"/>
                    <a:pt x="878" y="45"/>
                    <a:pt x="878" y="45"/>
                  </a:cubicBezTo>
                  <a:close/>
                  <a:moveTo>
                    <a:pt x="1346" y="82"/>
                  </a:moveTo>
                  <a:cubicBezTo>
                    <a:pt x="1346" y="82"/>
                    <a:pt x="1346" y="82"/>
                    <a:pt x="1346" y="81"/>
                  </a:cubicBezTo>
                  <a:cubicBezTo>
                    <a:pt x="1346" y="81"/>
                    <a:pt x="1346" y="82"/>
                    <a:pt x="1346" y="82"/>
                  </a:cubicBezTo>
                  <a:close/>
                  <a:moveTo>
                    <a:pt x="897" y="45"/>
                  </a:moveTo>
                  <a:cubicBezTo>
                    <a:pt x="897" y="45"/>
                    <a:pt x="897" y="45"/>
                    <a:pt x="897" y="45"/>
                  </a:cubicBezTo>
                  <a:cubicBezTo>
                    <a:pt x="897" y="45"/>
                    <a:pt x="897" y="45"/>
                    <a:pt x="897" y="45"/>
                  </a:cubicBezTo>
                  <a:close/>
                  <a:moveTo>
                    <a:pt x="1139" y="45"/>
                  </a:moveTo>
                  <a:cubicBezTo>
                    <a:pt x="1139" y="45"/>
                    <a:pt x="1138" y="45"/>
                    <a:pt x="1138" y="45"/>
                  </a:cubicBezTo>
                  <a:cubicBezTo>
                    <a:pt x="1138" y="45"/>
                    <a:pt x="1138" y="45"/>
                    <a:pt x="1139" y="45"/>
                  </a:cubicBezTo>
                  <a:close/>
                  <a:moveTo>
                    <a:pt x="1297" y="45"/>
                  </a:moveTo>
                  <a:cubicBezTo>
                    <a:pt x="1297" y="45"/>
                    <a:pt x="1297" y="45"/>
                    <a:pt x="1297" y="45"/>
                  </a:cubicBezTo>
                  <a:cubicBezTo>
                    <a:pt x="1297" y="45"/>
                    <a:pt x="1297" y="45"/>
                    <a:pt x="1297" y="45"/>
                  </a:cubicBezTo>
                  <a:close/>
                  <a:moveTo>
                    <a:pt x="753" y="46"/>
                  </a:moveTo>
                  <a:cubicBezTo>
                    <a:pt x="754" y="46"/>
                    <a:pt x="754" y="46"/>
                    <a:pt x="754" y="45"/>
                  </a:cubicBezTo>
                  <a:cubicBezTo>
                    <a:pt x="753" y="46"/>
                    <a:pt x="753" y="46"/>
                    <a:pt x="753" y="46"/>
                  </a:cubicBezTo>
                  <a:close/>
                  <a:moveTo>
                    <a:pt x="855" y="46"/>
                  </a:moveTo>
                  <a:cubicBezTo>
                    <a:pt x="855" y="46"/>
                    <a:pt x="854" y="45"/>
                    <a:pt x="854" y="45"/>
                  </a:cubicBezTo>
                  <a:cubicBezTo>
                    <a:pt x="854" y="46"/>
                    <a:pt x="854" y="46"/>
                    <a:pt x="855" y="46"/>
                  </a:cubicBezTo>
                  <a:close/>
                  <a:moveTo>
                    <a:pt x="897" y="46"/>
                  </a:moveTo>
                  <a:cubicBezTo>
                    <a:pt x="897" y="46"/>
                    <a:pt x="897" y="45"/>
                    <a:pt x="897" y="45"/>
                  </a:cubicBezTo>
                  <a:cubicBezTo>
                    <a:pt x="897" y="46"/>
                    <a:pt x="897" y="46"/>
                    <a:pt x="897" y="46"/>
                  </a:cubicBezTo>
                  <a:close/>
                  <a:moveTo>
                    <a:pt x="957" y="82"/>
                  </a:moveTo>
                  <a:cubicBezTo>
                    <a:pt x="957" y="82"/>
                    <a:pt x="957" y="82"/>
                    <a:pt x="957" y="82"/>
                  </a:cubicBezTo>
                  <a:cubicBezTo>
                    <a:pt x="957" y="82"/>
                    <a:pt x="957" y="82"/>
                    <a:pt x="957" y="82"/>
                  </a:cubicBezTo>
                  <a:close/>
                  <a:moveTo>
                    <a:pt x="1139" y="46"/>
                  </a:moveTo>
                  <a:cubicBezTo>
                    <a:pt x="1139" y="46"/>
                    <a:pt x="1139" y="45"/>
                    <a:pt x="1139" y="45"/>
                  </a:cubicBezTo>
                  <a:cubicBezTo>
                    <a:pt x="1139" y="46"/>
                    <a:pt x="1139" y="46"/>
                    <a:pt x="1139" y="46"/>
                  </a:cubicBezTo>
                  <a:close/>
                  <a:moveTo>
                    <a:pt x="1261" y="45"/>
                  </a:moveTo>
                  <a:cubicBezTo>
                    <a:pt x="1261" y="46"/>
                    <a:pt x="1262" y="46"/>
                    <a:pt x="1262" y="46"/>
                  </a:cubicBezTo>
                  <a:cubicBezTo>
                    <a:pt x="1262" y="46"/>
                    <a:pt x="1262" y="46"/>
                    <a:pt x="1261" y="45"/>
                  </a:cubicBezTo>
                  <a:close/>
                  <a:moveTo>
                    <a:pt x="1297" y="45"/>
                  </a:moveTo>
                  <a:cubicBezTo>
                    <a:pt x="1296" y="45"/>
                    <a:pt x="1296" y="46"/>
                    <a:pt x="1296" y="46"/>
                  </a:cubicBezTo>
                  <a:cubicBezTo>
                    <a:pt x="1296" y="46"/>
                    <a:pt x="1297" y="46"/>
                    <a:pt x="1297" y="45"/>
                  </a:cubicBezTo>
                  <a:close/>
                  <a:moveTo>
                    <a:pt x="1541" y="82"/>
                  </a:moveTo>
                  <a:cubicBezTo>
                    <a:pt x="1541" y="82"/>
                    <a:pt x="1541" y="82"/>
                    <a:pt x="1541" y="82"/>
                  </a:cubicBezTo>
                  <a:cubicBezTo>
                    <a:pt x="1541" y="82"/>
                    <a:pt x="1541" y="82"/>
                    <a:pt x="1541" y="82"/>
                  </a:cubicBezTo>
                  <a:close/>
                  <a:moveTo>
                    <a:pt x="1567" y="46"/>
                  </a:moveTo>
                  <a:cubicBezTo>
                    <a:pt x="1567" y="46"/>
                    <a:pt x="1567" y="46"/>
                    <a:pt x="1567" y="45"/>
                  </a:cubicBezTo>
                  <a:cubicBezTo>
                    <a:pt x="1567" y="46"/>
                    <a:pt x="1567" y="46"/>
                    <a:pt x="1567" y="46"/>
                  </a:cubicBezTo>
                  <a:close/>
                  <a:moveTo>
                    <a:pt x="1709" y="82"/>
                  </a:moveTo>
                  <a:cubicBezTo>
                    <a:pt x="1709" y="82"/>
                    <a:pt x="1709" y="82"/>
                    <a:pt x="1709" y="82"/>
                  </a:cubicBezTo>
                  <a:cubicBezTo>
                    <a:pt x="1709" y="82"/>
                    <a:pt x="1709" y="82"/>
                    <a:pt x="1709" y="82"/>
                  </a:cubicBezTo>
                  <a:close/>
                  <a:moveTo>
                    <a:pt x="1735" y="46"/>
                  </a:moveTo>
                  <a:cubicBezTo>
                    <a:pt x="1735" y="46"/>
                    <a:pt x="1735" y="46"/>
                    <a:pt x="1735" y="45"/>
                  </a:cubicBezTo>
                  <a:cubicBezTo>
                    <a:pt x="1735" y="46"/>
                    <a:pt x="1735" y="46"/>
                    <a:pt x="1735" y="46"/>
                  </a:cubicBezTo>
                  <a:close/>
                  <a:moveTo>
                    <a:pt x="559" y="46"/>
                  </a:moveTo>
                  <a:cubicBezTo>
                    <a:pt x="559" y="46"/>
                    <a:pt x="560" y="46"/>
                    <a:pt x="560" y="46"/>
                  </a:cubicBezTo>
                  <a:cubicBezTo>
                    <a:pt x="560" y="46"/>
                    <a:pt x="559" y="46"/>
                    <a:pt x="559" y="46"/>
                  </a:cubicBezTo>
                  <a:close/>
                  <a:moveTo>
                    <a:pt x="696" y="46"/>
                  </a:moveTo>
                  <a:cubicBezTo>
                    <a:pt x="695" y="46"/>
                    <a:pt x="695" y="46"/>
                    <a:pt x="695" y="46"/>
                  </a:cubicBezTo>
                  <a:cubicBezTo>
                    <a:pt x="695" y="46"/>
                    <a:pt x="695" y="46"/>
                    <a:pt x="696" y="46"/>
                  </a:cubicBezTo>
                  <a:close/>
                  <a:moveTo>
                    <a:pt x="855" y="46"/>
                  </a:moveTo>
                  <a:cubicBezTo>
                    <a:pt x="855" y="46"/>
                    <a:pt x="855" y="46"/>
                    <a:pt x="855" y="46"/>
                  </a:cubicBezTo>
                  <a:cubicBezTo>
                    <a:pt x="855" y="46"/>
                    <a:pt x="855" y="46"/>
                    <a:pt x="855" y="46"/>
                  </a:cubicBezTo>
                  <a:close/>
                  <a:moveTo>
                    <a:pt x="971" y="82"/>
                  </a:moveTo>
                  <a:cubicBezTo>
                    <a:pt x="971" y="82"/>
                    <a:pt x="971" y="82"/>
                    <a:pt x="971" y="82"/>
                  </a:cubicBezTo>
                  <a:cubicBezTo>
                    <a:pt x="971" y="82"/>
                    <a:pt x="971" y="82"/>
                    <a:pt x="971" y="82"/>
                  </a:cubicBezTo>
                  <a:close/>
                  <a:moveTo>
                    <a:pt x="898" y="46"/>
                  </a:moveTo>
                  <a:cubicBezTo>
                    <a:pt x="898" y="46"/>
                    <a:pt x="898" y="46"/>
                    <a:pt x="897" y="46"/>
                  </a:cubicBezTo>
                  <a:cubicBezTo>
                    <a:pt x="897" y="46"/>
                    <a:pt x="898" y="46"/>
                    <a:pt x="898" y="46"/>
                  </a:cubicBezTo>
                  <a:close/>
                  <a:moveTo>
                    <a:pt x="1357" y="82"/>
                  </a:moveTo>
                  <a:cubicBezTo>
                    <a:pt x="1357" y="82"/>
                    <a:pt x="1357" y="82"/>
                    <a:pt x="1357" y="82"/>
                  </a:cubicBezTo>
                  <a:cubicBezTo>
                    <a:pt x="1357" y="82"/>
                    <a:pt x="1357" y="82"/>
                    <a:pt x="1357" y="82"/>
                  </a:cubicBezTo>
                  <a:close/>
                  <a:moveTo>
                    <a:pt x="1035" y="46"/>
                  </a:moveTo>
                  <a:cubicBezTo>
                    <a:pt x="1035" y="46"/>
                    <a:pt x="1036" y="46"/>
                    <a:pt x="1036" y="46"/>
                  </a:cubicBezTo>
                  <a:cubicBezTo>
                    <a:pt x="1035" y="46"/>
                    <a:pt x="1035" y="46"/>
                    <a:pt x="1035" y="46"/>
                  </a:cubicBezTo>
                  <a:close/>
                  <a:moveTo>
                    <a:pt x="1118" y="46"/>
                  </a:moveTo>
                  <a:cubicBezTo>
                    <a:pt x="1117" y="46"/>
                    <a:pt x="1117" y="46"/>
                    <a:pt x="1117" y="46"/>
                  </a:cubicBezTo>
                  <a:cubicBezTo>
                    <a:pt x="1117" y="46"/>
                    <a:pt x="1118" y="46"/>
                    <a:pt x="1118" y="46"/>
                  </a:cubicBezTo>
                  <a:close/>
                  <a:moveTo>
                    <a:pt x="1139" y="46"/>
                  </a:moveTo>
                  <a:cubicBezTo>
                    <a:pt x="1139" y="46"/>
                    <a:pt x="1139" y="46"/>
                    <a:pt x="1139" y="46"/>
                  </a:cubicBezTo>
                  <a:cubicBezTo>
                    <a:pt x="1139" y="46"/>
                    <a:pt x="1139" y="46"/>
                    <a:pt x="1139" y="46"/>
                  </a:cubicBezTo>
                  <a:close/>
                  <a:moveTo>
                    <a:pt x="1382" y="46"/>
                  </a:moveTo>
                  <a:cubicBezTo>
                    <a:pt x="1383" y="46"/>
                    <a:pt x="1383" y="46"/>
                    <a:pt x="1383" y="46"/>
                  </a:cubicBezTo>
                  <a:cubicBezTo>
                    <a:pt x="1382" y="46"/>
                    <a:pt x="1382" y="46"/>
                    <a:pt x="1382" y="46"/>
                  </a:cubicBezTo>
                  <a:close/>
                  <a:moveTo>
                    <a:pt x="671" y="46"/>
                  </a:moveTo>
                  <a:cubicBezTo>
                    <a:pt x="671" y="46"/>
                    <a:pt x="671" y="46"/>
                    <a:pt x="671" y="46"/>
                  </a:cubicBezTo>
                  <a:cubicBezTo>
                    <a:pt x="671" y="46"/>
                    <a:pt x="671" y="46"/>
                    <a:pt x="671" y="46"/>
                  </a:cubicBezTo>
                  <a:close/>
                  <a:moveTo>
                    <a:pt x="855" y="47"/>
                  </a:moveTo>
                  <a:cubicBezTo>
                    <a:pt x="855" y="46"/>
                    <a:pt x="855" y="46"/>
                    <a:pt x="855" y="46"/>
                  </a:cubicBezTo>
                  <a:cubicBezTo>
                    <a:pt x="855" y="46"/>
                    <a:pt x="855" y="46"/>
                    <a:pt x="855" y="47"/>
                  </a:cubicBezTo>
                  <a:close/>
                  <a:moveTo>
                    <a:pt x="1117" y="46"/>
                  </a:moveTo>
                  <a:cubicBezTo>
                    <a:pt x="1117" y="46"/>
                    <a:pt x="1117" y="46"/>
                    <a:pt x="1117" y="46"/>
                  </a:cubicBezTo>
                  <a:cubicBezTo>
                    <a:pt x="1117" y="46"/>
                    <a:pt x="1117" y="46"/>
                    <a:pt x="1117" y="46"/>
                  </a:cubicBezTo>
                  <a:close/>
                  <a:moveTo>
                    <a:pt x="1140" y="47"/>
                  </a:moveTo>
                  <a:cubicBezTo>
                    <a:pt x="1140" y="46"/>
                    <a:pt x="1140" y="46"/>
                    <a:pt x="1139" y="46"/>
                  </a:cubicBezTo>
                  <a:cubicBezTo>
                    <a:pt x="1139" y="46"/>
                    <a:pt x="1139" y="46"/>
                    <a:pt x="1140" y="47"/>
                  </a:cubicBezTo>
                  <a:close/>
                  <a:moveTo>
                    <a:pt x="957" y="83"/>
                  </a:moveTo>
                  <a:cubicBezTo>
                    <a:pt x="957" y="82"/>
                    <a:pt x="957" y="82"/>
                    <a:pt x="957" y="82"/>
                  </a:cubicBezTo>
                  <a:cubicBezTo>
                    <a:pt x="957" y="82"/>
                    <a:pt x="957" y="83"/>
                    <a:pt x="957" y="83"/>
                  </a:cubicBezTo>
                  <a:close/>
                  <a:moveTo>
                    <a:pt x="971" y="82"/>
                  </a:moveTo>
                  <a:cubicBezTo>
                    <a:pt x="971" y="83"/>
                    <a:pt x="972" y="83"/>
                    <a:pt x="972" y="83"/>
                  </a:cubicBezTo>
                  <a:cubicBezTo>
                    <a:pt x="972" y="83"/>
                    <a:pt x="972" y="82"/>
                    <a:pt x="971" y="82"/>
                  </a:cubicBezTo>
                  <a:close/>
                  <a:moveTo>
                    <a:pt x="1262" y="46"/>
                  </a:moveTo>
                  <a:cubicBezTo>
                    <a:pt x="1262" y="46"/>
                    <a:pt x="1262" y="47"/>
                    <a:pt x="1262" y="47"/>
                  </a:cubicBezTo>
                  <a:cubicBezTo>
                    <a:pt x="1262" y="46"/>
                    <a:pt x="1262" y="46"/>
                    <a:pt x="1262" y="46"/>
                  </a:cubicBezTo>
                  <a:close/>
                  <a:moveTo>
                    <a:pt x="1296" y="46"/>
                  </a:moveTo>
                  <a:cubicBezTo>
                    <a:pt x="1295" y="46"/>
                    <a:pt x="1295" y="46"/>
                    <a:pt x="1295" y="47"/>
                  </a:cubicBezTo>
                  <a:cubicBezTo>
                    <a:pt x="1295" y="46"/>
                    <a:pt x="1295" y="46"/>
                    <a:pt x="1296" y="46"/>
                  </a:cubicBezTo>
                  <a:close/>
                  <a:moveTo>
                    <a:pt x="671" y="46"/>
                  </a:moveTo>
                  <a:cubicBezTo>
                    <a:pt x="671" y="47"/>
                    <a:pt x="671" y="47"/>
                    <a:pt x="671" y="47"/>
                  </a:cubicBezTo>
                  <a:cubicBezTo>
                    <a:pt x="671" y="47"/>
                    <a:pt x="671" y="47"/>
                    <a:pt x="671" y="46"/>
                  </a:cubicBezTo>
                  <a:close/>
                  <a:moveTo>
                    <a:pt x="1117" y="46"/>
                  </a:moveTo>
                  <a:cubicBezTo>
                    <a:pt x="1117" y="46"/>
                    <a:pt x="1117" y="47"/>
                    <a:pt x="1117" y="47"/>
                  </a:cubicBezTo>
                  <a:cubicBezTo>
                    <a:pt x="1117" y="47"/>
                    <a:pt x="1117" y="47"/>
                    <a:pt x="1117" y="46"/>
                  </a:cubicBezTo>
                  <a:close/>
                  <a:moveTo>
                    <a:pt x="1140" y="47"/>
                  </a:moveTo>
                  <a:cubicBezTo>
                    <a:pt x="1140" y="47"/>
                    <a:pt x="1140" y="47"/>
                    <a:pt x="1140" y="46"/>
                  </a:cubicBezTo>
                  <a:cubicBezTo>
                    <a:pt x="1140" y="47"/>
                    <a:pt x="1140" y="47"/>
                    <a:pt x="1140" y="47"/>
                  </a:cubicBezTo>
                  <a:close/>
                  <a:moveTo>
                    <a:pt x="1295" y="47"/>
                  </a:moveTo>
                  <a:cubicBezTo>
                    <a:pt x="1295" y="47"/>
                    <a:pt x="1295" y="47"/>
                    <a:pt x="1295" y="47"/>
                  </a:cubicBezTo>
                  <a:cubicBezTo>
                    <a:pt x="1295" y="47"/>
                    <a:pt x="1295" y="47"/>
                    <a:pt x="1295" y="47"/>
                  </a:cubicBezTo>
                  <a:close/>
                  <a:moveTo>
                    <a:pt x="1566" y="47"/>
                  </a:moveTo>
                  <a:cubicBezTo>
                    <a:pt x="1566" y="47"/>
                    <a:pt x="1566" y="47"/>
                    <a:pt x="1566" y="47"/>
                  </a:cubicBezTo>
                  <a:cubicBezTo>
                    <a:pt x="1566" y="47"/>
                    <a:pt x="1566" y="47"/>
                    <a:pt x="1566" y="47"/>
                  </a:cubicBezTo>
                  <a:close/>
                  <a:moveTo>
                    <a:pt x="972" y="83"/>
                  </a:moveTo>
                  <a:cubicBezTo>
                    <a:pt x="972" y="83"/>
                    <a:pt x="972" y="83"/>
                    <a:pt x="972" y="83"/>
                  </a:cubicBezTo>
                  <a:cubicBezTo>
                    <a:pt x="972" y="83"/>
                    <a:pt x="972" y="83"/>
                    <a:pt x="972" y="83"/>
                  </a:cubicBezTo>
                  <a:close/>
                  <a:moveTo>
                    <a:pt x="1734" y="47"/>
                  </a:moveTo>
                  <a:cubicBezTo>
                    <a:pt x="1734" y="47"/>
                    <a:pt x="1735" y="47"/>
                    <a:pt x="1735" y="47"/>
                  </a:cubicBezTo>
                  <a:cubicBezTo>
                    <a:pt x="1734" y="47"/>
                    <a:pt x="1734" y="47"/>
                    <a:pt x="1734" y="47"/>
                  </a:cubicBezTo>
                  <a:close/>
                  <a:moveTo>
                    <a:pt x="561" y="47"/>
                  </a:moveTo>
                  <a:cubicBezTo>
                    <a:pt x="561" y="47"/>
                    <a:pt x="561" y="47"/>
                    <a:pt x="561" y="47"/>
                  </a:cubicBezTo>
                  <a:cubicBezTo>
                    <a:pt x="561" y="47"/>
                    <a:pt x="561" y="47"/>
                    <a:pt x="561" y="47"/>
                  </a:cubicBezTo>
                  <a:close/>
                  <a:moveTo>
                    <a:pt x="898" y="47"/>
                  </a:moveTo>
                  <a:cubicBezTo>
                    <a:pt x="898" y="47"/>
                    <a:pt x="898" y="47"/>
                    <a:pt x="898" y="47"/>
                  </a:cubicBezTo>
                  <a:cubicBezTo>
                    <a:pt x="898" y="47"/>
                    <a:pt x="898" y="47"/>
                    <a:pt x="898" y="47"/>
                  </a:cubicBezTo>
                  <a:close/>
                  <a:moveTo>
                    <a:pt x="1356" y="83"/>
                  </a:moveTo>
                  <a:cubicBezTo>
                    <a:pt x="1356" y="83"/>
                    <a:pt x="1356" y="83"/>
                    <a:pt x="1356" y="83"/>
                  </a:cubicBezTo>
                  <a:cubicBezTo>
                    <a:pt x="1356" y="83"/>
                    <a:pt x="1356" y="83"/>
                    <a:pt x="1356" y="83"/>
                  </a:cubicBezTo>
                  <a:close/>
                  <a:moveTo>
                    <a:pt x="1035" y="47"/>
                  </a:moveTo>
                  <a:cubicBezTo>
                    <a:pt x="1035" y="47"/>
                    <a:pt x="1035" y="47"/>
                    <a:pt x="1035" y="47"/>
                  </a:cubicBezTo>
                  <a:cubicBezTo>
                    <a:pt x="1035" y="47"/>
                    <a:pt x="1035" y="47"/>
                    <a:pt x="1035" y="47"/>
                  </a:cubicBezTo>
                  <a:close/>
                  <a:moveTo>
                    <a:pt x="1117" y="47"/>
                  </a:moveTo>
                  <a:cubicBezTo>
                    <a:pt x="1116" y="47"/>
                    <a:pt x="1116" y="47"/>
                    <a:pt x="1116" y="47"/>
                  </a:cubicBezTo>
                  <a:cubicBezTo>
                    <a:pt x="1116" y="47"/>
                    <a:pt x="1117" y="47"/>
                    <a:pt x="1117" y="47"/>
                  </a:cubicBezTo>
                  <a:close/>
                  <a:moveTo>
                    <a:pt x="1212" y="47"/>
                  </a:moveTo>
                  <a:cubicBezTo>
                    <a:pt x="1213" y="47"/>
                    <a:pt x="1213" y="47"/>
                    <a:pt x="1213" y="47"/>
                  </a:cubicBezTo>
                  <a:cubicBezTo>
                    <a:pt x="1213" y="47"/>
                    <a:pt x="1213" y="47"/>
                    <a:pt x="1212" y="47"/>
                  </a:cubicBezTo>
                  <a:close/>
                  <a:moveTo>
                    <a:pt x="1262" y="47"/>
                  </a:moveTo>
                  <a:cubicBezTo>
                    <a:pt x="1262" y="47"/>
                    <a:pt x="1262" y="47"/>
                    <a:pt x="1262" y="47"/>
                  </a:cubicBezTo>
                  <a:cubicBezTo>
                    <a:pt x="1262" y="47"/>
                    <a:pt x="1262" y="47"/>
                    <a:pt x="1262" y="47"/>
                  </a:cubicBezTo>
                  <a:close/>
                  <a:moveTo>
                    <a:pt x="1295" y="47"/>
                  </a:moveTo>
                  <a:cubicBezTo>
                    <a:pt x="1295" y="47"/>
                    <a:pt x="1295" y="47"/>
                    <a:pt x="1295" y="47"/>
                  </a:cubicBezTo>
                  <a:cubicBezTo>
                    <a:pt x="1295" y="47"/>
                    <a:pt x="1295" y="47"/>
                    <a:pt x="1295" y="47"/>
                  </a:cubicBezTo>
                  <a:close/>
                  <a:moveTo>
                    <a:pt x="1382" y="47"/>
                  </a:moveTo>
                  <a:cubicBezTo>
                    <a:pt x="1382" y="47"/>
                    <a:pt x="1382" y="47"/>
                    <a:pt x="1382" y="47"/>
                  </a:cubicBezTo>
                  <a:cubicBezTo>
                    <a:pt x="1382" y="47"/>
                    <a:pt x="1382" y="47"/>
                    <a:pt x="1382" y="47"/>
                  </a:cubicBezTo>
                  <a:close/>
                  <a:moveTo>
                    <a:pt x="1681" y="47"/>
                  </a:moveTo>
                  <a:cubicBezTo>
                    <a:pt x="1680" y="47"/>
                    <a:pt x="1680" y="47"/>
                    <a:pt x="1680" y="47"/>
                  </a:cubicBezTo>
                  <a:cubicBezTo>
                    <a:pt x="1680" y="47"/>
                    <a:pt x="1680" y="47"/>
                    <a:pt x="1681" y="47"/>
                  </a:cubicBezTo>
                  <a:close/>
                  <a:moveTo>
                    <a:pt x="752" y="48"/>
                  </a:moveTo>
                  <a:cubicBezTo>
                    <a:pt x="752" y="48"/>
                    <a:pt x="753" y="47"/>
                    <a:pt x="753" y="47"/>
                  </a:cubicBezTo>
                  <a:cubicBezTo>
                    <a:pt x="752" y="47"/>
                    <a:pt x="752" y="47"/>
                    <a:pt x="752" y="48"/>
                  </a:cubicBezTo>
                  <a:close/>
                  <a:moveTo>
                    <a:pt x="972" y="83"/>
                  </a:moveTo>
                  <a:cubicBezTo>
                    <a:pt x="972" y="83"/>
                    <a:pt x="972" y="83"/>
                    <a:pt x="972" y="83"/>
                  </a:cubicBezTo>
                  <a:cubicBezTo>
                    <a:pt x="972" y="83"/>
                    <a:pt x="972" y="83"/>
                    <a:pt x="972" y="83"/>
                  </a:cubicBezTo>
                  <a:close/>
                  <a:moveTo>
                    <a:pt x="833" y="47"/>
                  </a:moveTo>
                  <a:cubicBezTo>
                    <a:pt x="833" y="47"/>
                    <a:pt x="833" y="47"/>
                    <a:pt x="833" y="48"/>
                  </a:cubicBezTo>
                  <a:cubicBezTo>
                    <a:pt x="833" y="47"/>
                    <a:pt x="833" y="47"/>
                    <a:pt x="833" y="47"/>
                  </a:cubicBezTo>
                  <a:close/>
                  <a:moveTo>
                    <a:pt x="876" y="47"/>
                  </a:moveTo>
                  <a:cubicBezTo>
                    <a:pt x="876" y="47"/>
                    <a:pt x="876" y="47"/>
                    <a:pt x="876" y="48"/>
                  </a:cubicBezTo>
                  <a:cubicBezTo>
                    <a:pt x="876" y="47"/>
                    <a:pt x="876" y="47"/>
                    <a:pt x="876" y="47"/>
                  </a:cubicBezTo>
                  <a:close/>
                  <a:moveTo>
                    <a:pt x="1116" y="47"/>
                  </a:moveTo>
                  <a:cubicBezTo>
                    <a:pt x="1116" y="47"/>
                    <a:pt x="1116" y="47"/>
                    <a:pt x="1116" y="48"/>
                  </a:cubicBezTo>
                  <a:cubicBezTo>
                    <a:pt x="1116" y="47"/>
                    <a:pt x="1116" y="47"/>
                    <a:pt x="1116" y="47"/>
                  </a:cubicBezTo>
                  <a:close/>
                  <a:moveTo>
                    <a:pt x="1295" y="47"/>
                  </a:moveTo>
                  <a:cubicBezTo>
                    <a:pt x="1294" y="47"/>
                    <a:pt x="1294" y="47"/>
                    <a:pt x="1294" y="48"/>
                  </a:cubicBezTo>
                  <a:cubicBezTo>
                    <a:pt x="1294" y="47"/>
                    <a:pt x="1294" y="47"/>
                    <a:pt x="1295" y="47"/>
                  </a:cubicBezTo>
                  <a:close/>
                  <a:moveTo>
                    <a:pt x="833" y="47"/>
                  </a:moveTo>
                  <a:cubicBezTo>
                    <a:pt x="833" y="48"/>
                    <a:pt x="833" y="48"/>
                    <a:pt x="833" y="48"/>
                  </a:cubicBezTo>
                  <a:cubicBezTo>
                    <a:pt x="833" y="48"/>
                    <a:pt x="833" y="48"/>
                    <a:pt x="833" y="47"/>
                  </a:cubicBezTo>
                  <a:close/>
                  <a:moveTo>
                    <a:pt x="856" y="48"/>
                  </a:moveTo>
                  <a:cubicBezTo>
                    <a:pt x="856" y="48"/>
                    <a:pt x="856" y="48"/>
                    <a:pt x="856" y="47"/>
                  </a:cubicBezTo>
                  <a:cubicBezTo>
                    <a:pt x="856" y="48"/>
                    <a:pt x="856" y="48"/>
                    <a:pt x="856" y="48"/>
                  </a:cubicBezTo>
                  <a:close/>
                  <a:moveTo>
                    <a:pt x="876" y="47"/>
                  </a:moveTo>
                  <a:cubicBezTo>
                    <a:pt x="876" y="48"/>
                    <a:pt x="875" y="48"/>
                    <a:pt x="875" y="48"/>
                  </a:cubicBezTo>
                  <a:cubicBezTo>
                    <a:pt x="876" y="48"/>
                    <a:pt x="876" y="48"/>
                    <a:pt x="876" y="47"/>
                  </a:cubicBezTo>
                  <a:close/>
                  <a:moveTo>
                    <a:pt x="1116" y="47"/>
                  </a:moveTo>
                  <a:cubicBezTo>
                    <a:pt x="1116" y="48"/>
                    <a:pt x="1116" y="48"/>
                    <a:pt x="1116" y="48"/>
                  </a:cubicBezTo>
                  <a:cubicBezTo>
                    <a:pt x="1116" y="48"/>
                    <a:pt x="1116" y="48"/>
                    <a:pt x="1116" y="47"/>
                  </a:cubicBezTo>
                  <a:close/>
                  <a:moveTo>
                    <a:pt x="761" y="83"/>
                  </a:moveTo>
                  <a:cubicBezTo>
                    <a:pt x="761" y="84"/>
                    <a:pt x="761" y="84"/>
                    <a:pt x="762" y="84"/>
                  </a:cubicBezTo>
                  <a:cubicBezTo>
                    <a:pt x="762" y="84"/>
                    <a:pt x="761" y="84"/>
                    <a:pt x="761" y="83"/>
                  </a:cubicBezTo>
                  <a:close/>
                  <a:moveTo>
                    <a:pt x="1141" y="48"/>
                  </a:moveTo>
                  <a:cubicBezTo>
                    <a:pt x="1141" y="48"/>
                    <a:pt x="1141" y="48"/>
                    <a:pt x="1140" y="47"/>
                  </a:cubicBezTo>
                  <a:cubicBezTo>
                    <a:pt x="1140" y="48"/>
                    <a:pt x="1141" y="48"/>
                    <a:pt x="1141" y="48"/>
                  </a:cubicBezTo>
                  <a:close/>
                  <a:moveTo>
                    <a:pt x="972" y="83"/>
                  </a:moveTo>
                  <a:cubicBezTo>
                    <a:pt x="972" y="84"/>
                    <a:pt x="973" y="84"/>
                    <a:pt x="973" y="84"/>
                  </a:cubicBezTo>
                  <a:cubicBezTo>
                    <a:pt x="973" y="84"/>
                    <a:pt x="973" y="84"/>
                    <a:pt x="972" y="83"/>
                  </a:cubicBezTo>
                  <a:close/>
                  <a:moveTo>
                    <a:pt x="1294" y="48"/>
                  </a:moveTo>
                  <a:cubicBezTo>
                    <a:pt x="1294" y="48"/>
                    <a:pt x="1294" y="48"/>
                    <a:pt x="1294" y="48"/>
                  </a:cubicBezTo>
                  <a:cubicBezTo>
                    <a:pt x="1294" y="48"/>
                    <a:pt x="1294" y="48"/>
                    <a:pt x="1294" y="48"/>
                  </a:cubicBezTo>
                  <a:close/>
                  <a:moveTo>
                    <a:pt x="1394" y="47"/>
                  </a:moveTo>
                  <a:cubicBezTo>
                    <a:pt x="1393" y="48"/>
                    <a:pt x="1393" y="48"/>
                    <a:pt x="1393" y="48"/>
                  </a:cubicBezTo>
                  <a:cubicBezTo>
                    <a:pt x="1394" y="48"/>
                    <a:pt x="1394" y="48"/>
                    <a:pt x="1394" y="47"/>
                  </a:cubicBezTo>
                  <a:close/>
                  <a:moveTo>
                    <a:pt x="1565" y="48"/>
                  </a:moveTo>
                  <a:cubicBezTo>
                    <a:pt x="1566" y="48"/>
                    <a:pt x="1566" y="48"/>
                    <a:pt x="1566" y="48"/>
                  </a:cubicBezTo>
                  <a:cubicBezTo>
                    <a:pt x="1566" y="48"/>
                    <a:pt x="1565" y="48"/>
                    <a:pt x="1565" y="48"/>
                  </a:cubicBezTo>
                  <a:close/>
                  <a:moveTo>
                    <a:pt x="1734" y="48"/>
                  </a:moveTo>
                  <a:cubicBezTo>
                    <a:pt x="1734" y="48"/>
                    <a:pt x="1734" y="48"/>
                    <a:pt x="1734" y="48"/>
                  </a:cubicBezTo>
                  <a:cubicBezTo>
                    <a:pt x="1734" y="48"/>
                    <a:pt x="1734" y="48"/>
                    <a:pt x="1734" y="48"/>
                  </a:cubicBezTo>
                  <a:close/>
                  <a:moveTo>
                    <a:pt x="563" y="48"/>
                  </a:moveTo>
                  <a:cubicBezTo>
                    <a:pt x="563" y="48"/>
                    <a:pt x="563" y="48"/>
                    <a:pt x="563" y="48"/>
                  </a:cubicBezTo>
                  <a:cubicBezTo>
                    <a:pt x="563" y="48"/>
                    <a:pt x="563" y="48"/>
                    <a:pt x="563" y="48"/>
                  </a:cubicBezTo>
                  <a:close/>
                  <a:moveTo>
                    <a:pt x="833" y="48"/>
                  </a:moveTo>
                  <a:cubicBezTo>
                    <a:pt x="832" y="48"/>
                    <a:pt x="832" y="48"/>
                    <a:pt x="832" y="48"/>
                  </a:cubicBezTo>
                  <a:cubicBezTo>
                    <a:pt x="832" y="48"/>
                    <a:pt x="832" y="48"/>
                    <a:pt x="833" y="48"/>
                  </a:cubicBezTo>
                  <a:close/>
                  <a:moveTo>
                    <a:pt x="875" y="48"/>
                  </a:moveTo>
                  <a:cubicBezTo>
                    <a:pt x="875" y="48"/>
                    <a:pt x="875" y="48"/>
                    <a:pt x="875" y="48"/>
                  </a:cubicBezTo>
                  <a:cubicBezTo>
                    <a:pt x="875" y="48"/>
                    <a:pt x="875" y="48"/>
                    <a:pt x="875" y="48"/>
                  </a:cubicBezTo>
                  <a:close/>
                  <a:moveTo>
                    <a:pt x="973" y="84"/>
                  </a:moveTo>
                  <a:cubicBezTo>
                    <a:pt x="973" y="84"/>
                    <a:pt x="973" y="84"/>
                    <a:pt x="973" y="84"/>
                  </a:cubicBezTo>
                  <a:cubicBezTo>
                    <a:pt x="973" y="84"/>
                    <a:pt x="973" y="84"/>
                    <a:pt x="973" y="84"/>
                  </a:cubicBezTo>
                  <a:close/>
                  <a:moveTo>
                    <a:pt x="899" y="48"/>
                  </a:moveTo>
                  <a:cubicBezTo>
                    <a:pt x="899" y="48"/>
                    <a:pt x="899" y="48"/>
                    <a:pt x="899" y="48"/>
                  </a:cubicBezTo>
                  <a:cubicBezTo>
                    <a:pt x="899" y="48"/>
                    <a:pt x="899" y="48"/>
                    <a:pt x="899" y="48"/>
                  </a:cubicBezTo>
                  <a:close/>
                  <a:moveTo>
                    <a:pt x="1116" y="48"/>
                  </a:moveTo>
                  <a:cubicBezTo>
                    <a:pt x="1115" y="48"/>
                    <a:pt x="1115" y="48"/>
                    <a:pt x="1115" y="48"/>
                  </a:cubicBezTo>
                  <a:cubicBezTo>
                    <a:pt x="1115" y="48"/>
                    <a:pt x="1116" y="48"/>
                    <a:pt x="1116" y="48"/>
                  </a:cubicBezTo>
                  <a:close/>
                  <a:moveTo>
                    <a:pt x="1381" y="48"/>
                  </a:moveTo>
                  <a:cubicBezTo>
                    <a:pt x="1381" y="48"/>
                    <a:pt x="1381" y="48"/>
                    <a:pt x="1381" y="48"/>
                  </a:cubicBezTo>
                  <a:cubicBezTo>
                    <a:pt x="1381" y="48"/>
                    <a:pt x="1381" y="48"/>
                    <a:pt x="1381" y="48"/>
                  </a:cubicBezTo>
                  <a:close/>
                  <a:moveTo>
                    <a:pt x="1565" y="48"/>
                  </a:moveTo>
                  <a:cubicBezTo>
                    <a:pt x="1565" y="48"/>
                    <a:pt x="1565" y="48"/>
                    <a:pt x="1565" y="48"/>
                  </a:cubicBezTo>
                  <a:cubicBezTo>
                    <a:pt x="1565" y="48"/>
                    <a:pt x="1565" y="48"/>
                    <a:pt x="1565" y="48"/>
                  </a:cubicBezTo>
                  <a:close/>
                  <a:moveTo>
                    <a:pt x="1680" y="48"/>
                  </a:moveTo>
                  <a:cubicBezTo>
                    <a:pt x="1680" y="48"/>
                    <a:pt x="1680" y="48"/>
                    <a:pt x="1680" y="48"/>
                  </a:cubicBezTo>
                  <a:cubicBezTo>
                    <a:pt x="1680" y="48"/>
                    <a:pt x="1680" y="48"/>
                    <a:pt x="1680" y="48"/>
                  </a:cubicBezTo>
                  <a:close/>
                  <a:moveTo>
                    <a:pt x="1733" y="48"/>
                  </a:moveTo>
                  <a:cubicBezTo>
                    <a:pt x="1733" y="48"/>
                    <a:pt x="1734" y="48"/>
                    <a:pt x="1734" y="48"/>
                  </a:cubicBezTo>
                  <a:cubicBezTo>
                    <a:pt x="1733" y="48"/>
                    <a:pt x="1733" y="48"/>
                    <a:pt x="1733" y="48"/>
                  </a:cubicBezTo>
                  <a:close/>
                  <a:moveTo>
                    <a:pt x="1115" y="48"/>
                  </a:moveTo>
                  <a:cubicBezTo>
                    <a:pt x="1115" y="48"/>
                    <a:pt x="1115" y="48"/>
                    <a:pt x="1115" y="49"/>
                  </a:cubicBezTo>
                  <a:cubicBezTo>
                    <a:pt x="1115" y="48"/>
                    <a:pt x="1115" y="48"/>
                    <a:pt x="1115" y="48"/>
                  </a:cubicBezTo>
                  <a:close/>
                  <a:moveTo>
                    <a:pt x="1381" y="49"/>
                  </a:moveTo>
                  <a:cubicBezTo>
                    <a:pt x="1381" y="49"/>
                    <a:pt x="1381" y="48"/>
                    <a:pt x="1381" y="48"/>
                  </a:cubicBezTo>
                  <a:cubicBezTo>
                    <a:pt x="1381" y="48"/>
                    <a:pt x="1381" y="48"/>
                    <a:pt x="1381" y="49"/>
                  </a:cubicBezTo>
                  <a:close/>
                  <a:moveTo>
                    <a:pt x="1393" y="48"/>
                  </a:moveTo>
                  <a:cubicBezTo>
                    <a:pt x="1393" y="48"/>
                    <a:pt x="1393" y="48"/>
                    <a:pt x="1393" y="49"/>
                  </a:cubicBezTo>
                  <a:cubicBezTo>
                    <a:pt x="1393" y="48"/>
                    <a:pt x="1393" y="48"/>
                    <a:pt x="1393" y="48"/>
                  </a:cubicBezTo>
                  <a:close/>
                  <a:moveTo>
                    <a:pt x="899" y="49"/>
                  </a:moveTo>
                  <a:cubicBezTo>
                    <a:pt x="899" y="49"/>
                    <a:pt x="899" y="49"/>
                    <a:pt x="899" y="48"/>
                  </a:cubicBezTo>
                  <a:cubicBezTo>
                    <a:pt x="899" y="49"/>
                    <a:pt x="899" y="49"/>
                    <a:pt x="899" y="49"/>
                  </a:cubicBezTo>
                  <a:close/>
                  <a:moveTo>
                    <a:pt x="762" y="84"/>
                  </a:moveTo>
                  <a:cubicBezTo>
                    <a:pt x="762" y="84"/>
                    <a:pt x="762" y="84"/>
                    <a:pt x="762" y="85"/>
                  </a:cubicBezTo>
                  <a:cubicBezTo>
                    <a:pt x="762" y="84"/>
                    <a:pt x="762" y="84"/>
                    <a:pt x="762" y="84"/>
                  </a:cubicBezTo>
                  <a:close/>
                  <a:moveTo>
                    <a:pt x="958" y="84"/>
                  </a:moveTo>
                  <a:cubicBezTo>
                    <a:pt x="958" y="84"/>
                    <a:pt x="958" y="84"/>
                    <a:pt x="958" y="84"/>
                  </a:cubicBezTo>
                  <a:cubicBezTo>
                    <a:pt x="958" y="84"/>
                    <a:pt x="958" y="84"/>
                    <a:pt x="958" y="84"/>
                  </a:cubicBezTo>
                  <a:close/>
                  <a:moveTo>
                    <a:pt x="973" y="84"/>
                  </a:moveTo>
                  <a:cubicBezTo>
                    <a:pt x="973" y="84"/>
                    <a:pt x="973" y="84"/>
                    <a:pt x="974" y="85"/>
                  </a:cubicBezTo>
                  <a:cubicBezTo>
                    <a:pt x="973" y="84"/>
                    <a:pt x="973" y="84"/>
                    <a:pt x="973" y="84"/>
                  </a:cubicBezTo>
                  <a:close/>
                  <a:moveTo>
                    <a:pt x="1141" y="49"/>
                  </a:moveTo>
                  <a:cubicBezTo>
                    <a:pt x="1141" y="49"/>
                    <a:pt x="1141" y="49"/>
                    <a:pt x="1141" y="49"/>
                  </a:cubicBezTo>
                  <a:cubicBezTo>
                    <a:pt x="1141" y="49"/>
                    <a:pt x="1141" y="49"/>
                    <a:pt x="1141" y="49"/>
                  </a:cubicBezTo>
                  <a:close/>
                  <a:moveTo>
                    <a:pt x="1293" y="48"/>
                  </a:moveTo>
                  <a:cubicBezTo>
                    <a:pt x="1293" y="49"/>
                    <a:pt x="1293" y="49"/>
                    <a:pt x="1293" y="49"/>
                  </a:cubicBezTo>
                  <a:cubicBezTo>
                    <a:pt x="1293" y="49"/>
                    <a:pt x="1293" y="49"/>
                    <a:pt x="1293" y="48"/>
                  </a:cubicBezTo>
                  <a:close/>
                  <a:moveTo>
                    <a:pt x="565" y="49"/>
                  </a:moveTo>
                  <a:cubicBezTo>
                    <a:pt x="565" y="49"/>
                    <a:pt x="565" y="49"/>
                    <a:pt x="565" y="49"/>
                  </a:cubicBezTo>
                  <a:cubicBezTo>
                    <a:pt x="565" y="49"/>
                    <a:pt x="565" y="49"/>
                    <a:pt x="565" y="49"/>
                  </a:cubicBezTo>
                  <a:close/>
                  <a:moveTo>
                    <a:pt x="832" y="49"/>
                  </a:moveTo>
                  <a:cubicBezTo>
                    <a:pt x="832" y="49"/>
                    <a:pt x="832" y="49"/>
                    <a:pt x="832" y="49"/>
                  </a:cubicBezTo>
                  <a:cubicBezTo>
                    <a:pt x="832" y="49"/>
                    <a:pt x="832" y="49"/>
                    <a:pt x="832" y="49"/>
                  </a:cubicBezTo>
                  <a:close/>
                  <a:moveTo>
                    <a:pt x="875" y="49"/>
                  </a:moveTo>
                  <a:cubicBezTo>
                    <a:pt x="874" y="49"/>
                    <a:pt x="874" y="49"/>
                    <a:pt x="874" y="49"/>
                  </a:cubicBezTo>
                  <a:cubicBezTo>
                    <a:pt x="875" y="49"/>
                    <a:pt x="875" y="49"/>
                    <a:pt x="875" y="49"/>
                  </a:cubicBezTo>
                  <a:close/>
                  <a:moveTo>
                    <a:pt x="1293" y="49"/>
                  </a:moveTo>
                  <a:cubicBezTo>
                    <a:pt x="1293" y="49"/>
                    <a:pt x="1293" y="49"/>
                    <a:pt x="1293" y="49"/>
                  </a:cubicBezTo>
                  <a:cubicBezTo>
                    <a:pt x="1293" y="49"/>
                    <a:pt x="1293" y="49"/>
                    <a:pt x="1293" y="49"/>
                  </a:cubicBezTo>
                  <a:close/>
                  <a:moveTo>
                    <a:pt x="1564" y="49"/>
                  </a:moveTo>
                  <a:cubicBezTo>
                    <a:pt x="1565" y="49"/>
                    <a:pt x="1565" y="49"/>
                    <a:pt x="1565" y="49"/>
                  </a:cubicBezTo>
                  <a:cubicBezTo>
                    <a:pt x="1565" y="49"/>
                    <a:pt x="1564" y="49"/>
                    <a:pt x="1564" y="49"/>
                  </a:cubicBezTo>
                  <a:close/>
                  <a:moveTo>
                    <a:pt x="1577" y="49"/>
                  </a:moveTo>
                  <a:cubicBezTo>
                    <a:pt x="1577" y="49"/>
                    <a:pt x="1577" y="49"/>
                    <a:pt x="1577" y="49"/>
                  </a:cubicBezTo>
                  <a:cubicBezTo>
                    <a:pt x="1577" y="49"/>
                    <a:pt x="1577" y="49"/>
                    <a:pt x="1577" y="49"/>
                  </a:cubicBezTo>
                  <a:close/>
                  <a:moveTo>
                    <a:pt x="1679" y="49"/>
                  </a:moveTo>
                  <a:cubicBezTo>
                    <a:pt x="1679" y="49"/>
                    <a:pt x="1679" y="49"/>
                    <a:pt x="1679" y="49"/>
                  </a:cubicBezTo>
                  <a:cubicBezTo>
                    <a:pt x="1679" y="49"/>
                    <a:pt x="1679" y="49"/>
                    <a:pt x="1679" y="49"/>
                  </a:cubicBezTo>
                  <a:close/>
                  <a:moveTo>
                    <a:pt x="1732" y="49"/>
                  </a:moveTo>
                  <a:cubicBezTo>
                    <a:pt x="1733" y="49"/>
                    <a:pt x="1733" y="49"/>
                    <a:pt x="1733" y="49"/>
                  </a:cubicBezTo>
                  <a:cubicBezTo>
                    <a:pt x="1733" y="49"/>
                    <a:pt x="1733" y="49"/>
                    <a:pt x="1732" y="49"/>
                  </a:cubicBezTo>
                  <a:close/>
                  <a:moveTo>
                    <a:pt x="974" y="84"/>
                  </a:moveTo>
                  <a:cubicBezTo>
                    <a:pt x="974" y="85"/>
                    <a:pt x="974" y="85"/>
                    <a:pt x="974" y="85"/>
                  </a:cubicBezTo>
                  <a:cubicBezTo>
                    <a:pt x="974" y="85"/>
                    <a:pt x="974" y="85"/>
                    <a:pt x="974" y="84"/>
                  </a:cubicBezTo>
                  <a:close/>
                  <a:moveTo>
                    <a:pt x="1745" y="49"/>
                  </a:moveTo>
                  <a:cubicBezTo>
                    <a:pt x="1745" y="49"/>
                    <a:pt x="1745" y="49"/>
                    <a:pt x="1745" y="49"/>
                  </a:cubicBezTo>
                  <a:cubicBezTo>
                    <a:pt x="1745" y="49"/>
                    <a:pt x="1745" y="49"/>
                    <a:pt x="1745" y="49"/>
                  </a:cubicBezTo>
                  <a:close/>
                  <a:moveTo>
                    <a:pt x="1222" y="84"/>
                  </a:moveTo>
                  <a:cubicBezTo>
                    <a:pt x="1222" y="85"/>
                    <a:pt x="1222" y="85"/>
                    <a:pt x="1222" y="85"/>
                  </a:cubicBezTo>
                  <a:cubicBezTo>
                    <a:pt x="1222" y="85"/>
                    <a:pt x="1222" y="85"/>
                    <a:pt x="1222" y="84"/>
                  </a:cubicBezTo>
                  <a:close/>
                  <a:moveTo>
                    <a:pt x="565" y="49"/>
                  </a:moveTo>
                  <a:cubicBezTo>
                    <a:pt x="565" y="50"/>
                    <a:pt x="565" y="50"/>
                    <a:pt x="566" y="50"/>
                  </a:cubicBezTo>
                  <a:cubicBezTo>
                    <a:pt x="566" y="49"/>
                    <a:pt x="565" y="49"/>
                    <a:pt x="565" y="49"/>
                  </a:cubicBezTo>
                  <a:close/>
                  <a:moveTo>
                    <a:pt x="1142" y="50"/>
                  </a:moveTo>
                  <a:cubicBezTo>
                    <a:pt x="1142" y="49"/>
                    <a:pt x="1142" y="49"/>
                    <a:pt x="1141" y="49"/>
                  </a:cubicBezTo>
                  <a:cubicBezTo>
                    <a:pt x="1141" y="49"/>
                    <a:pt x="1142" y="50"/>
                    <a:pt x="1142" y="50"/>
                  </a:cubicBezTo>
                  <a:close/>
                  <a:moveTo>
                    <a:pt x="1393" y="49"/>
                  </a:moveTo>
                  <a:cubicBezTo>
                    <a:pt x="1392" y="49"/>
                    <a:pt x="1392" y="49"/>
                    <a:pt x="1392" y="50"/>
                  </a:cubicBezTo>
                  <a:cubicBezTo>
                    <a:pt x="1392" y="50"/>
                    <a:pt x="1393" y="49"/>
                    <a:pt x="1393" y="49"/>
                  </a:cubicBezTo>
                  <a:close/>
                  <a:moveTo>
                    <a:pt x="1564" y="50"/>
                  </a:moveTo>
                  <a:cubicBezTo>
                    <a:pt x="1564" y="50"/>
                    <a:pt x="1564" y="50"/>
                    <a:pt x="1564" y="49"/>
                  </a:cubicBezTo>
                  <a:cubicBezTo>
                    <a:pt x="1564" y="49"/>
                    <a:pt x="1564" y="50"/>
                    <a:pt x="1564" y="50"/>
                  </a:cubicBezTo>
                  <a:close/>
                  <a:moveTo>
                    <a:pt x="974" y="85"/>
                  </a:moveTo>
                  <a:cubicBezTo>
                    <a:pt x="974" y="85"/>
                    <a:pt x="974" y="85"/>
                    <a:pt x="974" y="85"/>
                  </a:cubicBezTo>
                  <a:cubicBezTo>
                    <a:pt x="974" y="85"/>
                    <a:pt x="974" y="85"/>
                    <a:pt x="974" y="85"/>
                  </a:cubicBezTo>
                  <a:close/>
                  <a:moveTo>
                    <a:pt x="1679" y="49"/>
                  </a:moveTo>
                  <a:cubicBezTo>
                    <a:pt x="1679" y="49"/>
                    <a:pt x="1678" y="49"/>
                    <a:pt x="1678" y="50"/>
                  </a:cubicBezTo>
                  <a:cubicBezTo>
                    <a:pt x="1679" y="50"/>
                    <a:pt x="1679" y="49"/>
                    <a:pt x="1679" y="49"/>
                  </a:cubicBezTo>
                  <a:close/>
                  <a:moveTo>
                    <a:pt x="1732" y="50"/>
                  </a:moveTo>
                  <a:cubicBezTo>
                    <a:pt x="1732" y="50"/>
                    <a:pt x="1732" y="50"/>
                    <a:pt x="1732" y="49"/>
                  </a:cubicBezTo>
                  <a:cubicBezTo>
                    <a:pt x="1732" y="49"/>
                    <a:pt x="1732" y="50"/>
                    <a:pt x="1732" y="50"/>
                  </a:cubicBezTo>
                  <a:close/>
                  <a:moveTo>
                    <a:pt x="1114" y="50"/>
                  </a:moveTo>
                  <a:cubicBezTo>
                    <a:pt x="1114" y="50"/>
                    <a:pt x="1114" y="50"/>
                    <a:pt x="1114" y="50"/>
                  </a:cubicBezTo>
                  <a:cubicBezTo>
                    <a:pt x="1114" y="50"/>
                    <a:pt x="1114" y="50"/>
                    <a:pt x="1114" y="50"/>
                  </a:cubicBezTo>
                  <a:close/>
                  <a:moveTo>
                    <a:pt x="1379" y="50"/>
                  </a:moveTo>
                  <a:cubicBezTo>
                    <a:pt x="1380" y="50"/>
                    <a:pt x="1380" y="50"/>
                    <a:pt x="1380" y="50"/>
                  </a:cubicBezTo>
                  <a:cubicBezTo>
                    <a:pt x="1380" y="50"/>
                    <a:pt x="1380" y="50"/>
                    <a:pt x="1379" y="50"/>
                  </a:cubicBezTo>
                  <a:close/>
                  <a:moveTo>
                    <a:pt x="1564" y="50"/>
                  </a:moveTo>
                  <a:cubicBezTo>
                    <a:pt x="1564" y="50"/>
                    <a:pt x="1564" y="50"/>
                    <a:pt x="1564" y="50"/>
                  </a:cubicBezTo>
                  <a:cubicBezTo>
                    <a:pt x="1564" y="50"/>
                    <a:pt x="1564" y="50"/>
                    <a:pt x="1564" y="50"/>
                  </a:cubicBezTo>
                  <a:close/>
                  <a:moveTo>
                    <a:pt x="1678" y="50"/>
                  </a:moveTo>
                  <a:cubicBezTo>
                    <a:pt x="1678" y="50"/>
                    <a:pt x="1678" y="50"/>
                    <a:pt x="1678" y="50"/>
                  </a:cubicBezTo>
                  <a:cubicBezTo>
                    <a:pt x="1678" y="50"/>
                    <a:pt x="1678" y="50"/>
                    <a:pt x="1678" y="50"/>
                  </a:cubicBezTo>
                  <a:close/>
                  <a:moveTo>
                    <a:pt x="1732" y="50"/>
                  </a:moveTo>
                  <a:cubicBezTo>
                    <a:pt x="1732" y="50"/>
                    <a:pt x="1732" y="50"/>
                    <a:pt x="1732" y="50"/>
                  </a:cubicBezTo>
                  <a:cubicBezTo>
                    <a:pt x="1732" y="50"/>
                    <a:pt x="1732" y="50"/>
                    <a:pt x="1732" y="50"/>
                  </a:cubicBezTo>
                  <a:close/>
                  <a:moveTo>
                    <a:pt x="874" y="50"/>
                  </a:moveTo>
                  <a:cubicBezTo>
                    <a:pt x="874" y="50"/>
                    <a:pt x="874" y="50"/>
                    <a:pt x="874" y="50"/>
                  </a:cubicBezTo>
                  <a:cubicBezTo>
                    <a:pt x="874" y="50"/>
                    <a:pt x="874" y="50"/>
                    <a:pt x="874" y="50"/>
                  </a:cubicBezTo>
                  <a:close/>
                  <a:moveTo>
                    <a:pt x="1292" y="50"/>
                  </a:moveTo>
                  <a:cubicBezTo>
                    <a:pt x="1292" y="50"/>
                    <a:pt x="1292" y="50"/>
                    <a:pt x="1292" y="50"/>
                  </a:cubicBezTo>
                  <a:cubicBezTo>
                    <a:pt x="1292" y="50"/>
                    <a:pt x="1292" y="50"/>
                    <a:pt x="1292" y="50"/>
                  </a:cubicBezTo>
                  <a:close/>
                  <a:moveTo>
                    <a:pt x="1379" y="50"/>
                  </a:moveTo>
                  <a:cubicBezTo>
                    <a:pt x="1379" y="50"/>
                    <a:pt x="1379" y="50"/>
                    <a:pt x="1379" y="50"/>
                  </a:cubicBezTo>
                  <a:cubicBezTo>
                    <a:pt x="1379" y="50"/>
                    <a:pt x="1379" y="50"/>
                    <a:pt x="1379" y="50"/>
                  </a:cubicBezTo>
                  <a:close/>
                  <a:moveTo>
                    <a:pt x="1563" y="50"/>
                  </a:moveTo>
                  <a:cubicBezTo>
                    <a:pt x="1564" y="50"/>
                    <a:pt x="1564" y="50"/>
                    <a:pt x="1564" y="50"/>
                  </a:cubicBezTo>
                  <a:cubicBezTo>
                    <a:pt x="1563" y="50"/>
                    <a:pt x="1563" y="50"/>
                    <a:pt x="1563" y="50"/>
                  </a:cubicBezTo>
                  <a:close/>
                  <a:moveTo>
                    <a:pt x="762" y="85"/>
                  </a:moveTo>
                  <a:cubicBezTo>
                    <a:pt x="762" y="85"/>
                    <a:pt x="762" y="86"/>
                    <a:pt x="763" y="86"/>
                  </a:cubicBezTo>
                  <a:cubicBezTo>
                    <a:pt x="763" y="85"/>
                    <a:pt x="762" y="85"/>
                    <a:pt x="762" y="85"/>
                  </a:cubicBezTo>
                  <a:close/>
                  <a:moveTo>
                    <a:pt x="959" y="86"/>
                  </a:moveTo>
                  <a:cubicBezTo>
                    <a:pt x="959" y="85"/>
                    <a:pt x="959" y="85"/>
                    <a:pt x="959" y="85"/>
                  </a:cubicBezTo>
                  <a:cubicBezTo>
                    <a:pt x="959" y="85"/>
                    <a:pt x="959" y="85"/>
                    <a:pt x="959" y="86"/>
                  </a:cubicBezTo>
                  <a:close/>
                  <a:moveTo>
                    <a:pt x="974" y="85"/>
                  </a:moveTo>
                  <a:cubicBezTo>
                    <a:pt x="974" y="85"/>
                    <a:pt x="974" y="85"/>
                    <a:pt x="975" y="85"/>
                  </a:cubicBezTo>
                  <a:cubicBezTo>
                    <a:pt x="975" y="85"/>
                    <a:pt x="974" y="85"/>
                    <a:pt x="974" y="85"/>
                  </a:cubicBezTo>
                  <a:close/>
                  <a:moveTo>
                    <a:pt x="1576" y="50"/>
                  </a:moveTo>
                  <a:cubicBezTo>
                    <a:pt x="1576" y="50"/>
                    <a:pt x="1576" y="50"/>
                    <a:pt x="1576" y="50"/>
                  </a:cubicBezTo>
                  <a:cubicBezTo>
                    <a:pt x="1576" y="50"/>
                    <a:pt x="1576" y="50"/>
                    <a:pt x="1576" y="50"/>
                  </a:cubicBezTo>
                  <a:close/>
                  <a:moveTo>
                    <a:pt x="1731" y="50"/>
                  </a:moveTo>
                  <a:cubicBezTo>
                    <a:pt x="1732" y="50"/>
                    <a:pt x="1732" y="50"/>
                    <a:pt x="1732" y="50"/>
                  </a:cubicBezTo>
                  <a:cubicBezTo>
                    <a:pt x="1732" y="50"/>
                    <a:pt x="1731" y="50"/>
                    <a:pt x="1731" y="50"/>
                  </a:cubicBezTo>
                  <a:close/>
                  <a:moveTo>
                    <a:pt x="1745" y="50"/>
                  </a:moveTo>
                  <a:cubicBezTo>
                    <a:pt x="1744" y="50"/>
                    <a:pt x="1744" y="50"/>
                    <a:pt x="1744" y="50"/>
                  </a:cubicBezTo>
                  <a:cubicBezTo>
                    <a:pt x="1744" y="50"/>
                    <a:pt x="1744" y="50"/>
                    <a:pt x="1745" y="50"/>
                  </a:cubicBezTo>
                  <a:close/>
                  <a:moveTo>
                    <a:pt x="1379" y="51"/>
                  </a:moveTo>
                  <a:cubicBezTo>
                    <a:pt x="1379" y="51"/>
                    <a:pt x="1379" y="51"/>
                    <a:pt x="1379" y="50"/>
                  </a:cubicBezTo>
                  <a:cubicBezTo>
                    <a:pt x="1379" y="50"/>
                    <a:pt x="1379" y="51"/>
                    <a:pt x="1379" y="51"/>
                  </a:cubicBezTo>
                  <a:close/>
                  <a:moveTo>
                    <a:pt x="1392" y="50"/>
                  </a:moveTo>
                  <a:cubicBezTo>
                    <a:pt x="1392" y="50"/>
                    <a:pt x="1392" y="50"/>
                    <a:pt x="1392" y="51"/>
                  </a:cubicBezTo>
                  <a:cubicBezTo>
                    <a:pt x="1392" y="51"/>
                    <a:pt x="1392" y="50"/>
                    <a:pt x="1392" y="50"/>
                  </a:cubicBezTo>
                  <a:close/>
                  <a:moveTo>
                    <a:pt x="568" y="51"/>
                  </a:moveTo>
                  <a:cubicBezTo>
                    <a:pt x="568" y="51"/>
                    <a:pt x="568" y="51"/>
                    <a:pt x="568" y="51"/>
                  </a:cubicBezTo>
                  <a:cubicBezTo>
                    <a:pt x="568" y="51"/>
                    <a:pt x="568" y="51"/>
                    <a:pt x="568" y="51"/>
                  </a:cubicBezTo>
                  <a:close/>
                  <a:moveTo>
                    <a:pt x="1113" y="51"/>
                  </a:moveTo>
                  <a:cubicBezTo>
                    <a:pt x="1113" y="51"/>
                    <a:pt x="1113" y="51"/>
                    <a:pt x="1113" y="51"/>
                  </a:cubicBezTo>
                  <a:cubicBezTo>
                    <a:pt x="1113" y="51"/>
                    <a:pt x="1113" y="51"/>
                    <a:pt x="1113" y="51"/>
                  </a:cubicBezTo>
                  <a:close/>
                  <a:moveTo>
                    <a:pt x="1378" y="51"/>
                  </a:moveTo>
                  <a:cubicBezTo>
                    <a:pt x="1379" y="51"/>
                    <a:pt x="1379" y="51"/>
                    <a:pt x="1379" y="51"/>
                  </a:cubicBezTo>
                  <a:cubicBezTo>
                    <a:pt x="1379" y="51"/>
                    <a:pt x="1379" y="51"/>
                    <a:pt x="1378" y="51"/>
                  </a:cubicBezTo>
                  <a:close/>
                  <a:moveTo>
                    <a:pt x="1378" y="51"/>
                  </a:moveTo>
                  <a:cubicBezTo>
                    <a:pt x="1378" y="51"/>
                    <a:pt x="1378" y="51"/>
                    <a:pt x="1379" y="51"/>
                  </a:cubicBezTo>
                  <a:cubicBezTo>
                    <a:pt x="1378" y="51"/>
                    <a:pt x="1378" y="51"/>
                    <a:pt x="1378" y="51"/>
                  </a:cubicBezTo>
                  <a:close/>
                  <a:moveTo>
                    <a:pt x="1045" y="85"/>
                  </a:moveTo>
                  <a:cubicBezTo>
                    <a:pt x="1045" y="86"/>
                    <a:pt x="1045" y="86"/>
                    <a:pt x="1045" y="86"/>
                  </a:cubicBezTo>
                  <a:cubicBezTo>
                    <a:pt x="1045" y="86"/>
                    <a:pt x="1045" y="86"/>
                    <a:pt x="1045" y="85"/>
                  </a:cubicBezTo>
                  <a:close/>
                  <a:moveTo>
                    <a:pt x="1576" y="51"/>
                  </a:moveTo>
                  <a:cubicBezTo>
                    <a:pt x="1576" y="51"/>
                    <a:pt x="1575" y="51"/>
                    <a:pt x="1575" y="51"/>
                  </a:cubicBezTo>
                  <a:cubicBezTo>
                    <a:pt x="1576" y="51"/>
                    <a:pt x="1576" y="51"/>
                    <a:pt x="1576" y="51"/>
                  </a:cubicBezTo>
                  <a:close/>
                  <a:moveTo>
                    <a:pt x="1222" y="86"/>
                  </a:moveTo>
                  <a:cubicBezTo>
                    <a:pt x="1222" y="86"/>
                    <a:pt x="1223" y="86"/>
                    <a:pt x="1223" y="86"/>
                  </a:cubicBezTo>
                  <a:cubicBezTo>
                    <a:pt x="1223" y="86"/>
                    <a:pt x="1223" y="86"/>
                    <a:pt x="1222" y="86"/>
                  </a:cubicBezTo>
                  <a:close/>
                  <a:moveTo>
                    <a:pt x="1744" y="51"/>
                  </a:moveTo>
                  <a:cubicBezTo>
                    <a:pt x="1744" y="51"/>
                    <a:pt x="1744" y="51"/>
                    <a:pt x="1744" y="51"/>
                  </a:cubicBezTo>
                  <a:cubicBezTo>
                    <a:pt x="1744" y="51"/>
                    <a:pt x="1744" y="51"/>
                    <a:pt x="1744" y="51"/>
                  </a:cubicBezTo>
                  <a:close/>
                  <a:moveTo>
                    <a:pt x="1378" y="52"/>
                  </a:moveTo>
                  <a:cubicBezTo>
                    <a:pt x="1378" y="52"/>
                    <a:pt x="1378" y="52"/>
                    <a:pt x="1378" y="51"/>
                  </a:cubicBezTo>
                  <a:cubicBezTo>
                    <a:pt x="1378" y="51"/>
                    <a:pt x="1378" y="52"/>
                    <a:pt x="1378" y="52"/>
                  </a:cubicBezTo>
                  <a:close/>
                  <a:moveTo>
                    <a:pt x="1391" y="51"/>
                  </a:moveTo>
                  <a:cubicBezTo>
                    <a:pt x="1391" y="51"/>
                    <a:pt x="1391" y="52"/>
                    <a:pt x="1391" y="52"/>
                  </a:cubicBezTo>
                  <a:cubicBezTo>
                    <a:pt x="1391" y="52"/>
                    <a:pt x="1391" y="52"/>
                    <a:pt x="1391" y="51"/>
                  </a:cubicBezTo>
                  <a:close/>
                  <a:moveTo>
                    <a:pt x="569" y="52"/>
                  </a:moveTo>
                  <a:cubicBezTo>
                    <a:pt x="569" y="52"/>
                    <a:pt x="570" y="52"/>
                    <a:pt x="570" y="52"/>
                  </a:cubicBezTo>
                  <a:cubicBezTo>
                    <a:pt x="570" y="52"/>
                    <a:pt x="570" y="52"/>
                    <a:pt x="569" y="52"/>
                  </a:cubicBezTo>
                  <a:close/>
                  <a:moveTo>
                    <a:pt x="1377" y="52"/>
                  </a:moveTo>
                  <a:cubicBezTo>
                    <a:pt x="1378" y="52"/>
                    <a:pt x="1378" y="52"/>
                    <a:pt x="1378" y="52"/>
                  </a:cubicBezTo>
                  <a:cubicBezTo>
                    <a:pt x="1378" y="52"/>
                    <a:pt x="1377" y="52"/>
                    <a:pt x="1377" y="52"/>
                  </a:cubicBezTo>
                  <a:close/>
                  <a:moveTo>
                    <a:pt x="570" y="52"/>
                  </a:moveTo>
                  <a:cubicBezTo>
                    <a:pt x="570" y="52"/>
                    <a:pt x="570" y="52"/>
                    <a:pt x="570" y="52"/>
                  </a:cubicBezTo>
                  <a:cubicBezTo>
                    <a:pt x="570" y="52"/>
                    <a:pt x="570" y="52"/>
                    <a:pt x="570" y="52"/>
                  </a:cubicBezTo>
                  <a:close/>
                  <a:moveTo>
                    <a:pt x="1377" y="53"/>
                  </a:moveTo>
                  <a:cubicBezTo>
                    <a:pt x="1377" y="52"/>
                    <a:pt x="1377" y="52"/>
                    <a:pt x="1377" y="52"/>
                  </a:cubicBezTo>
                  <a:cubicBezTo>
                    <a:pt x="1377" y="52"/>
                    <a:pt x="1377" y="52"/>
                    <a:pt x="1377" y="53"/>
                  </a:cubicBezTo>
                  <a:close/>
                  <a:moveTo>
                    <a:pt x="1575" y="52"/>
                  </a:moveTo>
                  <a:cubicBezTo>
                    <a:pt x="1575" y="52"/>
                    <a:pt x="1575" y="52"/>
                    <a:pt x="1575" y="52"/>
                  </a:cubicBezTo>
                  <a:cubicBezTo>
                    <a:pt x="1575" y="52"/>
                    <a:pt x="1575" y="52"/>
                    <a:pt x="1575" y="52"/>
                  </a:cubicBezTo>
                  <a:close/>
                  <a:moveTo>
                    <a:pt x="1743" y="52"/>
                  </a:moveTo>
                  <a:cubicBezTo>
                    <a:pt x="1743" y="52"/>
                    <a:pt x="1743" y="52"/>
                    <a:pt x="1743" y="52"/>
                  </a:cubicBezTo>
                  <a:cubicBezTo>
                    <a:pt x="1743" y="52"/>
                    <a:pt x="1743" y="52"/>
                    <a:pt x="1743" y="52"/>
                  </a:cubicBezTo>
                  <a:close/>
                  <a:moveTo>
                    <a:pt x="1045" y="86"/>
                  </a:moveTo>
                  <a:cubicBezTo>
                    <a:pt x="1045" y="86"/>
                    <a:pt x="1045" y="86"/>
                    <a:pt x="1045" y="86"/>
                  </a:cubicBezTo>
                  <a:cubicBezTo>
                    <a:pt x="1045" y="86"/>
                    <a:pt x="1045" y="86"/>
                    <a:pt x="1045" y="86"/>
                  </a:cubicBezTo>
                  <a:close/>
                  <a:moveTo>
                    <a:pt x="1377" y="53"/>
                  </a:moveTo>
                  <a:cubicBezTo>
                    <a:pt x="1377" y="53"/>
                    <a:pt x="1377" y="53"/>
                    <a:pt x="1377" y="53"/>
                  </a:cubicBezTo>
                  <a:cubicBezTo>
                    <a:pt x="1377" y="53"/>
                    <a:pt x="1377" y="53"/>
                    <a:pt x="1377" y="53"/>
                  </a:cubicBezTo>
                  <a:close/>
                  <a:moveTo>
                    <a:pt x="1575" y="52"/>
                  </a:moveTo>
                  <a:cubicBezTo>
                    <a:pt x="1574" y="52"/>
                    <a:pt x="1574" y="53"/>
                    <a:pt x="1574" y="53"/>
                  </a:cubicBezTo>
                  <a:cubicBezTo>
                    <a:pt x="1575" y="53"/>
                    <a:pt x="1575" y="53"/>
                    <a:pt x="1575" y="52"/>
                  </a:cubicBezTo>
                  <a:close/>
                  <a:moveTo>
                    <a:pt x="1676" y="52"/>
                  </a:moveTo>
                  <a:cubicBezTo>
                    <a:pt x="1675" y="52"/>
                    <a:pt x="1675" y="53"/>
                    <a:pt x="1675" y="53"/>
                  </a:cubicBezTo>
                  <a:cubicBezTo>
                    <a:pt x="1675" y="53"/>
                    <a:pt x="1676" y="53"/>
                    <a:pt x="1676" y="52"/>
                  </a:cubicBezTo>
                  <a:close/>
                  <a:moveTo>
                    <a:pt x="1743" y="52"/>
                  </a:moveTo>
                  <a:cubicBezTo>
                    <a:pt x="1743" y="52"/>
                    <a:pt x="1743" y="53"/>
                    <a:pt x="1742" y="53"/>
                  </a:cubicBezTo>
                  <a:cubicBezTo>
                    <a:pt x="1743" y="53"/>
                    <a:pt x="1743" y="53"/>
                    <a:pt x="1743" y="52"/>
                  </a:cubicBezTo>
                  <a:close/>
                  <a:moveTo>
                    <a:pt x="571" y="53"/>
                  </a:moveTo>
                  <a:cubicBezTo>
                    <a:pt x="571" y="53"/>
                    <a:pt x="571" y="53"/>
                    <a:pt x="572" y="53"/>
                  </a:cubicBezTo>
                  <a:cubicBezTo>
                    <a:pt x="571" y="53"/>
                    <a:pt x="571" y="53"/>
                    <a:pt x="571" y="53"/>
                  </a:cubicBezTo>
                  <a:close/>
                  <a:moveTo>
                    <a:pt x="1376" y="53"/>
                  </a:moveTo>
                  <a:cubicBezTo>
                    <a:pt x="1377" y="53"/>
                    <a:pt x="1377" y="53"/>
                    <a:pt x="1377" y="53"/>
                  </a:cubicBezTo>
                  <a:cubicBezTo>
                    <a:pt x="1377" y="53"/>
                    <a:pt x="1376" y="53"/>
                    <a:pt x="1376" y="53"/>
                  </a:cubicBezTo>
                  <a:close/>
                  <a:moveTo>
                    <a:pt x="1390" y="53"/>
                  </a:moveTo>
                  <a:cubicBezTo>
                    <a:pt x="1390" y="53"/>
                    <a:pt x="1390" y="53"/>
                    <a:pt x="1390" y="53"/>
                  </a:cubicBezTo>
                  <a:cubicBezTo>
                    <a:pt x="1390" y="53"/>
                    <a:pt x="1390" y="53"/>
                    <a:pt x="1390" y="53"/>
                  </a:cubicBezTo>
                  <a:close/>
                  <a:moveTo>
                    <a:pt x="1574" y="53"/>
                  </a:moveTo>
                  <a:cubicBezTo>
                    <a:pt x="1574" y="53"/>
                    <a:pt x="1574" y="53"/>
                    <a:pt x="1574" y="53"/>
                  </a:cubicBezTo>
                  <a:cubicBezTo>
                    <a:pt x="1574" y="53"/>
                    <a:pt x="1574" y="53"/>
                    <a:pt x="1574" y="53"/>
                  </a:cubicBezTo>
                  <a:close/>
                  <a:moveTo>
                    <a:pt x="763" y="86"/>
                  </a:moveTo>
                  <a:cubicBezTo>
                    <a:pt x="763" y="86"/>
                    <a:pt x="763" y="87"/>
                    <a:pt x="763" y="87"/>
                  </a:cubicBezTo>
                  <a:cubicBezTo>
                    <a:pt x="763" y="86"/>
                    <a:pt x="763" y="86"/>
                    <a:pt x="763" y="86"/>
                  </a:cubicBezTo>
                  <a:close/>
                  <a:moveTo>
                    <a:pt x="1675" y="53"/>
                  </a:moveTo>
                  <a:cubicBezTo>
                    <a:pt x="1675" y="53"/>
                    <a:pt x="1675" y="53"/>
                    <a:pt x="1675" y="53"/>
                  </a:cubicBezTo>
                  <a:cubicBezTo>
                    <a:pt x="1675" y="53"/>
                    <a:pt x="1675" y="53"/>
                    <a:pt x="1675" y="53"/>
                  </a:cubicBezTo>
                  <a:close/>
                  <a:moveTo>
                    <a:pt x="960" y="87"/>
                  </a:moveTo>
                  <a:cubicBezTo>
                    <a:pt x="960" y="86"/>
                    <a:pt x="960" y="86"/>
                    <a:pt x="959" y="86"/>
                  </a:cubicBezTo>
                  <a:cubicBezTo>
                    <a:pt x="959" y="86"/>
                    <a:pt x="959" y="86"/>
                    <a:pt x="960" y="87"/>
                  </a:cubicBezTo>
                  <a:close/>
                  <a:moveTo>
                    <a:pt x="976" y="86"/>
                  </a:moveTo>
                  <a:cubicBezTo>
                    <a:pt x="976" y="86"/>
                    <a:pt x="976" y="87"/>
                    <a:pt x="976" y="87"/>
                  </a:cubicBezTo>
                  <a:cubicBezTo>
                    <a:pt x="976" y="86"/>
                    <a:pt x="976" y="86"/>
                    <a:pt x="976" y="86"/>
                  </a:cubicBezTo>
                  <a:close/>
                  <a:moveTo>
                    <a:pt x="1743" y="53"/>
                  </a:moveTo>
                  <a:cubicBezTo>
                    <a:pt x="1742" y="53"/>
                    <a:pt x="1742" y="53"/>
                    <a:pt x="1742" y="53"/>
                  </a:cubicBezTo>
                  <a:cubicBezTo>
                    <a:pt x="1742" y="53"/>
                    <a:pt x="1742" y="53"/>
                    <a:pt x="1743" y="53"/>
                  </a:cubicBezTo>
                  <a:close/>
                  <a:moveTo>
                    <a:pt x="1741" y="54"/>
                  </a:moveTo>
                  <a:cubicBezTo>
                    <a:pt x="1741" y="54"/>
                    <a:pt x="1741" y="54"/>
                    <a:pt x="1741" y="54"/>
                  </a:cubicBezTo>
                  <a:cubicBezTo>
                    <a:pt x="1741" y="54"/>
                    <a:pt x="1741" y="54"/>
                    <a:pt x="1741" y="54"/>
                  </a:cubicBezTo>
                  <a:close/>
                  <a:moveTo>
                    <a:pt x="1083" y="86"/>
                  </a:moveTo>
                  <a:cubicBezTo>
                    <a:pt x="1083" y="87"/>
                    <a:pt x="1083" y="87"/>
                    <a:pt x="1083" y="87"/>
                  </a:cubicBezTo>
                  <a:cubicBezTo>
                    <a:pt x="1083" y="87"/>
                    <a:pt x="1083" y="87"/>
                    <a:pt x="1083" y="87"/>
                  </a:cubicBezTo>
                  <a:cubicBezTo>
                    <a:pt x="1083" y="87"/>
                    <a:pt x="1083" y="87"/>
                    <a:pt x="1083" y="86"/>
                  </a:cubicBezTo>
                  <a:close/>
                  <a:moveTo>
                    <a:pt x="1375" y="54"/>
                  </a:moveTo>
                  <a:cubicBezTo>
                    <a:pt x="1376" y="54"/>
                    <a:pt x="1376" y="54"/>
                    <a:pt x="1376" y="54"/>
                  </a:cubicBezTo>
                  <a:cubicBezTo>
                    <a:pt x="1375" y="54"/>
                    <a:pt x="1375" y="54"/>
                    <a:pt x="1375" y="54"/>
                  </a:cubicBezTo>
                  <a:close/>
                  <a:moveTo>
                    <a:pt x="1375" y="55"/>
                  </a:moveTo>
                  <a:cubicBezTo>
                    <a:pt x="1375" y="55"/>
                    <a:pt x="1375" y="55"/>
                    <a:pt x="1375" y="55"/>
                  </a:cubicBezTo>
                  <a:cubicBezTo>
                    <a:pt x="1375" y="55"/>
                    <a:pt x="1375" y="55"/>
                    <a:pt x="1375" y="55"/>
                  </a:cubicBezTo>
                  <a:close/>
                  <a:moveTo>
                    <a:pt x="1559" y="55"/>
                  </a:moveTo>
                  <a:cubicBezTo>
                    <a:pt x="1559" y="55"/>
                    <a:pt x="1559" y="55"/>
                    <a:pt x="1559" y="55"/>
                  </a:cubicBezTo>
                  <a:cubicBezTo>
                    <a:pt x="1559" y="55"/>
                    <a:pt x="1559" y="55"/>
                    <a:pt x="1559" y="55"/>
                  </a:cubicBezTo>
                  <a:close/>
                  <a:moveTo>
                    <a:pt x="1573" y="54"/>
                  </a:moveTo>
                  <a:cubicBezTo>
                    <a:pt x="1573" y="54"/>
                    <a:pt x="1573" y="55"/>
                    <a:pt x="1573" y="55"/>
                  </a:cubicBezTo>
                  <a:cubicBezTo>
                    <a:pt x="1573" y="55"/>
                    <a:pt x="1573" y="55"/>
                    <a:pt x="1573" y="54"/>
                  </a:cubicBezTo>
                  <a:close/>
                  <a:moveTo>
                    <a:pt x="1727" y="55"/>
                  </a:moveTo>
                  <a:cubicBezTo>
                    <a:pt x="1727" y="55"/>
                    <a:pt x="1727" y="55"/>
                    <a:pt x="1727" y="55"/>
                  </a:cubicBezTo>
                  <a:cubicBezTo>
                    <a:pt x="1727" y="55"/>
                    <a:pt x="1727" y="55"/>
                    <a:pt x="1727" y="55"/>
                  </a:cubicBezTo>
                  <a:close/>
                  <a:moveTo>
                    <a:pt x="1741" y="54"/>
                  </a:moveTo>
                  <a:cubicBezTo>
                    <a:pt x="1741" y="54"/>
                    <a:pt x="1741" y="55"/>
                    <a:pt x="1741" y="55"/>
                  </a:cubicBezTo>
                  <a:cubicBezTo>
                    <a:pt x="1741" y="55"/>
                    <a:pt x="1741" y="55"/>
                    <a:pt x="1741" y="54"/>
                  </a:cubicBezTo>
                  <a:close/>
                  <a:moveTo>
                    <a:pt x="1558" y="55"/>
                  </a:moveTo>
                  <a:cubicBezTo>
                    <a:pt x="1559" y="55"/>
                    <a:pt x="1559" y="55"/>
                    <a:pt x="1559" y="55"/>
                  </a:cubicBezTo>
                  <a:cubicBezTo>
                    <a:pt x="1559" y="55"/>
                    <a:pt x="1558" y="55"/>
                    <a:pt x="1558" y="55"/>
                  </a:cubicBezTo>
                  <a:close/>
                  <a:moveTo>
                    <a:pt x="763" y="87"/>
                  </a:moveTo>
                  <a:cubicBezTo>
                    <a:pt x="763" y="87"/>
                    <a:pt x="763" y="87"/>
                    <a:pt x="764" y="87"/>
                  </a:cubicBezTo>
                  <a:cubicBezTo>
                    <a:pt x="764" y="87"/>
                    <a:pt x="763" y="87"/>
                    <a:pt x="763" y="87"/>
                  </a:cubicBezTo>
                  <a:close/>
                  <a:moveTo>
                    <a:pt x="800" y="87"/>
                  </a:moveTo>
                  <a:cubicBezTo>
                    <a:pt x="800" y="87"/>
                    <a:pt x="801" y="87"/>
                    <a:pt x="801" y="87"/>
                  </a:cubicBezTo>
                  <a:cubicBezTo>
                    <a:pt x="800" y="87"/>
                    <a:pt x="800" y="87"/>
                    <a:pt x="800" y="87"/>
                  </a:cubicBezTo>
                  <a:close/>
                  <a:moveTo>
                    <a:pt x="1573" y="55"/>
                  </a:moveTo>
                  <a:cubicBezTo>
                    <a:pt x="1572" y="55"/>
                    <a:pt x="1572" y="55"/>
                    <a:pt x="1572" y="55"/>
                  </a:cubicBezTo>
                  <a:cubicBezTo>
                    <a:pt x="1572" y="55"/>
                    <a:pt x="1573" y="55"/>
                    <a:pt x="1573" y="55"/>
                  </a:cubicBezTo>
                  <a:close/>
                  <a:moveTo>
                    <a:pt x="960" y="87"/>
                  </a:moveTo>
                  <a:cubicBezTo>
                    <a:pt x="960" y="87"/>
                    <a:pt x="960" y="87"/>
                    <a:pt x="960" y="87"/>
                  </a:cubicBezTo>
                  <a:cubicBezTo>
                    <a:pt x="960" y="87"/>
                    <a:pt x="960" y="87"/>
                    <a:pt x="960" y="87"/>
                  </a:cubicBezTo>
                  <a:close/>
                  <a:moveTo>
                    <a:pt x="976" y="87"/>
                  </a:moveTo>
                  <a:cubicBezTo>
                    <a:pt x="976" y="87"/>
                    <a:pt x="976" y="87"/>
                    <a:pt x="976" y="87"/>
                  </a:cubicBezTo>
                  <a:cubicBezTo>
                    <a:pt x="976" y="87"/>
                    <a:pt x="976" y="87"/>
                    <a:pt x="976" y="87"/>
                  </a:cubicBezTo>
                  <a:close/>
                  <a:moveTo>
                    <a:pt x="1673" y="55"/>
                  </a:moveTo>
                  <a:cubicBezTo>
                    <a:pt x="1672" y="55"/>
                    <a:pt x="1672" y="55"/>
                    <a:pt x="1672" y="55"/>
                  </a:cubicBezTo>
                  <a:cubicBezTo>
                    <a:pt x="1672" y="55"/>
                    <a:pt x="1672" y="55"/>
                    <a:pt x="1673" y="55"/>
                  </a:cubicBezTo>
                  <a:close/>
                  <a:moveTo>
                    <a:pt x="1083" y="87"/>
                  </a:moveTo>
                  <a:cubicBezTo>
                    <a:pt x="1083" y="87"/>
                    <a:pt x="1083" y="87"/>
                    <a:pt x="1083" y="87"/>
                  </a:cubicBezTo>
                  <a:cubicBezTo>
                    <a:pt x="1083" y="87"/>
                    <a:pt x="1083" y="87"/>
                    <a:pt x="1083" y="87"/>
                  </a:cubicBezTo>
                  <a:close/>
                  <a:moveTo>
                    <a:pt x="1727" y="55"/>
                  </a:moveTo>
                  <a:cubicBezTo>
                    <a:pt x="1727" y="55"/>
                    <a:pt x="1727" y="55"/>
                    <a:pt x="1727" y="55"/>
                  </a:cubicBezTo>
                  <a:cubicBezTo>
                    <a:pt x="1727" y="55"/>
                    <a:pt x="1727" y="55"/>
                    <a:pt x="1727" y="55"/>
                  </a:cubicBezTo>
                  <a:close/>
                  <a:moveTo>
                    <a:pt x="1741" y="55"/>
                  </a:moveTo>
                  <a:cubicBezTo>
                    <a:pt x="1741" y="55"/>
                    <a:pt x="1740" y="55"/>
                    <a:pt x="1740" y="55"/>
                  </a:cubicBezTo>
                  <a:cubicBezTo>
                    <a:pt x="1741" y="55"/>
                    <a:pt x="1741" y="55"/>
                    <a:pt x="1741" y="55"/>
                  </a:cubicBezTo>
                  <a:close/>
                  <a:moveTo>
                    <a:pt x="575" y="55"/>
                  </a:moveTo>
                  <a:cubicBezTo>
                    <a:pt x="575" y="55"/>
                    <a:pt x="575" y="56"/>
                    <a:pt x="575" y="56"/>
                  </a:cubicBezTo>
                  <a:cubicBezTo>
                    <a:pt x="575" y="55"/>
                    <a:pt x="575" y="55"/>
                    <a:pt x="575" y="55"/>
                  </a:cubicBezTo>
                  <a:close/>
                  <a:moveTo>
                    <a:pt x="1388" y="55"/>
                  </a:moveTo>
                  <a:cubicBezTo>
                    <a:pt x="1388" y="55"/>
                    <a:pt x="1388" y="55"/>
                    <a:pt x="1388" y="55"/>
                  </a:cubicBezTo>
                  <a:cubicBezTo>
                    <a:pt x="1388" y="55"/>
                    <a:pt x="1388" y="55"/>
                    <a:pt x="1388" y="55"/>
                  </a:cubicBezTo>
                  <a:close/>
                  <a:moveTo>
                    <a:pt x="1558" y="56"/>
                  </a:moveTo>
                  <a:cubicBezTo>
                    <a:pt x="1558" y="56"/>
                    <a:pt x="1558" y="55"/>
                    <a:pt x="1558" y="55"/>
                  </a:cubicBezTo>
                  <a:cubicBezTo>
                    <a:pt x="1558" y="55"/>
                    <a:pt x="1558" y="55"/>
                    <a:pt x="1558" y="56"/>
                  </a:cubicBezTo>
                  <a:close/>
                  <a:moveTo>
                    <a:pt x="1572" y="55"/>
                  </a:moveTo>
                  <a:cubicBezTo>
                    <a:pt x="1572" y="55"/>
                    <a:pt x="1572" y="55"/>
                    <a:pt x="1572" y="56"/>
                  </a:cubicBezTo>
                  <a:cubicBezTo>
                    <a:pt x="1572" y="55"/>
                    <a:pt x="1572" y="55"/>
                    <a:pt x="1572" y="55"/>
                  </a:cubicBezTo>
                  <a:close/>
                  <a:moveTo>
                    <a:pt x="1672" y="55"/>
                  </a:moveTo>
                  <a:cubicBezTo>
                    <a:pt x="1672" y="55"/>
                    <a:pt x="1672" y="55"/>
                    <a:pt x="1671" y="56"/>
                  </a:cubicBezTo>
                  <a:cubicBezTo>
                    <a:pt x="1672" y="56"/>
                    <a:pt x="1672" y="55"/>
                    <a:pt x="1672" y="55"/>
                  </a:cubicBezTo>
                  <a:close/>
                  <a:moveTo>
                    <a:pt x="1726" y="56"/>
                  </a:moveTo>
                  <a:cubicBezTo>
                    <a:pt x="1726" y="56"/>
                    <a:pt x="1726" y="55"/>
                    <a:pt x="1727" y="55"/>
                  </a:cubicBezTo>
                  <a:cubicBezTo>
                    <a:pt x="1726" y="55"/>
                    <a:pt x="1726" y="55"/>
                    <a:pt x="1726" y="56"/>
                  </a:cubicBezTo>
                  <a:close/>
                  <a:moveTo>
                    <a:pt x="764" y="87"/>
                  </a:moveTo>
                  <a:cubicBezTo>
                    <a:pt x="764" y="87"/>
                    <a:pt x="764" y="87"/>
                    <a:pt x="764" y="87"/>
                  </a:cubicBezTo>
                  <a:cubicBezTo>
                    <a:pt x="764" y="87"/>
                    <a:pt x="764" y="87"/>
                    <a:pt x="764" y="87"/>
                  </a:cubicBezTo>
                  <a:close/>
                  <a:moveTo>
                    <a:pt x="800" y="87"/>
                  </a:moveTo>
                  <a:cubicBezTo>
                    <a:pt x="800" y="87"/>
                    <a:pt x="800" y="87"/>
                    <a:pt x="800" y="87"/>
                  </a:cubicBezTo>
                  <a:cubicBezTo>
                    <a:pt x="800" y="87"/>
                    <a:pt x="800" y="87"/>
                    <a:pt x="800" y="87"/>
                  </a:cubicBezTo>
                  <a:close/>
                  <a:moveTo>
                    <a:pt x="1740" y="55"/>
                  </a:moveTo>
                  <a:cubicBezTo>
                    <a:pt x="1740" y="55"/>
                    <a:pt x="1740" y="55"/>
                    <a:pt x="1740" y="56"/>
                  </a:cubicBezTo>
                  <a:cubicBezTo>
                    <a:pt x="1740" y="55"/>
                    <a:pt x="1740" y="55"/>
                    <a:pt x="1740" y="55"/>
                  </a:cubicBezTo>
                  <a:close/>
                  <a:moveTo>
                    <a:pt x="1388" y="55"/>
                  </a:moveTo>
                  <a:cubicBezTo>
                    <a:pt x="1388" y="56"/>
                    <a:pt x="1387" y="56"/>
                    <a:pt x="1387" y="56"/>
                  </a:cubicBezTo>
                  <a:cubicBezTo>
                    <a:pt x="1388" y="56"/>
                    <a:pt x="1388" y="56"/>
                    <a:pt x="1388" y="55"/>
                  </a:cubicBezTo>
                  <a:close/>
                  <a:moveTo>
                    <a:pt x="1572" y="56"/>
                  </a:moveTo>
                  <a:cubicBezTo>
                    <a:pt x="1572" y="56"/>
                    <a:pt x="1572" y="56"/>
                    <a:pt x="1572" y="56"/>
                  </a:cubicBezTo>
                  <a:cubicBezTo>
                    <a:pt x="1572" y="56"/>
                    <a:pt x="1572" y="56"/>
                    <a:pt x="1572" y="56"/>
                  </a:cubicBezTo>
                  <a:close/>
                  <a:moveTo>
                    <a:pt x="1505" y="6"/>
                  </a:moveTo>
                  <a:cubicBezTo>
                    <a:pt x="1505" y="6"/>
                    <a:pt x="1505" y="6"/>
                    <a:pt x="1506" y="5"/>
                  </a:cubicBezTo>
                  <a:cubicBezTo>
                    <a:pt x="1505" y="6"/>
                    <a:pt x="1505" y="6"/>
                    <a:pt x="1505" y="6"/>
                  </a:cubicBezTo>
                  <a:close/>
                  <a:moveTo>
                    <a:pt x="1046" y="87"/>
                  </a:moveTo>
                  <a:cubicBezTo>
                    <a:pt x="1046" y="87"/>
                    <a:pt x="1046" y="87"/>
                    <a:pt x="1046" y="87"/>
                  </a:cubicBezTo>
                  <a:cubicBezTo>
                    <a:pt x="1046" y="87"/>
                    <a:pt x="1046" y="87"/>
                    <a:pt x="1046" y="87"/>
                  </a:cubicBezTo>
                  <a:close/>
                  <a:moveTo>
                    <a:pt x="1505" y="6"/>
                  </a:moveTo>
                  <a:cubicBezTo>
                    <a:pt x="1505" y="6"/>
                    <a:pt x="1505" y="6"/>
                    <a:pt x="1505" y="6"/>
                  </a:cubicBezTo>
                  <a:cubicBezTo>
                    <a:pt x="1505" y="6"/>
                    <a:pt x="1505" y="6"/>
                    <a:pt x="1505" y="6"/>
                  </a:cubicBezTo>
                  <a:close/>
                  <a:moveTo>
                    <a:pt x="1740" y="56"/>
                  </a:moveTo>
                  <a:cubicBezTo>
                    <a:pt x="1740" y="56"/>
                    <a:pt x="1740" y="56"/>
                    <a:pt x="1740" y="56"/>
                  </a:cubicBezTo>
                  <a:cubicBezTo>
                    <a:pt x="1740" y="56"/>
                    <a:pt x="1740" y="56"/>
                    <a:pt x="1740" y="56"/>
                  </a:cubicBezTo>
                  <a:close/>
                  <a:moveTo>
                    <a:pt x="1224" y="87"/>
                  </a:moveTo>
                  <a:cubicBezTo>
                    <a:pt x="1224" y="87"/>
                    <a:pt x="1224" y="87"/>
                    <a:pt x="1224" y="87"/>
                  </a:cubicBezTo>
                  <a:cubicBezTo>
                    <a:pt x="1224" y="87"/>
                    <a:pt x="1224" y="87"/>
                    <a:pt x="1224" y="87"/>
                  </a:cubicBezTo>
                  <a:close/>
                  <a:moveTo>
                    <a:pt x="1504" y="7"/>
                  </a:moveTo>
                  <a:cubicBezTo>
                    <a:pt x="1504" y="7"/>
                    <a:pt x="1504" y="7"/>
                    <a:pt x="1504" y="7"/>
                  </a:cubicBezTo>
                  <a:cubicBezTo>
                    <a:pt x="1504" y="7"/>
                    <a:pt x="1504" y="7"/>
                    <a:pt x="1504" y="7"/>
                  </a:cubicBezTo>
                  <a:close/>
                  <a:moveTo>
                    <a:pt x="1503" y="7"/>
                  </a:moveTo>
                  <a:cubicBezTo>
                    <a:pt x="1504" y="7"/>
                    <a:pt x="1504" y="7"/>
                    <a:pt x="1504" y="7"/>
                  </a:cubicBezTo>
                  <a:cubicBezTo>
                    <a:pt x="1504" y="7"/>
                    <a:pt x="1503" y="7"/>
                    <a:pt x="1503" y="7"/>
                  </a:cubicBezTo>
                  <a:close/>
                  <a:moveTo>
                    <a:pt x="1503" y="7"/>
                  </a:moveTo>
                  <a:cubicBezTo>
                    <a:pt x="1503" y="7"/>
                    <a:pt x="1503" y="7"/>
                    <a:pt x="1503" y="7"/>
                  </a:cubicBezTo>
                  <a:cubicBezTo>
                    <a:pt x="1503" y="7"/>
                    <a:pt x="1503" y="7"/>
                    <a:pt x="1503" y="7"/>
                  </a:cubicBezTo>
                  <a:close/>
                  <a:moveTo>
                    <a:pt x="1727" y="55"/>
                  </a:moveTo>
                  <a:cubicBezTo>
                    <a:pt x="1727" y="55"/>
                    <a:pt x="1728" y="54"/>
                    <a:pt x="1728" y="54"/>
                  </a:cubicBezTo>
                  <a:cubicBezTo>
                    <a:pt x="1727" y="54"/>
                    <a:pt x="1727" y="54"/>
                    <a:pt x="1727" y="55"/>
                  </a:cubicBezTo>
                  <a:close/>
                  <a:moveTo>
                    <a:pt x="1502" y="8"/>
                  </a:moveTo>
                  <a:cubicBezTo>
                    <a:pt x="1502" y="8"/>
                    <a:pt x="1502" y="8"/>
                    <a:pt x="1502" y="8"/>
                  </a:cubicBezTo>
                  <a:cubicBezTo>
                    <a:pt x="1502" y="8"/>
                    <a:pt x="1502" y="8"/>
                    <a:pt x="1502" y="8"/>
                  </a:cubicBezTo>
                  <a:close/>
                  <a:moveTo>
                    <a:pt x="1373" y="56"/>
                  </a:moveTo>
                  <a:cubicBezTo>
                    <a:pt x="1373" y="56"/>
                    <a:pt x="1373" y="56"/>
                    <a:pt x="1373" y="56"/>
                  </a:cubicBezTo>
                  <a:cubicBezTo>
                    <a:pt x="1373" y="56"/>
                    <a:pt x="1373" y="56"/>
                    <a:pt x="1373" y="56"/>
                  </a:cubicBezTo>
                  <a:close/>
                  <a:moveTo>
                    <a:pt x="1387" y="56"/>
                  </a:moveTo>
                  <a:cubicBezTo>
                    <a:pt x="1387" y="56"/>
                    <a:pt x="1387" y="56"/>
                    <a:pt x="1387" y="56"/>
                  </a:cubicBezTo>
                  <a:cubicBezTo>
                    <a:pt x="1387" y="56"/>
                    <a:pt x="1387" y="56"/>
                    <a:pt x="1387" y="56"/>
                  </a:cubicBezTo>
                  <a:close/>
                  <a:moveTo>
                    <a:pt x="977" y="87"/>
                  </a:moveTo>
                  <a:cubicBezTo>
                    <a:pt x="977" y="87"/>
                    <a:pt x="977" y="88"/>
                    <a:pt x="977" y="88"/>
                  </a:cubicBezTo>
                  <a:cubicBezTo>
                    <a:pt x="977" y="87"/>
                    <a:pt x="977" y="87"/>
                    <a:pt x="977" y="87"/>
                  </a:cubicBezTo>
                  <a:close/>
                  <a:moveTo>
                    <a:pt x="1572" y="56"/>
                  </a:moveTo>
                  <a:cubicBezTo>
                    <a:pt x="1571" y="56"/>
                    <a:pt x="1571" y="56"/>
                    <a:pt x="1571" y="56"/>
                  </a:cubicBezTo>
                  <a:cubicBezTo>
                    <a:pt x="1571" y="56"/>
                    <a:pt x="1571" y="56"/>
                    <a:pt x="1572" y="56"/>
                  </a:cubicBezTo>
                  <a:close/>
                  <a:moveTo>
                    <a:pt x="1033" y="88"/>
                  </a:moveTo>
                  <a:cubicBezTo>
                    <a:pt x="1033" y="87"/>
                    <a:pt x="1033" y="87"/>
                    <a:pt x="1033" y="87"/>
                  </a:cubicBezTo>
                  <a:cubicBezTo>
                    <a:pt x="1033" y="87"/>
                    <a:pt x="1033" y="87"/>
                    <a:pt x="1033" y="88"/>
                  </a:cubicBezTo>
                  <a:close/>
                  <a:moveTo>
                    <a:pt x="1046" y="87"/>
                  </a:moveTo>
                  <a:cubicBezTo>
                    <a:pt x="1046" y="87"/>
                    <a:pt x="1046" y="88"/>
                    <a:pt x="1046" y="88"/>
                  </a:cubicBezTo>
                  <a:cubicBezTo>
                    <a:pt x="1046" y="87"/>
                    <a:pt x="1046" y="87"/>
                    <a:pt x="1046" y="87"/>
                  </a:cubicBezTo>
                  <a:close/>
                  <a:moveTo>
                    <a:pt x="1082" y="88"/>
                  </a:moveTo>
                  <a:cubicBezTo>
                    <a:pt x="1082" y="88"/>
                    <a:pt x="1082" y="88"/>
                    <a:pt x="1082" y="87"/>
                  </a:cubicBezTo>
                  <a:cubicBezTo>
                    <a:pt x="1082" y="87"/>
                    <a:pt x="1082" y="87"/>
                    <a:pt x="1082" y="88"/>
                  </a:cubicBezTo>
                  <a:close/>
                  <a:moveTo>
                    <a:pt x="1384" y="9"/>
                  </a:moveTo>
                  <a:cubicBezTo>
                    <a:pt x="1384" y="9"/>
                    <a:pt x="1384" y="9"/>
                    <a:pt x="1385" y="9"/>
                  </a:cubicBezTo>
                  <a:cubicBezTo>
                    <a:pt x="1385" y="9"/>
                    <a:pt x="1384" y="9"/>
                    <a:pt x="1384" y="9"/>
                  </a:cubicBezTo>
                  <a:close/>
                  <a:moveTo>
                    <a:pt x="1740" y="56"/>
                  </a:moveTo>
                  <a:cubicBezTo>
                    <a:pt x="1740" y="56"/>
                    <a:pt x="1739" y="56"/>
                    <a:pt x="1739" y="56"/>
                  </a:cubicBezTo>
                  <a:cubicBezTo>
                    <a:pt x="1739" y="56"/>
                    <a:pt x="1740" y="56"/>
                    <a:pt x="1740" y="56"/>
                  </a:cubicBezTo>
                  <a:close/>
                  <a:moveTo>
                    <a:pt x="1224" y="87"/>
                  </a:moveTo>
                  <a:cubicBezTo>
                    <a:pt x="1224" y="87"/>
                    <a:pt x="1224" y="88"/>
                    <a:pt x="1224" y="88"/>
                  </a:cubicBezTo>
                  <a:cubicBezTo>
                    <a:pt x="1224" y="87"/>
                    <a:pt x="1224" y="87"/>
                    <a:pt x="1224" y="87"/>
                  </a:cubicBezTo>
                  <a:close/>
                  <a:moveTo>
                    <a:pt x="1259" y="88"/>
                  </a:moveTo>
                  <a:cubicBezTo>
                    <a:pt x="1260" y="88"/>
                    <a:pt x="1260" y="87"/>
                    <a:pt x="1260" y="87"/>
                  </a:cubicBezTo>
                  <a:cubicBezTo>
                    <a:pt x="1260" y="87"/>
                    <a:pt x="1260" y="87"/>
                    <a:pt x="1259" y="88"/>
                  </a:cubicBezTo>
                  <a:close/>
                  <a:moveTo>
                    <a:pt x="576" y="56"/>
                  </a:moveTo>
                  <a:cubicBezTo>
                    <a:pt x="576" y="57"/>
                    <a:pt x="577" y="57"/>
                    <a:pt x="577" y="57"/>
                  </a:cubicBezTo>
                  <a:cubicBezTo>
                    <a:pt x="577" y="56"/>
                    <a:pt x="576" y="56"/>
                    <a:pt x="576" y="56"/>
                  </a:cubicBezTo>
                  <a:close/>
                  <a:moveTo>
                    <a:pt x="1501" y="9"/>
                  </a:moveTo>
                  <a:cubicBezTo>
                    <a:pt x="1501" y="9"/>
                    <a:pt x="1501" y="9"/>
                    <a:pt x="1501" y="9"/>
                  </a:cubicBezTo>
                  <a:cubicBezTo>
                    <a:pt x="1501" y="9"/>
                    <a:pt x="1501" y="9"/>
                    <a:pt x="1501" y="9"/>
                  </a:cubicBezTo>
                  <a:close/>
                  <a:moveTo>
                    <a:pt x="671" y="56"/>
                  </a:moveTo>
                  <a:cubicBezTo>
                    <a:pt x="671" y="56"/>
                    <a:pt x="671" y="57"/>
                    <a:pt x="671" y="57"/>
                  </a:cubicBezTo>
                  <a:cubicBezTo>
                    <a:pt x="671" y="57"/>
                    <a:pt x="671" y="56"/>
                    <a:pt x="671" y="56"/>
                  </a:cubicBezTo>
                  <a:close/>
                  <a:moveTo>
                    <a:pt x="1455" y="9"/>
                  </a:moveTo>
                  <a:cubicBezTo>
                    <a:pt x="1455" y="9"/>
                    <a:pt x="1455" y="9"/>
                    <a:pt x="1455" y="9"/>
                  </a:cubicBezTo>
                  <a:cubicBezTo>
                    <a:pt x="1455" y="9"/>
                    <a:pt x="1455" y="9"/>
                    <a:pt x="1455" y="9"/>
                  </a:cubicBezTo>
                  <a:close/>
                  <a:moveTo>
                    <a:pt x="1501" y="9"/>
                  </a:moveTo>
                  <a:cubicBezTo>
                    <a:pt x="1501" y="9"/>
                    <a:pt x="1501" y="9"/>
                    <a:pt x="1501" y="9"/>
                  </a:cubicBezTo>
                  <a:cubicBezTo>
                    <a:pt x="1501" y="9"/>
                    <a:pt x="1501" y="9"/>
                    <a:pt x="1501" y="9"/>
                  </a:cubicBezTo>
                  <a:close/>
                  <a:moveTo>
                    <a:pt x="1426" y="10"/>
                  </a:moveTo>
                  <a:cubicBezTo>
                    <a:pt x="1427" y="10"/>
                    <a:pt x="1427" y="10"/>
                    <a:pt x="1427" y="9"/>
                  </a:cubicBezTo>
                  <a:cubicBezTo>
                    <a:pt x="1427" y="9"/>
                    <a:pt x="1427" y="9"/>
                    <a:pt x="1426" y="10"/>
                  </a:cubicBezTo>
                  <a:close/>
                  <a:moveTo>
                    <a:pt x="1570" y="9"/>
                  </a:moveTo>
                  <a:cubicBezTo>
                    <a:pt x="1570" y="10"/>
                    <a:pt x="1570" y="10"/>
                    <a:pt x="1570" y="10"/>
                  </a:cubicBezTo>
                  <a:cubicBezTo>
                    <a:pt x="1570" y="9"/>
                    <a:pt x="1570" y="9"/>
                    <a:pt x="1570" y="9"/>
                  </a:cubicBezTo>
                  <a:close/>
                  <a:moveTo>
                    <a:pt x="1738" y="9"/>
                  </a:moveTo>
                  <a:cubicBezTo>
                    <a:pt x="1738" y="10"/>
                    <a:pt x="1738" y="10"/>
                    <a:pt x="1738" y="10"/>
                  </a:cubicBezTo>
                  <a:cubicBezTo>
                    <a:pt x="1738" y="9"/>
                    <a:pt x="1738" y="9"/>
                    <a:pt x="1738" y="9"/>
                  </a:cubicBezTo>
                  <a:close/>
                  <a:moveTo>
                    <a:pt x="1373" y="57"/>
                  </a:moveTo>
                  <a:cubicBezTo>
                    <a:pt x="1373" y="57"/>
                    <a:pt x="1373" y="56"/>
                    <a:pt x="1373" y="56"/>
                  </a:cubicBezTo>
                  <a:cubicBezTo>
                    <a:pt x="1373" y="56"/>
                    <a:pt x="1373" y="57"/>
                    <a:pt x="1373" y="57"/>
                  </a:cubicBezTo>
                  <a:close/>
                  <a:moveTo>
                    <a:pt x="1387" y="56"/>
                  </a:moveTo>
                  <a:cubicBezTo>
                    <a:pt x="1387" y="56"/>
                    <a:pt x="1387" y="56"/>
                    <a:pt x="1387" y="57"/>
                  </a:cubicBezTo>
                  <a:cubicBezTo>
                    <a:pt x="1387" y="57"/>
                    <a:pt x="1387" y="56"/>
                    <a:pt x="1387" y="56"/>
                  </a:cubicBezTo>
                  <a:close/>
                  <a:moveTo>
                    <a:pt x="1557" y="57"/>
                  </a:moveTo>
                  <a:cubicBezTo>
                    <a:pt x="1557" y="57"/>
                    <a:pt x="1557" y="57"/>
                    <a:pt x="1557" y="56"/>
                  </a:cubicBezTo>
                  <a:cubicBezTo>
                    <a:pt x="1557" y="56"/>
                    <a:pt x="1557" y="56"/>
                    <a:pt x="1557" y="57"/>
                  </a:cubicBezTo>
                  <a:close/>
                  <a:moveTo>
                    <a:pt x="751" y="88"/>
                  </a:moveTo>
                  <a:cubicBezTo>
                    <a:pt x="751" y="88"/>
                    <a:pt x="751" y="88"/>
                    <a:pt x="751" y="87"/>
                  </a:cubicBezTo>
                  <a:cubicBezTo>
                    <a:pt x="751" y="88"/>
                    <a:pt x="751" y="88"/>
                    <a:pt x="751" y="88"/>
                  </a:cubicBezTo>
                  <a:close/>
                  <a:moveTo>
                    <a:pt x="799" y="88"/>
                  </a:moveTo>
                  <a:cubicBezTo>
                    <a:pt x="799" y="88"/>
                    <a:pt x="799" y="88"/>
                    <a:pt x="799" y="88"/>
                  </a:cubicBezTo>
                  <a:cubicBezTo>
                    <a:pt x="799" y="88"/>
                    <a:pt x="799" y="88"/>
                    <a:pt x="799" y="88"/>
                  </a:cubicBezTo>
                  <a:close/>
                  <a:moveTo>
                    <a:pt x="961" y="88"/>
                  </a:moveTo>
                  <a:cubicBezTo>
                    <a:pt x="961" y="88"/>
                    <a:pt x="961" y="88"/>
                    <a:pt x="960" y="87"/>
                  </a:cubicBezTo>
                  <a:cubicBezTo>
                    <a:pt x="960" y="88"/>
                    <a:pt x="961" y="88"/>
                    <a:pt x="961" y="88"/>
                  </a:cubicBezTo>
                  <a:close/>
                  <a:moveTo>
                    <a:pt x="1571" y="56"/>
                  </a:moveTo>
                  <a:cubicBezTo>
                    <a:pt x="1571" y="56"/>
                    <a:pt x="1571" y="56"/>
                    <a:pt x="1571" y="57"/>
                  </a:cubicBezTo>
                  <a:cubicBezTo>
                    <a:pt x="1571" y="56"/>
                    <a:pt x="1571" y="56"/>
                    <a:pt x="1571" y="56"/>
                  </a:cubicBezTo>
                  <a:close/>
                  <a:moveTo>
                    <a:pt x="549" y="10"/>
                  </a:moveTo>
                  <a:cubicBezTo>
                    <a:pt x="549" y="10"/>
                    <a:pt x="550" y="10"/>
                    <a:pt x="550" y="10"/>
                  </a:cubicBezTo>
                  <a:cubicBezTo>
                    <a:pt x="549" y="10"/>
                    <a:pt x="549" y="10"/>
                    <a:pt x="549" y="10"/>
                  </a:cubicBezTo>
                  <a:close/>
                  <a:moveTo>
                    <a:pt x="1046" y="88"/>
                  </a:moveTo>
                  <a:cubicBezTo>
                    <a:pt x="1046" y="88"/>
                    <a:pt x="1046" y="88"/>
                    <a:pt x="1047" y="88"/>
                  </a:cubicBezTo>
                  <a:cubicBezTo>
                    <a:pt x="1047" y="88"/>
                    <a:pt x="1046" y="88"/>
                    <a:pt x="1046" y="88"/>
                  </a:cubicBezTo>
                  <a:close/>
                  <a:moveTo>
                    <a:pt x="1725" y="57"/>
                  </a:moveTo>
                  <a:cubicBezTo>
                    <a:pt x="1725" y="57"/>
                    <a:pt x="1725" y="57"/>
                    <a:pt x="1725" y="56"/>
                  </a:cubicBezTo>
                  <a:cubicBezTo>
                    <a:pt x="1725" y="56"/>
                    <a:pt x="1725" y="56"/>
                    <a:pt x="1725" y="57"/>
                  </a:cubicBezTo>
                  <a:close/>
                  <a:moveTo>
                    <a:pt x="1224" y="88"/>
                  </a:moveTo>
                  <a:cubicBezTo>
                    <a:pt x="1224" y="88"/>
                    <a:pt x="1224" y="88"/>
                    <a:pt x="1225" y="88"/>
                  </a:cubicBezTo>
                  <a:cubicBezTo>
                    <a:pt x="1224" y="88"/>
                    <a:pt x="1224" y="88"/>
                    <a:pt x="1224" y="88"/>
                  </a:cubicBezTo>
                  <a:close/>
                  <a:moveTo>
                    <a:pt x="1739" y="56"/>
                  </a:moveTo>
                  <a:cubicBezTo>
                    <a:pt x="1739" y="56"/>
                    <a:pt x="1739" y="56"/>
                    <a:pt x="1739" y="57"/>
                  </a:cubicBezTo>
                  <a:cubicBezTo>
                    <a:pt x="1739" y="56"/>
                    <a:pt x="1739" y="56"/>
                    <a:pt x="1739" y="56"/>
                  </a:cubicBezTo>
                  <a:close/>
                  <a:moveTo>
                    <a:pt x="1500" y="10"/>
                  </a:moveTo>
                  <a:cubicBezTo>
                    <a:pt x="1500" y="10"/>
                    <a:pt x="1500" y="10"/>
                    <a:pt x="1500" y="10"/>
                  </a:cubicBezTo>
                  <a:cubicBezTo>
                    <a:pt x="1500" y="10"/>
                    <a:pt x="1500" y="10"/>
                    <a:pt x="1500" y="10"/>
                  </a:cubicBezTo>
                  <a:close/>
                  <a:moveTo>
                    <a:pt x="659" y="88"/>
                  </a:moveTo>
                  <a:cubicBezTo>
                    <a:pt x="659" y="88"/>
                    <a:pt x="659" y="88"/>
                    <a:pt x="660" y="88"/>
                  </a:cubicBezTo>
                  <a:cubicBezTo>
                    <a:pt x="660" y="88"/>
                    <a:pt x="659" y="88"/>
                    <a:pt x="659" y="88"/>
                  </a:cubicBezTo>
                  <a:close/>
                  <a:moveTo>
                    <a:pt x="1537" y="10"/>
                  </a:moveTo>
                  <a:cubicBezTo>
                    <a:pt x="1537" y="10"/>
                    <a:pt x="1538" y="10"/>
                    <a:pt x="1538" y="10"/>
                  </a:cubicBezTo>
                  <a:cubicBezTo>
                    <a:pt x="1537" y="10"/>
                    <a:pt x="1537" y="10"/>
                    <a:pt x="1537" y="10"/>
                  </a:cubicBezTo>
                  <a:close/>
                  <a:moveTo>
                    <a:pt x="1705" y="10"/>
                  </a:moveTo>
                  <a:cubicBezTo>
                    <a:pt x="1705" y="10"/>
                    <a:pt x="1706" y="10"/>
                    <a:pt x="1706" y="10"/>
                  </a:cubicBezTo>
                  <a:cubicBezTo>
                    <a:pt x="1706" y="10"/>
                    <a:pt x="1705" y="10"/>
                    <a:pt x="1705" y="10"/>
                  </a:cubicBezTo>
                  <a:close/>
                  <a:moveTo>
                    <a:pt x="549" y="10"/>
                  </a:moveTo>
                  <a:cubicBezTo>
                    <a:pt x="549" y="10"/>
                    <a:pt x="549" y="10"/>
                    <a:pt x="549" y="10"/>
                  </a:cubicBezTo>
                  <a:cubicBezTo>
                    <a:pt x="549" y="10"/>
                    <a:pt x="549" y="10"/>
                    <a:pt x="549" y="10"/>
                  </a:cubicBezTo>
                  <a:close/>
                  <a:moveTo>
                    <a:pt x="961" y="88"/>
                  </a:moveTo>
                  <a:cubicBezTo>
                    <a:pt x="961" y="88"/>
                    <a:pt x="961" y="88"/>
                    <a:pt x="961" y="88"/>
                  </a:cubicBezTo>
                  <a:cubicBezTo>
                    <a:pt x="961" y="88"/>
                    <a:pt x="961" y="88"/>
                    <a:pt x="961" y="88"/>
                  </a:cubicBezTo>
                  <a:close/>
                  <a:moveTo>
                    <a:pt x="978" y="88"/>
                  </a:moveTo>
                  <a:cubicBezTo>
                    <a:pt x="978" y="88"/>
                    <a:pt x="978" y="88"/>
                    <a:pt x="978" y="88"/>
                  </a:cubicBezTo>
                  <a:cubicBezTo>
                    <a:pt x="978" y="88"/>
                    <a:pt x="978" y="88"/>
                    <a:pt x="978" y="88"/>
                  </a:cubicBezTo>
                  <a:close/>
                  <a:moveTo>
                    <a:pt x="1018" y="88"/>
                  </a:moveTo>
                  <a:cubicBezTo>
                    <a:pt x="1018" y="88"/>
                    <a:pt x="1019" y="88"/>
                    <a:pt x="1019" y="88"/>
                  </a:cubicBezTo>
                  <a:cubicBezTo>
                    <a:pt x="1018" y="88"/>
                    <a:pt x="1018" y="88"/>
                    <a:pt x="1018" y="88"/>
                  </a:cubicBezTo>
                  <a:close/>
                  <a:moveTo>
                    <a:pt x="1033" y="88"/>
                  </a:moveTo>
                  <a:cubicBezTo>
                    <a:pt x="1033" y="88"/>
                    <a:pt x="1033" y="88"/>
                    <a:pt x="1033" y="88"/>
                  </a:cubicBezTo>
                  <a:cubicBezTo>
                    <a:pt x="1033" y="88"/>
                    <a:pt x="1033" y="88"/>
                    <a:pt x="1033" y="88"/>
                  </a:cubicBezTo>
                  <a:close/>
                  <a:moveTo>
                    <a:pt x="1047" y="88"/>
                  </a:moveTo>
                  <a:cubicBezTo>
                    <a:pt x="1047" y="88"/>
                    <a:pt x="1047" y="88"/>
                    <a:pt x="1047" y="88"/>
                  </a:cubicBezTo>
                  <a:cubicBezTo>
                    <a:pt x="1047" y="88"/>
                    <a:pt x="1047" y="88"/>
                    <a:pt x="1047" y="88"/>
                  </a:cubicBezTo>
                  <a:close/>
                  <a:moveTo>
                    <a:pt x="1080" y="88"/>
                  </a:moveTo>
                  <a:cubicBezTo>
                    <a:pt x="1081" y="88"/>
                    <a:pt x="1081" y="88"/>
                    <a:pt x="1081" y="88"/>
                  </a:cubicBezTo>
                  <a:cubicBezTo>
                    <a:pt x="1081" y="88"/>
                    <a:pt x="1081" y="88"/>
                    <a:pt x="1080" y="88"/>
                  </a:cubicBezTo>
                  <a:close/>
                  <a:moveTo>
                    <a:pt x="1352" y="10"/>
                  </a:moveTo>
                  <a:cubicBezTo>
                    <a:pt x="1353" y="10"/>
                    <a:pt x="1353" y="10"/>
                    <a:pt x="1353" y="10"/>
                  </a:cubicBezTo>
                  <a:cubicBezTo>
                    <a:pt x="1353" y="10"/>
                    <a:pt x="1352" y="10"/>
                    <a:pt x="1352" y="10"/>
                  </a:cubicBezTo>
                  <a:close/>
                  <a:moveTo>
                    <a:pt x="1224" y="88"/>
                  </a:moveTo>
                  <a:cubicBezTo>
                    <a:pt x="1225" y="88"/>
                    <a:pt x="1225" y="88"/>
                    <a:pt x="1225" y="88"/>
                  </a:cubicBezTo>
                  <a:cubicBezTo>
                    <a:pt x="1225" y="88"/>
                    <a:pt x="1225" y="88"/>
                    <a:pt x="1224" y="88"/>
                  </a:cubicBezTo>
                  <a:close/>
                  <a:moveTo>
                    <a:pt x="1258" y="88"/>
                  </a:moveTo>
                  <a:cubicBezTo>
                    <a:pt x="1259" y="88"/>
                    <a:pt x="1259" y="88"/>
                    <a:pt x="1259" y="88"/>
                  </a:cubicBezTo>
                  <a:cubicBezTo>
                    <a:pt x="1259" y="88"/>
                    <a:pt x="1258" y="88"/>
                    <a:pt x="1258" y="88"/>
                  </a:cubicBezTo>
                  <a:close/>
                  <a:moveTo>
                    <a:pt x="1387" y="10"/>
                  </a:moveTo>
                  <a:cubicBezTo>
                    <a:pt x="1387" y="10"/>
                    <a:pt x="1387" y="10"/>
                    <a:pt x="1387" y="10"/>
                  </a:cubicBezTo>
                  <a:cubicBezTo>
                    <a:pt x="1387" y="10"/>
                    <a:pt x="1387" y="10"/>
                    <a:pt x="1387" y="10"/>
                  </a:cubicBezTo>
                  <a:close/>
                  <a:moveTo>
                    <a:pt x="1739" y="10"/>
                  </a:moveTo>
                  <a:cubicBezTo>
                    <a:pt x="1739" y="10"/>
                    <a:pt x="1739" y="10"/>
                    <a:pt x="1739" y="10"/>
                  </a:cubicBezTo>
                  <a:cubicBezTo>
                    <a:pt x="1739" y="10"/>
                    <a:pt x="1739" y="10"/>
                    <a:pt x="1739" y="10"/>
                  </a:cubicBezTo>
                  <a:close/>
                  <a:moveTo>
                    <a:pt x="1425" y="11"/>
                  </a:moveTo>
                  <a:cubicBezTo>
                    <a:pt x="1425" y="11"/>
                    <a:pt x="1425" y="11"/>
                    <a:pt x="1425" y="10"/>
                  </a:cubicBezTo>
                  <a:cubicBezTo>
                    <a:pt x="1425" y="10"/>
                    <a:pt x="1425" y="11"/>
                    <a:pt x="1425" y="11"/>
                  </a:cubicBezTo>
                  <a:close/>
                  <a:moveTo>
                    <a:pt x="1387" y="57"/>
                  </a:moveTo>
                  <a:cubicBezTo>
                    <a:pt x="1387" y="57"/>
                    <a:pt x="1386" y="57"/>
                    <a:pt x="1386" y="57"/>
                  </a:cubicBezTo>
                  <a:cubicBezTo>
                    <a:pt x="1387" y="57"/>
                    <a:pt x="1387" y="57"/>
                    <a:pt x="1387" y="57"/>
                  </a:cubicBezTo>
                  <a:close/>
                  <a:moveTo>
                    <a:pt x="1682" y="88"/>
                  </a:moveTo>
                  <a:cubicBezTo>
                    <a:pt x="1682" y="88"/>
                    <a:pt x="1682" y="88"/>
                    <a:pt x="1682" y="88"/>
                  </a:cubicBezTo>
                  <a:cubicBezTo>
                    <a:pt x="1682" y="88"/>
                    <a:pt x="1682" y="88"/>
                    <a:pt x="1682" y="88"/>
                  </a:cubicBezTo>
                  <a:close/>
                  <a:moveTo>
                    <a:pt x="1556" y="57"/>
                  </a:moveTo>
                  <a:cubicBezTo>
                    <a:pt x="1557" y="57"/>
                    <a:pt x="1557" y="57"/>
                    <a:pt x="1557" y="57"/>
                  </a:cubicBezTo>
                  <a:cubicBezTo>
                    <a:pt x="1557" y="57"/>
                    <a:pt x="1556" y="57"/>
                    <a:pt x="1556" y="57"/>
                  </a:cubicBezTo>
                  <a:close/>
                  <a:moveTo>
                    <a:pt x="1571" y="57"/>
                  </a:moveTo>
                  <a:cubicBezTo>
                    <a:pt x="1571" y="57"/>
                    <a:pt x="1571" y="57"/>
                    <a:pt x="1571" y="57"/>
                  </a:cubicBezTo>
                  <a:cubicBezTo>
                    <a:pt x="1571" y="57"/>
                    <a:pt x="1571" y="57"/>
                    <a:pt x="1571" y="57"/>
                  </a:cubicBezTo>
                  <a:close/>
                  <a:moveTo>
                    <a:pt x="1457" y="10"/>
                  </a:moveTo>
                  <a:cubicBezTo>
                    <a:pt x="1457" y="11"/>
                    <a:pt x="1457" y="11"/>
                    <a:pt x="1457" y="11"/>
                  </a:cubicBezTo>
                  <a:cubicBezTo>
                    <a:pt x="1457" y="11"/>
                    <a:pt x="1457" y="10"/>
                    <a:pt x="1457" y="10"/>
                  </a:cubicBezTo>
                  <a:close/>
                  <a:moveTo>
                    <a:pt x="1724" y="57"/>
                  </a:moveTo>
                  <a:cubicBezTo>
                    <a:pt x="1725" y="57"/>
                    <a:pt x="1725" y="57"/>
                    <a:pt x="1725" y="57"/>
                  </a:cubicBezTo>
                  <a:cubicBezTo>
                    <a:pt x="1725" y="57"/>
                    <a:pt x="1725" y="57"/>
                    <a:pt x="1724" y="57"/>
                  </a:cubicBezTo>
                  <a:close/>
                  <a:moveTo>
                    <a:pt x="751" y="89"/>
                  </a:moveTo>
                  <a:cubicBezTo>
                    <a:pt x="752" y="88"/>
                    <a:pt x="751" y="88"/>
                    <a:pt x="751" y="88"/>
                  </a:cubicBezTo>
                  <a:cubicBezTo>
                    <a:pt x="751" y="88"/>
                    <a:pt x="751" y="89"/>
                    <a:pt x="751" y="89"/>
                  </a:cubicBezTo>
                  <a:close/>
                  <a:moveTo>
                    <a:pt x="798" y="89"/>
                  </a:moveTo>
                  <a:cubicBezTo>
                    <a:pt x="798" y="89"/>
                    <a:pt x="798" y="89"/>
                    <a:pt x="798" y="88"/>
                  </a:cubicBezTo>
                  <a:cubicBezTo>
                    <a:pt x="798" y="88"/>
                    <a:pt x="798" y="88"/>
                    <a:pt x="798" y="89"/>
                  </a:cubicBezTo>
                  <a:close/>
                  <a:moveTo>
                    <a:pt x="1739" y="57"/>
                  </a:moveTo>
                  <a:cubicBezTo>
                    <a:pt x="1739" y="57"/>
                    <a:pt x="1739" y="57"/>
                    <a:pt x="1739" y="57"/>
                  </a:cubicBezTo>
                  <a:cubicBezTo>
                    <a:pt x="1739" y="57"/>
                    <a:pt x="1739" y="57"/>
                    <a:pt x="1739" y="57"/>
                  </a:cubicBezTo>
                  <a:close/>
                  <a:moveTo>
                    <a:pt x="979" y="88"/>
                  </a:moveTo>
                  <a:cubicBezTo>
                    <a:pt x="979" y="89"/>
                    <a:pt x="979" y="89"/>
                    <a:pt x="979" y="89"/>
                  </a:cubicBezTo>
                  <a:cubicBezTo>
                    <a:pt x="979" y="88"/>
                    <a:pt x="979" y="88"/>
                    <a:pt x="979" y="88"/>
                  </a:cubicBezTo>
                  <a:close/>
                  <a:moveTo>
                    <a:pt x="1017" y="89"/>
                  </a:moveTo>
                  <a:cubicBezTo>
                    <a:pt x="1018" y="89"/>
                    <a:pt x="1018" y="89"/>
                    <a:pt x="1018" y="88"/>
                  </a:cubicBezTo>
                  <a:cubicBezTo>
                    <a:pt x="1018" y="88"/>
                    <a:pt x="1018" y="88"/>
                    <a:pt x="1017" y="89"/>
                  </a:cubicBezTo>
                  <a:close/>
                  <a:moveTo>
                    <a:pt x="1047" y="88"/>
                  </a:moveTo>
                  <a:cubicBezTo>
                    <a:pt x="1047" y="89"/>
                    <a:pt x="1047" y="89"/>
                    <a:pt x="1047" y="89"/>
                  </a:cubicBezTo>
                  <a:cubicBezTo>
                    <a:pt x="1047" y="89"/>
                    <a:pt x="1047" y="88"/>
                    <a:pt x="1047" y="88"/>
                  </a:cubicBezTo>
                  <a:close/>
                  <a:moveTo>
                    <a:pt x="577" y="57"/>
                  </a:moveTo>
                  <a:cubicBezTo>
                    <a:pt x="577" y="57"/>
                    <a:pt x="578" y="57"/>
                    <a:pt x="578" y="57"/>
                  </a:cubicBezTo>
                  <a:cubicBezTo>
                    <a:pt x="578" y="57"/>
                    <a:pt x="578" y="57"/>
                    <a:pt x="577" y="57"/>
                  </a:cubicBezTo>
                  <a:close/>
                  <a:moveTo>
                    <a:pt x="548" y="11"/>
                  </a:moveTo>
                  <a:cubicBezTo>
                    <a:pt x="548" y="11"/>
                    <a:pt x="548" y="11"/>
                    <a:pt x="548" y="11"/>
                  </a:cubicBezTo>
                  <a:cubicBezTo>
                    <a:pt x="548" y="11"/>
                    <a:pt x="548" y="11"/>
                    <a:pt x="548" y="11"/>
                  </a:cubicBezTo>
                  <a:close/>
                  <a:moveTo>
                    <a:pt x="1225" y="88"/>
                  </a:moveTo>
                  <a:cubicBezTo>
                    <a:pt x="1225" y="89"/>
                    <a:pt x="1225" y="89"/>
                    <a:pt x="1225" y="89"/>
                  </a:cubicBezTo>
                  <a:cubicBezTo>
                    <a:pt x="1225" y="88"/>
                    <a:pt x="1225" y="88"/>
                    <a:pt x="1225" y="88"/>
                  </a:cubicBezTo>
                  <a:close/>
                  <a:moveTo>
                    <a:pt x="1388" y="11"/>
                  </a:moveTo>
                  <a:cubicBezTo>
                    <a:pt x="1388" y="11"/>
                    <a:pt x="1388" y="11"/>
                    <a:pt x="1388" y="11"/>
                  </a:cubicBezTo>
                  <a:cubicBezTo>
                    <a:pt x="1388" y="11"/>
                    <a:pt x="1388" y="11"/>
                    <a:pt x="1388" y="11"/>
                  </a:cubicBezTo>
                  <a:close/>
                  <a:moveTo>
                    <a:pt x="1386" y="57"/>
                  </a:moveTo>
                  <a:cubicBezTo>
                    <a:pt x="1386" y="57"/>
                    <a:pt x="1386" y="57"/>
                    <a:pt x="1386" y="57"/>
                  </a:cubicBezTo>
                  <a:cubicBezTo>
                    <a:pt x="1386" y="57"/>
                    <a:pt x="1386" y="57"/>
                    <a:pt x="1386" y="57"/>
                  </a:cubicBezTo>
                  <a:close/>
                  <a:moveTo>
                    <a:pt x="1556" y="57"/>
                  </a:moveTo>
                  <a:cubicBezTo>
                    <a:pt x="1556" y="57"/>
                    <a:pt x="1556" y="57"/>
                    <a:pt x="1556" y="57"/>
                  </a:cubicBezTo>
                  <a:cubicBezTo>
                    <a:pt x="1556" y="57"/>
                    <a:pt x="1556" y="57"/>
                    <a:pt x="1556" y="57"/>
                  </a:cubicBezTo>
                  <a:close/>
                  <a:moveTo>
                    <a:pt x="1571" y="57"/>
                  </a:moveTo>
                  <a:cubicBezTo>
                    <a:pt x="1570" y="57"/>
                    <a:pt x="1570" y="57"/>
                    <a:pt x="1570" y="57"/>
                  </a:cubicBezTo>
                  <a:cubicBezTo>
                    <a:pt x="1570" y="57"/>
                    <a:pt x="1570" y="57"/>
                    <a:pt x="1571" y="57"/>
                  </a:cubicBezTo>
                  <a:close/>
                  <a:moveTo>
                    <a:pt x="1424" y="11"/>
                  </a:moveTo>
                  <a:cubicBezTo>
                    <a:pt x="1425" y="11"/>
                    <a:pt x="1425" y="11"/>
                    <a:pt x="1425" y="11"/>
                  </a:cubicBezTo>
                  <a:cubicBezTo>
                    <a:pt x="1425" y="11"/>
                    <a:pt x="1424" y="11"/>
                    <a:pt x="1424" y="11"/>
                  </a:cubicBezTo>
                  <a:close/>
                  <a:moveTo>
                    <a:pt x="1724" y="57"/>
                  </a:moveTo>
                  <a:cubicBezTo>
                    <a:pt x="1724" y="57"/>
                    <a:pt x="1724" y="57"/>
                    <a:pt x="1724" y="57"/>
                  </a:cubicBezTo>
                  <a:cubicBezTo>
                    <a:pt x="1724" y="57"/>
                    <a:pt x="1724" y="57"/>
                    <a:pt x="1724" y="57"/>
                  </a:cubicBezTo>
                  <a:close/>
                  <a:moveTo>
                    <a:pt x="1739" y="57"/>
                  </a:moveTo>
                  <a:cubicBezTo>
                    <a:pt x="1738" y="57"/>
                    <a:pt x="1738" y="57"/>
                    <a:pt x="1738" y="57"/>
                  </a:cubicBezTo>
                  <a:cubicBezTo>
                    <a:pt x="1738" y="57"/>
                    <a:pt x="1739" y="57"/>
                    <a:pt x="1739" y="57"/>
                  </a:cubicBezTo>
                  <a:close/>
                  <a:moveTo>
                    <a:pt x="578" y="57"/>
                  </a:moveTo>
                  <a:cubicBezTo>
                    <a:pt x="578" y="58"/>
                    <a:pt x="578" y="58"/>
                    <a:pt x="578" y="58"/>
                  </a:cubicBezTo>
                  <a:cubicBezTo>
                    <a:pt x="578" y="58"/>
                    <a:pt x="578" y="57"/>
                    <a:pt x="578" y="57"/>
                  </a:cubicBezTo>
                  <a:close/>
                  <a:moveTo>
                    <a:pt x="1498" y="11"/>
                  </a:moveTo>
                  <a:cubicBezTo>
                    <a:pt x="1498" y="11"/>
                    <a:pt x="1498" y="11"/>
                    <a:pt x="1498" y="11"/>
                  </a:cubicBezTo>
                  <a:cubicBezTo>
                    <a:pt x="1498" y="11"/>
                    <a:pt x="1498" y="11"/>
                    <a:pt x="1498" y="11"/>
                  </a:cubicBezTo>
                  <a:close/>
                  <a:moveTo>
                    <a:pt x="1535" y="11"/>
                  </a:moveTo>
                  <a:cubicBezTo>
                    <a:pt x="1536" y="11"/>
                    <a:pt x="1536" y="11"/>
                    <a:pt x="1536" y="11"/>
                  </a:cubicBezTo>
                  <a:cubicBezTo>
                    <a:pt x="1536" y="11"/>
                    <a:pt x="1535" y="11"/>
                    <a:pt x="1535" y="11"/>
                  </a:cubicBezTo>
                  <a:close/>
                  <a:moveTo>
                    <a:pt x="1572" y="11"/>
                  </a:moveTo>
                  <a:cubicBezTo>
                    <a:pt x="1572" y="11"/>
                    <a:pt x="1572" y="11"/>
                    <a:pt x="1572" y="11"/>
                  </a:cubicBezTo>
                  <a:cubicBezTo>
                    <a:pt x="1572" y="11"/>
                    <a:pt x="1572" y="11"/>
                    <a:pt x="1572" y="11"/>
                  </a:cubicBezTo>
                  <a:close/>
                  <a:moveTo>
                    <a:pt x="1034" y="89"/>
                  </a:moveTo>
                  <a:cubicBezTo>
                    <a:pt x="1034" y="89"/>
                    <a:pt x="1034" y="89"/>
                    <a:pt x="1034" y="88"/>
                  </a:cubicBezTo>
                  <a:cubicBezTo>
                    <a:pt x="1034" y="89"/>
                    <a:pt x="1034" y="89"/>
                    <a:pt x="1034" y="89"/>
                  </a:cubicBezTo>
                  <a:close/>
                  <a:moveTo>
                    <a:pt x="1047" y="89"/>
                  </a:moveTo>
                  <a:cubicBezTo>
                    <a:pt x="1047" y="89"/>
                    <a:pt x="1048" y="89"/>
                    <a:pt x="1048" y="89"/>
                  </a:cubicBezTo>
                  <a:cubicBezTo>
                    <a:pt x="1048" y="89"/>
                    <a:pt x="1047" y="89"/>
                    <a:pt x="1047" y="89"/>
                  </a:cubicBezTo>
                  <a:close/>
                  <a:moveTo>
                    <a:pt x="1079" y="89"/>
                  </a:moveTo>
                  <a:cubicBezTo>
                    <a:pt x="1080" y="89"/>
                    <a:pt x="1080" y="89"/>
                    <a:pt x="1080" y="89"/>
                  </a:cubicBezTo>
                  <a:cubicBezTo>
                    <a:pt x="1080" y="89"/>
                    <a:pt x="1080" y="89"/>
                    <a:pt x="1079" y="89"/>
                  </a:cubicBezTo>
                  <a:close/>
                  <a:moveTo>
                    <a:pt x="671" y="57"/>
                  </a:moveTo>
                  <a:cubicBezTo>
                    <a:pt x="671" y="58"/>
                    <a:pt x="672" y="58"/>
                    <a:pt x="672" y="58"/>
                  </a:cubicBezTo>
                  <a:cubicBezTo>
                    <a:pt x="672" y="58"/>
                    <a:pt x="672" y="57"/>
                    <a:pt x="671" y="57"/>
                  </a:cubicBezTo>
                  <a:close/>
                  <a:moveTo>
                    <a:pt x="1225" y="89"/>
                  </a:moveTo>
                  <a:cubicBezTo>
                    <a:pt x="1225" y="89"/>
                    <a:pt x="1225" y="89"/>
                    <a:pt x="1226" y="89"/>
                  </a:cubicBezTo>
                  <a:cubicBezTo>
                    <a:pt x="1226" y="89"/>
                    <a:pt x="1225" y="89"/>
                    <a:pt x="1225" y="89"/>
                  </a:cubicBezTo>
                  <a:close/>
                  <a:moveTo>
                    <a:pt x="1257" y="89"/>
                  </a:moveTo>
                  <a:cubicBezTo>
                    <a:pt x="1257" y="89"/>
                    <a:pt x="1258" y="89"/>
                    <a:pt x="1258" y="89"/>
                  </a:cubicBezTo>
                  <a:cubicBezTo>
                    <a:pt x="1258" y="89"/>
                    <a:pt x="1257" y="89"/>
                    <a:pt x="1257" y="89"/>
                  </a:cubicBezTo>
                  <a:close/>
                  <a:moveTo>
                    <a:pt x="1704" y="11"/>
                  </a:moveTo>
                  <a:cubicBezTo>
                    <a:pt x="1704" y="11"/>
                    <a:pt x="1704" y="11"/>
                    <a:pt x="1704" y="11"/>
                  </a:cubicBezTo>
                  <a:cubicBezTo>
                    <a:pt x="1704" y="11"/>
                    <a:pt x="1704" y="11"/>
                    <a:pt x="1704" y="11"/>
                  </a:cubicBezTo>
                  <a:close/>
                  <a:moveTo>
                    <a:pt x="1740" y="11"/>
                  </a:moveTo>
                  <a:cubicBezTo>
                    <a:pt x="1740" y="11"/>
                    <a:pt x="1740" y="11"/>
                    <a:pt x="1740" y="11"/>
                  </a:cubicBezTo>
                  <a:cubicBezTo>
                    <a:pt x="1740" y="11"/>
                    <a:pt x="1740" y="11"/>
                    <a:pt x="1740" y="11"/>
                  </a:cubicBezTo>
                  <a:close/>
                  <a:moveTo>
                    <a:pt x="1371" y="58"/>
                  </a:moveTo>
                  <a:cubicBezTo>
                    <a:pt x="1371" y="58"/>
                    <a:pt x="1371" y="58"/>
                    <a:pt x="1372" y="57"/>
                  </a:cubicBezTo>
                  <a:cubicBezTo>
                    <a:pt x="1371" y="57"/>
                    <a:pt x="1371" y="58"/>
                    <a:pt x="1371" y="58"/>
                  </a:cubicBezTo>
                  <a:close/>
                  <a:moveTo>
                    <a:pt x="1386" y="57"/>
                  </a:moveTo>
                  <a:cubicBezTo>
                    <a:pt x="1386" y="57"/>
                    <a:pt x="1386" y="57"/>
                    <a:pt x="1386" y="58"/>
                  </a:cubicBezTo>
                  <a:cubicBezTo>
                    <a:pt x="1386" y="58"/>
                    <a:pt x="1386" y="57"/>
                    <a:pt x="1386" y="57"/>
                  </a:cubicBezTo>
                  <a:close/>
                  <a:moveTo>
                    <a:pt x="1388" y="11"/>
                  </a:moveTo>
                  <a:cubicBezTo>
                    <a:pt x="1388" y="11"/>
                    <a:pt x="1388" y="11"/>
                    <a:pt x="1389" y="11"/>
                  </a:cubicBezTo>
                  <a:cubicBezTo>
                    <a:pt x="1388" y="11"/>
                    <a:pt x="1388" y="11"/>
                    <a:pt x="1388" y="11"/>
                  </a:cubicBezTo>
                  <a:close/>
                  <a:moveTo>
                    <a:pt x="1570" y="57"/>
                  </a:moveTo>
                  <a:cubicBezTo>
                    <a:pt x="1570" y="57"/>
                    <a:pt x="1570" y="57"/>
                    <a:pt x="1570" y="58"/>
                  </a:cubicBezTo>
                  <a:cubicBezTo>
                    <a:pt x="1570" y="58"/>
                    <a:pt x="1570" y="57"/>
                    <a:pt x="1570" y="57"/>
                  </a:cubicBezTo>
                  <a:close/>
                  <a:moveTo>
                    <a:pt x="661" y="89"/>
                  </a:moveTo>
                  <a:cubicBezTo>
                    <a:pt x="661" y="89"/>
                    <a:pt x="661" y="89"/>
                    <a:pt x="661" y="89"/>
                  </a:cubicBezTo>
                  <a:cubicBezTo>
                    <a:pt x="661" y="89"/>
                    <a:pt x="661" y="89"/>
                    <a:pt x="661" y="89"/>
                  </a:cubicBezTo>
                  <a:close/>
                  <a:moveTo>
                    <a:pt x="687" y="89"/>
                  </a:moveTo>
                  <a:cubicBezTo>
                    <a:pt x="687" y="89"/>
                    <a:pt x="687" y="89"/>
                    <a:pt x="687" y="89"/>
                  </a:cubicBezTo>
                  <a:cubicBezTo>
                    <a:pt x="687" y="89"/>
                    <a:pt x="687" y="89"/>
                    <a:pt x="687" y="89"/>
                  </a:cubicBezTo>
                  <a:close/>
                  <a:moveTo>
                    <a:pt x="766" y="89"/>
                  </a:moveTo>
                  <a:cubicBezTo>
                    <a:pt x="766" y="89"/>
                    <a:pt x="766" y="89"/>
                    <a:pt x="766" y="89"/>
                  </a:cubicBezTo>
                  <a:cubicBezTo>
                    <a:pt x="766" y="89"/>
                    <a:pt x="766" y="89"/>
                    <a:pt x="766" y="89"/>
                  </a:cubicBezTo>
                  <a:close/>
                  <a:moveTo>
                    <a:pt x="797" y="89"/>
                  </a:moveTo>
                  <a:cubicBezTo>
                    <a:pt x="797" y="89"/>
                    <a:pt x="797" y="89"/>
                    <a:pt x="797" y="89"/>
                  </a:cubicBezTo>
                  <a:cubicBezTo>
                    <a:pt x="797" y="89"/>
                    <a:pt x="797" y="89"/>
                    <a:pt x="797" y="89"/>
                  </a:cubicBezTo>
                  <a:close/>
                  <a:moveTo>
                    <a:pt x="1672" y="11"/>
                  </a:moveTo>
                  <a:cubicBezTo>
                    <a:pt x="1673" y="11"/>
                    <a:pt x="1673" y="11"/>
                    <a:pt x="1673" y="11"/>
                  </a:cubicBezTo>
                  <a:cubicBezTo>
                    <a:pt x="1673" y="11"/>
                    <a:pt x="1673" y="11"/>
                    <a:pt x="1672" y="11"/>
                  </a:cubicBezTo>
                  <a:close/>
                  <a:moveTo>
                    <a:pt x="546" y="12"/>
                  </a:moveTo>
                  <a:cubicBezTo>
                    <a:pt x="547" y="12"/>
                    <a:pt x="547" y="12"/>
                    <a:pt x="547" y="11"/>
                  </a:cubicBezTo>
                  <a:cubicBezTo>
                    <a:pt x="547" y="11"/>
                    <a:pt x="547" y="12"/>
                    <a:pt x="546" y="12"/>
                  </a:cubicBezTo>
                  <a:close/>
                  <a:moveTo>
                    <a:pt x="1738" y="57"/>
                  </a:moveTo>
                  <a:cubicBezTo>
                    <a:pt x="1738" y="57"/>
                    <a:pt x="1738" y="57"/>
                    <a:pt x="1738" y="58"/>
                  </a:cubicBezTo>
                  <a:cubicBezTo>
                    <a:pt x="1738" y="58"/>
                    <a:pt x="1738" y="57"/>
                    <a:pt x="1738" y="57"/>
                  </a:cubicBezTo>
                  <a:close/>
                  <a:moveTo>
                    <a:pt x="1048" y="89"/>
                  </a:moveTo>
                  <a:cubicBezTo>
                    <a:pt x="1048" y="89"/>
                    <a:pt x="1048" y="89"/>
                    <a:pt x="1048" y="89"/>
                  </a:cubicBezTo>
                  <a:cubicBezTo>
                    <a:pt x="1048" y="89"/>
                    <a:pt x="1048" y="89"/>
                    <a:pt x="1048" y="89"/>
                  </a:cubicBezTo>
                  <a:close/>
                  <a:moveTo>
                    <a:pt x="1350" y="12"/>
                  </a:moveTo>
                  <a:cubicBezTo>
                    <a:pt x="1350" y="12"/>
                    <a:pt x="1351" y="12"/>
                    <a:pt x="1351" y="11"/>
                  </a:cubicBezTo>
                  <a:cubicBezTo>
                    <a:pt x="1350" y="11"/>
                    <a:pt x="1350" y="12"/>
                    <a:pt x="1350" y="12"/>
                  </a:cubicBezTo>
                  <a:close/>
                  <a:moveTo>
                    <a:pt x="1458" y="11"/>
                  </a:moveTo>
                  <a:cubicBezTo>
                    <a:pt x="1458" y="12"/>
                    <a:pt x="1458" y="12"/>
                    <a:pt x="1458" y="12"/>
                  </a:cubicBezTo>
                  <a:cubicBezTo>
                    <a:pt x="1458" y="12"/>
                    <a:pt x="1458" y="11"/>
                    <a:pt x="1458" y="11"/>
                  </a:cubicBezTo>
                  <a:close/>
                  <a:moveTo>
                    <a:pt x="1226" y="89"/>
                  </a:moveTo>
                  <a:cubicBezTo>
                    <a:pt x="1226" y="89"/>
                    <a:pt x="1226" y="89"/>
                    <a:pt x="1226" y="89"/>
                  </a:cubicBezTo>
                  <a:cubicBezTo>
                    <a:pt x="1226" y="89"/>
                    <a:pt x="1226" y="89"/>
                    <a:pt x="1226" y="89"/>
                  </a:cubicBezTo>
                  <a:close/>
                  <a:moveTo>
                    <a:pt x="1497" y="12"/>
                  </a:moveTo>
                  <a:cubicBezTo>
                    <a:pt x="1497" y="12"/>
                    <a:pt x="1497" y="12"/>
                    <a:pt x="1497" y="11"/>
                  </a:cubicBezTo>
                  <a:cubicBezTo>
                    <a:pt x="1497" y="11"/>
                    <a:pt x="1497" y="12"/>
                    <a:pt x="1497" y="12"/>
                  </a:cubicBezTo>
                  <a:close/>
                  <a:moveTo>
                    <a:pt x="672" y="58"/>
                  </a:moveTo>
                  <a:cubicBezTo>
                    <a:pt x="672" y="58"/>
                    <a:pt x="672" y="58"/>
                    <a:pt x="672" y="58"/>
                  </a:cubicBezTo>
                  <a:cubicBezTo>
                    <a:pt x="672" y="58"/>
                    <a:pt x="672" y="58"/>
                    <a:pt x="672" y="58"/>
                  </a:cubicBezTo>
                  <a:close/>
                  <a:moveTo>
                    <a:pt x="1674" y="54"/>
                  </a:moveTo>
                  <a:cubicBezTo>
                    <a:pt x="1673" y="54"/>
                    <a:pt x="1673" y="54"/>
                    <a:pt x="1673" y="54"/>
                  </a:cubicBezTo>
                  <a:cubicBezTo>
                    <a:pt x="1673" y="54"/>
                    <a:pt x="1674" y="54"/>
                    <a:pt x="1674" y="54"/>
                  </a:cubicBezTo>
                  <a:close/>
                  <a:moveTo>
                    <a:pt x="1534" y="12"/>
                  </a:moveTo>
                  <a:cubicBezTo>
                    <a:pt x="1535" y="12"/>
                    <a:pt x="1535" y="12"/>
                    <a:pt x="1535" y="11"/>
                  </a:cubicBezTo>
                  <a:cubicBezTo>
                    <a:pt x="1535" y="11"/>
                    <a:pt x="1534" y="12"/>
                    <a:pt x="1534" y="12"/>
                  </a:cubicBezTo>
                  <a:close/>
                  <a:moveTo>
                    <a:pt x="1573" y="11"/>
                  </a:moveTo>
                  <a:cubicBezTo>
                    <a:pt x="1573" y="12"/>
                    <a:pt x="1573" y="12"/>
                    <a:pt x="1573" y="12"/>
                  </a:cubicBezTo>
                  <a:cubicBezTo>
                    <a:pt x="1573" y="12"/>
                    <a:pt x="1573" y="11"/>
                    <a:pt x="1573" y="11"/>
                  </a:cubicBezTo>
                  <a:close/>
                  <a:moveTo>
                    <a:pt x="1703" y="12"/>
                  </a:moveTo>
                  <a:cubicBezTo>
                    <a:pt x="1703" y="12"/>
                    <a:pt x="1703" y="12"/>
                    <a:pt x="1703" y="11"/>
                  </a:cubicBezTo>
                  <a:cubicBezTo>
                    <a:pt x="1703" y="11"/>
                    <a:pt x="1703" y="12"/>
                    <a:pt x="1703" y="12"/>
                  </a:cubicBezTo>
                  <a:close/>
                  <a:moveTo>
                    <a:pt x="1423" y="12"/>
                  </a:moveTo>
                  <a:cubicBezTo>
                    <a:pt x="1423" y="12"/>
                    <a:pt x="1423" y="12"/>
                    <a:pt x="1423" y="12"/>
                  </a:cubicBezTo>
                  <a:cubicBezTo>
                    <a:pt x="1423" y="12"/>
                    <a:pt x="1423" y="12"/>
                    <a:pt x="1423" y="12"/>
                  </a:cubicBezTo>
                  <a:close/>
                  <a:moveTo>
                    <a:pt x="1371" y="58"/>
                  </a:moveTo>
                  <a:cubicBezTo>
                    <a:pt x="1371" y="58"/>
                    <a:pt x="1371" y="58"/>
                    <a:pt x="1371" y="58"/>
                  </a:cubicBezTo>
                  <a:cubicBezTo>
                    <a:pt x="1371" y="58"/>
                    <a:pt x="1371" y="58"/>
                    <a:pt x="1371" y="58"/>
                  </a:cubicBezTo>
                  <a:close/>
                  <a:moveTo>
                    <a:pt x="1386" y="58"/>
                  </a:moveTo>
                  <a:cubicBezTo>
                    <a:pt x="1385" y="58"/>
                    <a:pt x="1385" y="58"/>
                    <a:pt x="1385" y="58"/>
                  </a:cubicBezTo>
                  <a:cubicBezTo>
                    <a:pt x="1385" y="58"/>
                    <a:pt x="1386" y="58"/>
                    <a:pt x="1386" y="58"/>
                  </a:cubicBezTo>
                  <a:close/>
                  <a:moveTo>
                    <a:pt x="766" y="89"/>
                  </a:moveTo>
                  <a:cubicBezTo>
                    <a:pt x="766" y="90"/>
                    <a:pt x="766" y="90"/>
                    <a:pt x="766" y="90"/>
                  </a:cubicBezTo>
                  <a:cubicBezTo>
                    <a:pt x="766" y="90"/>
                    <a:pt x="766" y="89"/>
                    <a:pt x="766" y="89"/>
                  </a:cubicBezTo>
                  <a:close/>
                  <a:moveTo>
                    <a:pt x="1555" y="58"/>
                  </a:moveTo>
                  <a:cubicBezTo>
                    <a:pt x="1555" y="58"/>
                    <a:pt x="1555" y="58"/>
                    <a:pt x="1555" y="58"/>
                  </a:cubicBezTo>
                  <a:cubicBezTo>
                    <a:pt x="1555" y="58"/>
                    <a:pt x="1555" y="58"/>
                    <a:pt x="1555" y="58"/>
                  </a:cubicBezTo>
                  <a:close/>
                  <a:moveTo>
                    <a:pt x="962" y="90"/>
                  </a:moveTo>
                  <a:cubicBezTo>
                    <a:pt x="962" y="89"/>
                    <a:pt x="962" y="89"/>
                    <a:pt x="962" y="89"/>
                  </a:cubicBezTo>
                  <a:cubicBezTo>
                    <a:pt x="962" y="89"/>
                    <a:pt x="962" y="90"/>
                    <a:pt x="962" y="90"/>
                  </a:cubicBezTo>
                  <a:close/>
                  <a:moveTo>
                    <a:pt x="1570" y="58"/>
                  </a:moveTo>
                  <a:cubicBezTo>
                    <a:pt x="1570" y="58"/>
                    <a:pt x="1570" y="58"/>
                    <a:pt x="1569" y="58"/>
                  </a:cubicBezTo>
                  <a:cubicBezTo>
                    <a:pt x="1570" y="58"/>
                    <a:pt x="1570" y="58"/>
                    <a:pt x="1570" y="58"/>
                  </a:cubicBezTo>
                  <a:close/>
                  <a:moveTo>
                    <a:pt x="1458" y="12"/>
                  </a:moveTo>
                  <a:cubicBezTo>
                    <a:pt x="1458" y="12"/>
                    <a:pt x="1459" y="12"/>
                    <a:pt x="1459" y="12"/>
                  </a:cubicBezTo>
                  <a:cubicBezTo>
                    <a:pt x="1459" y="12"/>
                    <a:pt x="1459" y="12"/>
                    <a:pt x="1458" y="12"/>
                  </a:cubicBezTo>
                  <a:close/>
                  <a:moveTo>
                    <a:pt x="1723" y="58"/>
                  </a:moveTo>
                  <a:cubicBezTo>
                    <a:pt x="1723" y="58"/>
                    <a:pt x="1723" y="58"/>
                    <a:pt x="1723" y="58"/>
                  </a:cubicBezTo>
                  <a:cubicBezTo>
                    <a:pt x="1723" y="58"/>
                    <a:pt x="1723" y="58"/>
                    <a:pt x="1723" y="58"/>
                  </a:cubicBezTo>
                  <a:close/>
                  <a:moveTo>
                    <a:pt x="1738" y="58"/>
                  </a:moveTo>
                  <a:cubicBezTo>
                    <a:pt x="1738" y="58"/>
                    <a:pt x="1738" y="58"/>
                    <a:pt x="1738" y="58"/>
                  </a:cubicBezTo>
                  <a:cubicBezTo>
                    <a:pt x="1738" y="58"/>
                    <a:pt x="1738" y="58"/>
                    <a:pt x="1738" y="58"/>
                  </a:cubicBezTo>
                  <a:close/>
                  <a:moveTo>
                    <a:pt x="672" y="58"/>
                  </a:moveTo>
                  <a:cubicBezTo>
                    <a:pt x="672" y="58"/>
                    <a:pt x="672" y="58"/>
                    <a:pt x="672" y="58"/>
                  </a:cubicBezTo>
                  <a:cubicBezTo>
                    <a:pt x="672" y="58"/>
                    <a:pt x="672" y="58"/>
                    <a:pt x="672" y="58"/>
                  </a:cubicBezTo>
                  <a:close/>
                  <a:moveTo>
                    <a:pt x="1212" y="90"/>
                  </a:moveTo>
                  <a:cubicBezTo>
                    <a:pt x="1212" y="89"/>
                    <a:pt x="1212" y="89"/>
                    <a:pt x="1212" y="89"/>
                  </a:cubicBezTo>
                  <a:cubicBezTo>
                    <a:pt x="1212" y="89"/>
                    <a:pt x="1212" y="90"/>
                    <a:pt x="1212" y="90"/>
                  </a:cubicBezTo>
                  <a:close/>
                  <a:moveTo>
                    <a:pt x="1534" y="12"/>
                  </a:moveTo>
                  <a:cubicBezTo>
                    <a:pt x="1534" y="12"/>
                    <a:pt x="1534" y="12"/>
                    <a:pt x="1534" y="12"/>
                  </a:cubicBezTo>
                  <a:cubicBezTo>
                    <a:pt x="1534" y="12"/>
                    <a:pt x="1534" y="12"/>
                    <a:pt x="1534" y="12"/>
                  </a:cubicBezTo>
                  <a:close/>
                  <a:moveTo>
                    <a:pt x="1573" y="12"/>
                  </a:moveTo>
                  <a:cubicBezTo>
                    <a:pt x="1573" y="12"/>
                    <a:pt x="1573" y="12"/>
                    <a:pt x="1574" y="12"/>
                  </a:cubicBezTo>
                  <a:cubicBezTo>
                    <a:pt x="1574" y="12"/>
                    <a:pt x="1573" y="12"/>
                    <a:pt x="1573" y="12"/>
                  </a:cubicBezTo>
                  <a:close/>
                  <a:moveTo>
                    <a:pt x="1416" y="90"/>
                  </a:moveTo>
                  <a:cubicBezTo>
                    <a:pt x="1416" y="89"/>
                    <a:pt x="1416" y="89"/>
                    <a:pt x="1416" y="89"/>
                  </a:cubicBezTo>
                  <a:cubicBezTo>
                    <a:pt x="1416" y="89"/>
                    <a:pt x="1416" y="90"/>
                    <a:pt x="1416" y="90"/>
                  </a:cubicBezTo>
                  <a:close/>
                  <a:moveTo>
                    <a:pt x="1463" y="89"/>
                  </a:moveTo>
                  <a:cubicBezTo>
                    <a:pt x="1463" y="89"/>
                    <a:pt x="1463" y="89"/>
                    <a:pt x="1463" y="90"/>
                  </a:cubicBezTo>
                  <a:cubicBezTo>
                    <a:pt x="1463" y="90"/>
                    <a:pt x="1463" y="89"/>
                    <a:pt x="1463" y="89"/>
                  </a:cubicBezTo>
                  <a:close/>
                  <a:moveTo>
                    <a:pt x="1702" y="12"/>
                  </a:moveTo>
                  <a:cubicBezTo>
                    <a:pt x="1702" y="12"/>
                    <a:pt x="1702" y="12"/>
                    <a:pt x="1703" y="12"/>
                  </a:cubicBezTo>
                  <a:cubicBezTo>
                    <a:pt x="1702" y="12"/>
                    <a:pt x="1702" y="12"/>
                    <a:pt x="1702" y="12"/>
                  </a:cubicBezTo>
                  <a:close/>
                  <a:moveTo>
                    <a:pt x="1741" y="12"/>
                  </a:moveTo>
                  <a:cubicBezTo>
                    <a:pt x="1741" y="12"/>
                    <a:pt x="1742" y="12"/>
                    <a:pt x="1742" y="12"/>
                  </a:cubicBezTo>
                  <a:cubicBezTo>
                    <a:pt x="1742" y="12"/>
                    <a:pt x="1742" y="12"/>
                    <a:pt x="1741" y="12"/>
                  </a:cubicBezTo>
                  <a:close/>
                  <a:moveTo>
                    <a:pt x="1555" y="58"/>
                  </a:moveTo>
                  <a:cubicBezTo>
                    <a:pt x="1555" y="58"/>
                    <a:pt x="1555" y="58"/>
                    <a:pt x="1555" y="58"/>
                  </a:cubicBezTo>
                  <a:cubicBezTo>
                    <a:pt x="1555" y="58"/>
                    <a:pt x="1555" y="58"/>
                    <a:pt x="1555" y="58"/>
                  </a:cubicBezTo>
                  <a:close/>
                  <a:moveTo>
                    <a:pt x="1569" y="58"/>
                  </a:moveTo>
                  <a:cubicBezTo>
                    <a:pt x="1569" y="58"/>
                    <a:pt x="1569" y="58"/>
                    <a:pt x="1569" y="58"/>
                  </a:cubicBezTo>
                  <a:cubicBezTo>
                    <a:pt x="1569" y="58"/>
                    <a:pt x="1569" y="58"/>
                    <a:pt x="1569" y="58"/>
                  </a:cubicBezTo>
                  <a:close/>
                  <a:moveTo>
                    <a:pt x="963" y="90"/>
                  </a:moveTo>
                  <a:cubicBezTo>
                    <a:pt x="962" y="90"/>
                    <a:pt x="962" y="90"/>
                    <a:pt x="962" y="90"/>
                  </a:cubicBezTo>
                  <a:cubicBezTo>
                    <a:pt x="962" y="90"/>
                    <a:pt x="962" y="90"/>
                    <a:pt x="963" y="90"/>
                  </a:cubicBezTo>
                  <a:close/>
                  <a:moveTo>
                    <a:pt x="974" y="12"/>
                  </a:moveTo>
                  <a:cubicBezTo>
                    <a:pt x="974" y="12"/>
                    <a:pt x="974" y="12"/>
                    <a:pt x="974" y="12"/>
                  </a:cubicBezTo>
                  <a:cubicBezTo>
                    <a:pt x="974" y="12"/>
                    <a:pt x="974" y="12"/>
                    <a:pt x="974" y="12"/>
                  </a:cubicBezTo>
                  <a:close/>
                  <a:moveTo>
                    <a:pt x="1723" y="58"/>
                  </a:moveTo>
                  <a:cubicBezTo>
                    <a:pt x="1723" y="58"/>
                    <a:pt x="1723" y="58"/>
                    <a:pt x="1723" y="58"/>
                  </a:cubicBezTo>
                  <a:cubicBezTo>
                    <a:pt x="1723" y="58"/>
                    <a:pt x="1723" y="58"/>
                    <a:pt x="1723" y="58"/>
                  </a:cubicBezTo>
                  <a:close/>
                  <a:moveTo>
                    <a:pt x="1738" y="58"/>
                  </a:moveTo>
                  <a:cubicBezTo>
                    <a:pt x="1737" y="58"/>
                    <a:pt x="1737" y="58"/>
                    <a:pt x="1737" y="58"/>
                  </a:cubicBezTo>
                  <a:cubicBezTo>
                    <a:pt x="1737" y="58"/>
                    <a:pt x="1738" y="58"/>
                    <a:pt x="1738" y="58"/>
                  </a:cubicBezTo>
                  <a:close/>
                  <a:moveTo>
                    <a:pt x="1049" y="90"/>
                  </a:moveTo>
                  <a:cubicBezTo>
                    <a:pt x="1049" y="90"/>
                    <a:pt x="1049" y="90"/>
                    <a:pt x="1049" y="90"/>
                  </a:cubicBezTo>
                  <a:cubicBezTo>
                    <a:pt x="1049" y="90"/>
                    <a:pt x="1049" y="90"/>
                    <a:pt x="1049" y="90"/>
                  </a:cubicBezTo>
                  <a:close/>
                  <a:moveTo>
                    <a:pt x="1078" y="90"/>
                  </a:moveTo>
                  <a:cubicBezTo>
                    <a:pt x="1078" y="90"/>
                    <a:pt x="1078" y="90"/>
                    <a:pt x="1078" y="90"/>
                  </a:cubicBezTo>
                  <a:cubicBezTo>
                    <a:pt x="1078" y="90"/>
                    <a:pt x="1078" y="90"/>
                    <a:pt x="1078" y="90"/>
                  </a:cubicBezTo>
                  <a:close/>
                  <a:moveTo>
                    <a:pt x="579" y="58"/>
                  </a:moveTo>
                  <a:cubicBezTo>
                    <a:pt x="579" y="59"/>
                    <a:pt x="579" y="59"/>
                    <a:pt x="580" y="59"/>
                  </a:cubicBezTo>
                  <a:cubicBezTo>
                    <a:pt x="579" y="59"/>
                    <a:pt x="579" y="58"/>
                    <a:pt x="579" y="58"/>
                  </a:cubicBezTo>
                  <a:close/>
                  <a:moveTo>
                    <a:pt x="1349" y="12"/>
                  </a:moveTo>
                  <a:cubicBezTo>
                    <a:pt x="1349" y="12"/>
                    <a:pt x="1350" y="12"/>
                    <a:pt x="1350" y="12"/>
                  </a:cubicBezTo>
                  <a:cubicBezTo>
                    <a:pt x="1349" y="12"/>
                    <a:pt x="1349" y="12"/>
                    <a:pt x="1349" y="12"/>
                  </a:cubicBezTo>
                  <a:close/>
                  <a:moveTo>
                    <a:pt x="1389" y="12"/>
                  </a:moveTo>
                  <a:cubicBezTo>
                    <a:pt x="1390" y="12"/>
                    <a:pt x="1390" y="12"/>
                    <a:pt x="1390" y="12"/>
                  </a:cubicBezTo>
                  <a:cubicBezTo>
                    <a:pt x="1390" y="12"/>
                    <a:pt x="1390" y="12"/>
                    <a:pt x="1389" y="12"/>
                  </a:cubicBezTo>
                  <a:close/>
                  <a:moveTo>
                    <a:pt x="1423" y="12"/>
                  </a:moveTo>
                  <a:cubicBezTo>
                    <a:pt x="1423" y="12"/>
                    <a:pt x="1423" y="12"/>
                    <a:pt x="1423" y="12"/>
                  </a:cubicBezTo>
                  <a:cubicBezTo>
                    <a:pt x="1423" y="12"/>
                    <a:pt x="1423" y="12"/>
                    <a:pt x="1423" y="12"/>
                  </a:cubicBezTo>
                  <a:close/>
                  <a:moveTo>
                    <a:pt x="672" y="58"/>
                  </a:moveTo>
                  <a:cubicBezTo>
                    <a:pt x="673" y="59"/>
                    <a:pt x="673" y="59"/>
                    <a:pt x="673" y="59"/>
                  </a:cubicBezTo>
                  <a:cubicBezTo>
                    <a:pt x="673" y="59"/>
                    <a:pt x="673" y="58"/>
                    <a:pt x="672" y="58"/>
                  </a:cubicBezTo>
                  <a:close/>
                  <a:moveTo>
                    <a:pt x="1459" y="12"/>
                  </a:moveTo>
                  <a:cubicBezTo>
                    <a:pt x="1459" y="12"/>
                    <a:pt x="1459" y="12"/>
                    <a:pt x="1459" y="12"/>
                  </a:cubicBezTo>
                  <a:cubicBezTo>
                    <a:pt x="1459" y="12"/>
                    <a:pt x="1459" y="12"/>
                    <a:pt x="1459" y="12"/>
                  </a:cubicBezTo>
                  <a:close/>
                  <a:moveTo>
                    <a:pt x="1574" y="12"/>
                  </a:moveTo>
                  <a:cubicBezTo>
                    <a:pt x="1574" y="12"/>
                    <a:pt x="1574" y="12"/>
                    <a:pt x="1574" y="12"/>
                  </a:cubicBezTo>
                  <a:cubicBezTo>
                    <a:pt x="1574" y="12"/>
                    <a:pt x="1574" y="12"/>
                    <a:pt x="1574" y="12"/>
                  </a:cubicBezTo>
                  <a:close/>
                  <a:moveTo>
                    <a:pt x="586" y="90"/>
                  </a:moveTo>
                  <a:cubicBezTo>
                    <a:pt x="586" y="90"/>
                    <a:pt x="586" y="90"/>
                    <a:pt x="586" y="90"/>
                  </a:cubicBezTo>
                  <a:cubicBezTo>
                    <a:pt x="586" y="90"/>
                    <a:pt x="586" y="90"/>
                    <a:pt x="586" y="90"/>
                  </a:cubicBezTo>
                  <a:close/>
                  <a:moveTo>
                    <a:pt x="1370" y="59"/>
                  </a:moveTo>
                  <a:cubicBezTo>
                    <a:pt x="1370" y="59"/>
                    <a:pt x="1370" y="59"/>
                    <a:pt x="1370" y="58"/>
                  </a:cubicBezTo>
                  <a:cubicBezTo>
                    <a:pt x="1370" y="58"/>
                    <a:pt x="1370" y="59"/>
                    <a:pt x="1370" y="59"/>
                  </a:cubicBezTo>
                  <a:close/>
                  <a:moveTo>
                    <a:pt x="662" y="90"/>
                  </a:moveTo>
                  <a:cubicBezTo>
                    <a:pt x="662" y="90"/>
                    <a:pt x="663" y="90"/>
                    <a:pt x="663" y="90"/>
                  </a:cubicBezTo>
                  <a:cubicBezTo>
                    <a:pt x="663" y="90"/>
                    <a:pt x="663" y="90"/>
                    <a:pt x="662" y="90"/>
                  </a:cubicBezTo>
                  <a:close/>
                  <a:moveTo>
                    <a:pt x="686" y="90"/>
                  </a:moveTo>
                  <a:cubicBezTo>
                    <a:pt x="687" y="90"/>
                    <a:pt x="687" y="90"/>
                    <a:pt x="687" y="90"/>
                  </a:cubicBezTo>
                  <a:cubicBezTo>
                    <a:pt x="687" y="90"/>
                    <a:pt x="686" y="90"/>
                    <a:pt x="686" y="90"/>
                  </a:cubicBezTo>
                  <a:close/>
                  <a:moveTo>
                    <a:pt x="1674" y="12"/>
                  </a:moveTo>
                  <a:cubicBezTo>
                    <a:pt x="1674" y="12"/>
                    <a:pt x="1674" y="12"/>
                    <a:pt x="1675" y="12"/>
                  </a:cubicBezTo>
                  <a:cubicBezTo>
                    <a:pt x="1675" y="12"/>
                    <a:pt x="1674" y="12"/>
                    <a:pt x="1674" y="12"/>
                  </a:cubicBezTo>
                  <a:close/>
                  <a:moveTo>
                    <a:pt x="1569" y="58"/>
                  </a:moveTo>
                  <a:cubicBezTo>
                    <a:pt x="1569" y="58"/>
                    <a:pt x="1569" y="58"/>
                    <a:pt x="1569" y="59"/>
                  </a:cubicBezTo>
                  <a:cubicBezTo>
                    <a:pt x="1569" y="59"/>
                    <a:pt x="1569" y="58"/>
                    <a:pt x="1569" y="58"/>
                  </a:cubicBezTo>
                  <a:close/>
                  <a:moveTo>
                    <a:pt x="1742" y="12"/>
                  </a:moveTo>
                  <a:cubicBezTo>
                    <a:pt x="1742" y="12"/>
                    <a:pt x="1742" y="12"/>
                    <a:pt x="1742" y="12"/>
                  </a:cubicBezTo>
                  <a:cubicBezTo>
                    <a:pt x="1742" y="12"/>
                    <a:pt x="1742" y="12"/>
                    <a:pt x="1742" y="12"/>
                  </a:cubicBezTo>
                  <a:close/>
                  <a:moveTo>
                    <a:pt x="545" y="13"/>
                  </a:moveTo>
                  <a:cubicBezTo>
                    <a:pt x="545" y="13"/>
                    <a:pt x="545" y="13"/>
                    <a:pt x="546" y="12"/>
                  </a:cubicBezTo>
                  <a:cubicBezTo>
                    <a:pt x="545" y="12"/>
                    <a:pt x="545" y="13"/>
                    <a:pt x="545" y="13"/>
                  </a:cubicBezTo>
                  <a:close/>
                  <a:moveTo>
                    <a:pt x="963" y="90"/>
                  </a:moveTo>
                  <a:cubicBezTo>
                    <a:pt x="963" y="90"/>
                    <a:pt x="963" y="90"/>
                    <a:pt x="962" y="90"/>
                  </a:cubicBezTo>
                  <a:cubicBezTo>
                    <a:pt x="963" y="90"/>
                    <a:pt x="963" y="90"/>
                    <a:pt x="963" y="90"/>
                  </a:cubicBezTo>
                  <a:close/>
                  <a:moveTo>
                    <a:pt x="1737" y="58"/>
                  </a:moveTo>
                  <a:cubicBezTo>
                    <a:pt x="1737" y="58"/>
                    <a:pt x="1737" y="58"/>
                    <a:pt x="1737" y="59"/>
                  </a:cubicBezTo>
                  <a:cubicBezTo>
                    <a:pt x="1737" y="59"/>
                    <a:pt x="1737" y="58"/>
                    <a:pt x="1737" y="58"/>
                  </a:cubicBezTo>
                  <a:close/>
                  <a:moveTo>
                    <a:pt x="580" y="59"/>
                  </a:moveTo>
                  <a:cubicBezTo>
                    <a:pt x="580" y="59"/>
                    <a:pt x="580" y="59"/>
                    <a:pt x="580" y="59"/>
                  </a:cubicBezTo>
                  <a:cubicBezTo>
                    <a:pt x="580" y="59"/>
                    <a:pt x="580" y="59"/>
                    <a:pt x="580" y="59"/>
                  </a:cubicBezTo>
                  <a:close/>
                  <a:moveTo>
                    <a:pt x="1049" y="90"/>
                  </a:moveTo>
                  <a:cubicBezTo>
                    <a:pt x="1049" y="90"/>
                    <a:pt x="1049" y="90"/>
                    <a:pt x="1049" y="90"/>
                  </a:cubicBezTo>
                  <a:cubicBezTo>
                    <a:pt x="1049" y="90"/>
                    <a:pt x="1049" y="90"/>
                    <a:pt x="1049" y="90"/>
                  </a:cubicBezTo>
                  <a:close/>
                  <a:moveTo>
                    <a:pt x="1077" y="90"/>
                  </a:moveTo>
                  <a:cubicBezTo>
                    <a:pt x="1077" y="90"/>
                    <a:pt x="1077" y="90"/>
                    <a:pt x="1077" y="90"/>
                  </a:cubicBezTo>
                  <a:cubicBezTo>
                    <a:pt x="1077" y="90"/>
                    <a:pt x="1077" y="90"/>
                    <a:pt x="1077" y="90"/>
                  </a:cubicBezTo>
                  <a:close/>
                  <a:moveTo>
                    <a:pt x="1227" y="90"/>
                  </a:moveTo>
                  <a:cubicBezTo>
                    <a:pt x="1227" y="90"/>
                    <a:pt x="1227" y="90"/>
                    <a:pt x="1227" y="90"/>
                  </a:cubicBezTo>
                  <a:cubicBezTo>
                    <a:pt x="1227" y="90"/>
                    <a:pt x="1227" y="90"/>
                    <a:pt x="1227" y="90"/>
                  </a:cubicBezTo>
                  <a:close/>
                  <a:moveTo>
                    <a:pt x="1255" y="90"/>
                  </a:moveTo>
                  <a:cubicBezTo>
                    <a:pt x="1255" y="90"/>
                    <a:pt x="1255" y="90"/>
                    <a:pt x="1255" y="90"/>
                  </a:cubicBezTo>
                  <a:cubicBezTo>
                    <a:pt x="1255" y="90"/>
                    <a:pt x="1255" y="90"/>
                    <a:pt x="1255" y="90"/>
                  </a:cubicBezTo>
                  <a:close/>
                  <a:moveTo>
                    <a:pt x="1349" y="13"/>
                  </a:moveTo>
                  <a:cubicBezTo>
                    <a:pt x="1349" y="13"/>
                    <a:pt x="1349" y="13"/>
                    <a:pt x="1349" y="12"/>
                  </a:cubicBezTo>
                  <a:cubicBezTo>
                    <a:pt x="1349" y="13"/>
                    <a:pt x="1349" y="13"/>
                    <a:pt x="1349" y="13"/>
                  </a:cubicBezTo>
                  <a:close/>
                  <a:moveTo>
                    <a:pt x="1390" y="12"/>
                  </a:moveTo>
                  <a:cubicBezTo>
                    <a:pt x="1390" y="13"/>
                    <a:pt x="1390" y="13"/>
                    <a:pt x="1390" y="13"/>
                  </a:cubicBezTo>
                  <a:cubicBezTo>
                    <a:pt x="1390" y="13"/>
                    <a:pt x="1390" y="12"/>
                    <a:pt x="1390" y="12"/>
                  </a:cubicBezTo>
                  <a:close/>
                  <a:moveTo>
                    <a:pt x="1422" y="13"/>
                  </a:moveTo>
                  <a:cubicBezTo>
                    <a:pt x="1422" y="13"/>
                    <a:pt x="1423" y="13"/>
                    <a:pt x="1423" y="12"/>
                  </a:cubicBezTo>
                  <a:cubicBezTo>
                    <a:pt x="1423" y="13"/>
                    <a:pt x="1422" y="13"/>
                    <a:pt x="1422" y="13"/>
                  </a:cubicBezTo>
                  <a:close/>
                  <a:moveTo>
                    <a:pt x="1459" y="12"/>
                  </a:moveTo>
                  <a:cubicBezTo>
                    <a:pt x="1459" y="13"/>
                    <a:pt x="1459" y="13"/>
                    <a:pt x="1460" y="13"/>
                  </a:cubicBezTo>
                  <a:cubicBezTo>
                    <a:pt x="1459" y="13"/>
                    <a:pt x="1459" y="13"/>
                    <a:pt x="1459" y="12"/>
                  </a:cubicBezTo>
                  <a:close/>
                  <a:moveTo>
                    <a:pt x="1369" y="59"/>
                  </a:moveTo>
                  <a:cubicBezTo>
                    <a:pt x="1370" y="59"/>
                    <a:pt x="1370" y="59"/>
                    <a:pt x="1370" y="59"/>
                  </a:cubicBezTo>
                  <a:cubicBezTo>
                    <a:pt x="1370" y="59"/>
                    <a:pt x="1369" y="59"/>
                    <a:pt x="1369" y="59"/>
                  </a:cubicBezTo>
                  <a:close/>
                  <a:moveTo>
                    <a:pt x="686" y="91"/>
                  </a:moveTo>
                  <a:cubicBezTo>
                    <a:pt x="686" y="91"/>
                    <a:pt x="686" y="91"/>
                    <a:pt x="686" y="90"/>
                  </a:cubicBezTo>
                  <a:cubicBezTo>
                    <a:pt x="686" y="90"/>
                    <a:pt x="686" y="91"/>
                    <a:pt x="686" y="91"/>
                  </a:cubicBezTo>
                  <a:close/>
                  <a:moveTo>
                    <a:pt x="1554" y="59"/>
                  </a:moveTo>
                  <a:cubicBezTo>
                    <a:pt x="1554" y="59"/>
                    <a:pt x="1554" y="59"/>
                    <a:pt x="1554" y="59"/>
                  </a:cubicBezTo>
                  <a:cubicBezTo>
                    <a:pt x="1554" y="59"/>
                    <a:pt x="1554" y="59"/>
                    <a:pt x="1554" y="59"/>
                  </a:cubicBezTo>
                  <a:close/>
                  <a:moveTo>
                    <a:pt x="1569" y="59"/>
                  </a:moveTo>
                  <a:cubicBezTo>
                    <a:pt x="1569" y="59"/>
                    <a:pt x="1568" y="59"/>
                    <a:pt x="1568" y="59"/>
                  </a:cubicBezTo>
                  <a:cubicBezTo>
                    <a:pt x="1569" y="59"/>
                    <a:pt x="1569" y="59"/>
                    <a:pt x="1569" y="59"/>
                  </a:cubicBezTo>
                  <a:close/>
                  <a:moveTo>
                    <a:pt x="1722" y="59"/>
                  </a:moveTo>
                  <a:cubicBezTo>
                    <a:pt x="1722" y="59"/>
                    <a:pt x="1722" y="59"/>
                    <a:pt x="1722" y="59"/>
                  </a:cubicBezTo>
                  <a:cubicBezTo>
                    <a:pt x="1722" y="59"/>
                    <a:pt x="1722" y="59"/>
                    <a:pt x="1722" y="59"/>
                  </a:cubicBezTo>
                  <a:close/>
                  <a:moveTo>
                    <a:pt x="963" y="91"/>
                  </a:moveTo>
                  <a:cubicBezTo>
                    <a:pt x="963" y="90"/>
                    <a:pt x="963" y="90"/>
                    <a:pt x="963" y="90"/>
                  </a:cubicBezTo>
                  <a:cubicBezTo>
                    <a:pt x="963" y="91"/>
                    <a:pt x="963" y="91"/>
                    <a:pt x="963" y="91"/>
                  </a:cubicBezTo>
                  <a:close/>
                  <a:moveTo>
                    <a:pt x="1737" y="59"/>
                  </a:moveTo>
                  <a:cubicBezTo>
                    <a:pt x="1737" y="59"/>
                    <a:pt x="1737" y="59"/>
                    <a:pt x="1736" y="59"/>
                  </a:cubicBezTo>
                  <a:cubicBezTo>
                    <a:pt x="1737" y="59"/>
                    <a:pt x="1737" y="59"/>
                    <a:pt x="1737" y="59"/>
                  </a:cubicBezTo>
                  <a:close/>
                  <a:moveTo>
                    <a:pt x="580" y="59"/>
                  </a:moveTo>
                  <a:cubicBezTo>
                    <a:pt x="580" y="59"/>
                    <a:pt x="580" y="59"/>
                    <a:pt x="580" y="59"/>
                  </a:cubicBezTo>
                  <a:cubicBezTo>
                    <a:pt x="580" y="59"/>
                    <a:pt x="580" y="59"/>
                    <a:pt x="580" y="59"/>
                  </a:cubicBezTo>
                  <a:close/>
                  <a:moveTo>
                    <a:pt x="1035" y="91"/>
                  </a:moveTo>
                  <a:cubicBezTo>
                    <a:pt x="1035" y="91"/>
                    <a:pt x="1035" y="90"/>
                    <a:pt x="1035" y="90"/>
                  </a:cubicBezTo>
                  <a:cubicBezTo>
                    <a:pt x="1035" y="90"/>
                    <a:pt x="1035" y="91"/>
                    <a:pt x="1035" y="91"/>
                  </a:cubicBezTo>
                  <a:close/>
                  <a:moveTo>
                    <a:pt x="1533" y="13"/>
                  </a:moveTo>
                  <a:cubicBezTo>
                    <a:pt x="1533" y="13"/>
                    <a:pt x="1533" y="13"/>
                    <a:pt x="1533" y="12"/>
                  </a:cubicBezTo>
                  <a:cubicBezTo>
                    <a:pt x="1533" y="12"/>
                    <a:pt x="1533" y="13"/>
                    <a:pt x="1533" y="13"/>
                  </a:cubicBezTo>
                  <a:close/>
                  <a:moveTo>
                    <a:pt x="1574" y="12"/>
                  </a:moveTo>
                  <a:cubicBezTo>
                    <a:pt x="1574" y="13"/>
                    <a:pt x="1574" y="13"/>
                    <a:pt x="1574" y="13"/>
                  </a:cubicBezTo>
                  <a:cubicBezTo>
                    <a:pt x="1574" y="13"/>
                    <a:pt x="1574" y="13"/>
                    <a:pt x="1574" y="12"/>
                  </a:cubicBezTo>
                  <a:close/>
                  <a:moveTo>
                    <a:pt x="1187" y="90"/>
                  </a:moveTo>
                  <a:cubicBezTo>
                    <a:pt x="1187" y="91"/>
                    <a:pt x="1187" y="91"/>
                    <a:pt x="1188" y="91"/>
                  </a:cubicBezTo>
                  <a:cubicBezTo>
                    <a:pt x="1188" y="91"/>
                    <a:pt x="1187" y="90"/>
                    <a:pt x="1187" y="90"/>
                  </a:cubicBezTo>
                  <a:close/>
                  <a:moveTo>
                    <a:pt x="1701" y="13"/>
                  </a:moveTo>
                  <a:cubicBezTo>
                    <a:pt x="1701" y="13"/>
                    <a:pt x="1701" y="13"/>
                    <a:pt x="1702" y="12"/>
                  </a:cubicBezTo>
                  <a:cubicBezTo>
                    <a:pt x="1701" y="12"/>
                    <a:pt x="1701" y="13"/>
                    <a:pt x="1701" y="13"/>
                  </a:cubicBezTo>
                  <a:close/>
                  <a:moveTo>
                    <a:pt x="673" y="59"/>
                  </a:moveTo>
                  <a:cubicBezTo>
                    <a:pt x="674" y="59"/>
                    <a:pt x="674" y="59"/>
                    <a:pt x="674" y="59"/>
                  </a:cubicBezTo>
                  <a:cubicBezTo>
                    <a:pt x="674" y="59"/>
                    <a:pt x="674" y="59"/>
                    <a:pt x="673" y="59"/>
                  </a:cubicBezTo>
                  <a:close/>
                  <a:moveTo>
                    <a:pt x="1742" y="12"/>
                  </a:moveTo>
                  <a:cubicBezTo>
                    <a:pt x="1742" y="13"/>
                    <a:pt x="1742" y="13"/>
                    <a:pt x="1743" y="13"/>
                  </a:cubicBezTo>
                  <a:cubicBezTo>
                    <a:pt x="1742" y="13"/>
                    <a:pt x="1742" y="13"/>
                    <a:pt x="1742" y="12"/>
                  </a:cubicBezTo>
                  <a:close/>
                  <a:moveTo>
                    <a:pt x="1384" y="59"/>
                  </a:moveTo>
                  <a:cubicBezTo>
                    <a:pt x="1384" y="59"/>
                    <a:pt x="1384" y="59"/>
                    <a:pt x="1384" y="59"/>
                  </a:cubicBezTo>
                  <a:cubicBezTo>
                    <a:pt x="1384" y="59"/>
                    <a:pt x="1384" y="59"/>
                    <a:pt x="1384" y="59"/>
                  </a:cubicBezTo>
                  <a:close/>
                  <a:moveTo>
                    <a:pt x="1553" y="59"/>
                  </a:moveTo>
                  <a:cubicBezTo>
                    <a:pt x="1553" y="59"/>
                    <a:pt x="1554" y="59"/>
                    <a:pt x="1554" y="59"/>
                  </a:cubicBezTo>
                  <a:cubicBezTo>
                    <a:pt x="1553" y="59"/>
                    <a:pt x="1553" y="59"/>
                    <a:pt x="1553" y="59"/>
                  </a:cubicBezTo>
                  <a:close/>
                  <a:moveTo>
                    <a:pt x="545" y="13"/>
                  </a:moveTo>
                  <a:cubicBezTo>
                    <a:pt x="545" y="13"/>
                    <a:pt x="545" y="13"/>
                    <a:pt x="545" y="13"/>
                  </a:cubicBezTo>
                  <a:cubicBezTo>
                    <a:pt x="545" y="13"/>
                    <a:pt x="545" y="13"/>
                    <a:pt x="545" y="13"/>
                  </a:cubicBezTo>
                  <a:close/>
                  <a:moveTo>
                    <a:pt x="1390" y="13"/>
                  </a:moveTo>
                  <a:cubicBezTo>
                    <a:pt x="1390" y="13"/>
                    <a:pt x="1390" y="13"/>
                    <a:pt x="1391" y="13"/>
                  </a:cubicBezTo>
                  <a:cubicBezTo>
                    <a:pt x="1391" y="13"/>
                    <a:pt x="1390" y="13"/>
                    <a:pt x="1390" y="13"/>
                  </a:cubicBezTo>
                  <a:close/>
                  <a:moveTo>
                    <a:pt x="1721" y="59"/>
                  </a:moveTo>
                  <a:cubicBezTo>
                    <a:pt x="1721" y="59"/>
                    <a:pt x="1722" y="59"/>
                    <a:pt x="1722" y="59"/>
                  </a:cubicBezTo>
                  <a:cubicBezTo>
                    <a:pt x="1722" y="59"/>
                    <a:pt x="1721" y="59"/>
                    <a:pt x="1721" y="59"/>
                  </a:cubicBezTo>
                  <a:close/>
                  <a:moveTo>
                    <a:pt x="686" y="91"/>
                  </a:moveTo>
                  <a:cubicBezTo>
                    <a:pt x="686" y="91"/>
                    <a:pt x="686" y="91"/>
                    <a:pt x="686" y="91"/>
                  </a:cubicBezTo>
                  <a:cubicBezTo>
                    <a:pt x="686" y="91"/>
                    <a:pt x="686" y="91"/>
                    <a:pt x="686" y="91"/>
                  </a:cubicBezTo>
                  <a:close/>
                  <a:moveTo>
                    <a:pt x="768" y="91"/>
                  </a:moveTo>
                  <a:cubicBezTo>
                    <a:pt x="768" y="91"/>
                    <a:pt x="768" y="91"/>
                    <a:pt x="769" y="91"/>
                  </a:cubicBezTo>
                  <a:cubicBezTo>
                    <a:pt x="768" y="91"/>
                    <a:pt x="768" y="91"/>
                    <a:pt x="768" y="91"/>
                  </a:cubicBezTo>
                  <a:close/>
                  <a:moveTo>
                    <a:pt x="1422" y="13"/>
                  </a:moveTo>
                  <a:cubicBezTo>
                    <a:pt x="1422" y="13"/>
                    <a:pt x="1422" y="13"/>
                    <a:pt x="1422" y="13"/>
                  </a:cubicBezTo>
                  <a:cubicBezTo>
                    <a:pt x="1422" y="13"/>
                    <a:pt x="1422" y="13"/>
                    <a:pt x="1422" y="13"/>
                  </a:cubicBezTo>
                  <a:close/>
                  <a:moveTo>
                    <a:pt x="964" y="91"/>
                  </a:moveTo>
                  <a:cubicBezTo>
                    <a:pt x="963" y="91"/>
                    <a:pt x="963" y="91"/>
                    <a:pt x="963" y="91"/>
                  </a:cubicBezTo>
                  <a:cubicBezTo>
                    <a:pt x="963" y="91"/>
                    <a:pt x="963" y="91"/>
                    <a:pt x="964" y="91"/>
                  </a:cubicBezTo>
                  <a:close/>
                  <a:moveTo>
                    <a:pt x="1459" y="13"/>
                  </a:moveTo>
                  <a:cubicBezTo>
                    <a:pt x="1460" y="13"/>
                    <a:pt x="1460" y="13"/>
                    <a:pt x="1460" y="13"/>
                  </a:cubicBezTo>
                  <a:cubicBezTo>
                    <a:pt x="1460" y="13"/>
                    <a:pt x="1460" y="13"/>
                    <a:pt x="1459" y="13"/>
                  </a:cubicBezTo>
                  <a:close/>
                  <a:moveTo>
                    <a:pt x="1494" y="13"/>
                  </a:moveTo>
                  <a:cubicBezTo>
                    <a:pt x="1495" y="13"/>
                    <a:pt x="1495" y="13"/>
                    <a:pt x="1495" y="13"/>
                  </a:cubicBezTo>
                  <a:cubicBezTo>
                    <a:pt x="1495" y="13"/>
                    <a:pt x="1494" y="13"/>
                    <a:pt x="1494" y="13"/>
                  </a:cubicBezTo>
                  <a:close/>
                  <a:moveTo>
                    <a:pt x="1533" y="13"/>
                  </a:moveTo>
                  <a:cubicBezTo>
                    <a:pt x="1533" y="13"/>
                    <a:pt x="1533" y="13"/>
                    <a:pt x="1533" y="13"/>
                  </a:cubicBezTo>
                  <a:cubicBezTo>
                    <a:pt x="1533" y="13"/>
                    <a:pt x="1533" y="13"/>
                    <a:pt x="1533" y="13"/>
                  </a:cubicBezTo>
                  <a:close/>
                  <a:moveTo>
                    <a:pt x="1574" y="13"/>
                  </a:moveTo>
                  <a:cubicBezTo>
                    <a:pt x="1574" y="13"/>
                    <a:pt x="1575" y="13"/>
                    <a:pt x="1575" y="13"/>
                  </a:cubicBezTo>
                  <a:cubicBezTo>
                    <a:pt x="1575" y="13"/>
                    <a:pt x="1575" y="13"/>
                    <a:pt x="1574" y="13"/>
                  </a:cubicBezTo>
                  <a:close/>
                  <a:moveTo>
                    <a:pt x="1701" y="13"/>
                  </a:moveTo>
                  <a:cubicBezTo>
                    <a:pt x="1701" y="13"/>
                    <a:pt x="1701" y="13"/>
                    <a:pt x="1701" y="13"/>
                  </a:cubicBezTo>
                  <a:cubicBezTo>
                    <a:pt x="1701" y="13"/>
                    <a:pt x="1701" y="13"/>
                    <a:pt x="1701" y="13"/>
                  </a:cubicBezTo>
                  <a:close/>
                  <a:moveTo>
                    <a:pt x="1368" y="60"/>
                  </a:moveTo>
                  <a:cubicBezTo>
                    <a:pt x="1369" y="60"/>
                    <a:pt x="1369" y="60"/>
                    <a:pt x="1369" y="59"/>
                  </a:cubicBezTo>
                  <a:cubicBezTo>
                    <a:pt x="1369" y="59"/>
                    <a:pt x="1368" y="60"/>
                    <a:pt x="1368" y="60"/>
                  </a:cubicBezTo>
                  <a:close/>
                  <a:moveTo>
                    <a:pt x="1384" y="59"/>
                  </a:moveTo>
                  <a:cubicBezTo>
                    <a:pt x="1383" y="59"/>
                    <a:pt x="1383" y="60"/>
                    <a:pt x="1383" y="60"/>
                  </a:cubicBezTo>
                  <a:cubicBezTo>
                    <a:pt x="1383" y="60"/>
                    <a:pt x="1384" y="60"/>
                    <a:pt x="1384" y="59"/>
                  </a:cubicBezTo>
                  <a:close/>
                  <a:moveTo>
                    <a:pt x="1743" y="13"/>
                  </a:moveTo>
                  <a:cubicBezTo>
                    <a:pt x="1743" y="13"/>
                    <a:pt x="1743" y="13"/>
                    <a:pt x="1743" y="13"/>
                  </a:cubicBezTo>
                  <a:cubicBezTo>
                    <a:pt x="1743" y="13"/>
                    <a:pt x="1743" y="13"/>
                    <a:pt x="1743" y="13"/>
                  </a:cubicBezTo>
                  <a:close/>
                  <a:moveTo>
                    <a:pt x="544" y="13"/>
                  </a:moveTo>
                  <a:cubicBezTo>
                    <a:pt x="545" y="13"/>
                    <a:pt x="545" y="13"/>
                    <a:pt x="545" y="13"/>
                  </a:cubicBezTo>
                  <a:cubicBezTo>
                    <a:pt x="545" y="13"/>
                    <a:pt x="545" y="13"/>
                    <a:pt x="544" y="13"/>
                  </a:cubicBezTo>
                  <a:close/>
                  <a:moveTo>
                    <a:pt x="972" y="13"/>
                  </a:moveTo>
                  <a:cubicBezTo>
                    <a:pt x="972" y="13"/>
                    <a:pt x="972" y="13"/>
                    <a:pt x="972" y="13"/>
                  </a:cubicBezTo>
                  <a:cubicBezTo>
                    <a:pt x="972" y="13"/>
                    <a:pt x="972" y="13"/>
                    <a:pt x="972" y="13"/>
                  </a:cubicBezTo>
                  <a:close/>
                  <a:moveTo>
                    <a:pt x="1391" y="13"/>
                  </a:moveTo>
                  <a:cubicBezTo>
                    <a:pt x="1391" y="13"/>
                    <a:pt x="1391" y="13"/>
                    <a:pt x="1391" y="14"/>
                  </a:cubicBezTo>
                  <a:cubicBezTo>
                    <a:pt x="1391" y="13"/>
                    <a:pt x="1391" y="13"/>
                    <a:pt x="1391" y="13"/>
                  </a:cubicBezTo>
                  <a:close/>
                  <a:moveTo>
                    <a:pt x="1422" y="13"/>
                  </a:moveTo>
                  <a:cubicBezTo>
                    <a:pt x="1422" y="13"/>
                    <a:pt x="1422" y="13"/>
                    <a:pt x="1422" y="13"/>
                  </a:cubicBezTo>
                  <a:cubicBezTo>
                    <a:pt x="1422" y="13"/>
                    <a:pt x="1422" y="13"/>
                    <a:pt x="1422" y="13"/>
                  </a:cubicBezTo>
                  <a:close/>
                  <a:moveTo>
                    <a:pt x="685" y="91"/>
                  </a:moveTo>
                  <a:cubicBezTo>
                    <a:pt x="686" y="91"/>
                    <a:pt x="686" y="91"/>
                    <a:pt x="686" y="91"/>
                  </a:cubicBezTo>
                  <a:cubicBezTo>
                    <a:pt x="686" y="91"/>
                    <a:pt x="685" y="91"/>
                    <a:pt x="685" y="91"/>
                  </a:cubicBezTo>
                  <a:close/>
                  <a:moveTo>
                    <a:pt x="675" y="60"/>
                  </a:moveTo>
                  <a:cubicBezTo>
                    <a:pt x="675" y="60"/>
                    <a:pt x="675" y="60"/>
                    <a:pt x="675" y="60"/>
                  </a:cubicBezTo>
                  <a:cubicBezTo>
                    <a:pt x="675" y="60"/>
                    <a:pt x="675" y="60"/>
                    <a:pt x="675" y="60"/>
                  </a:cubicBezTo>
                  <a:close/>
                  <a:moveTo>
                    <a:pt x="728" y="91"/>
                  </a:moveTo>
                  <a:cubicBezTo>
                    <a:pt x="728" y="91"/>
                    <a:pt x="728" y="91"/>
                    <a:pt x="728" y="91"/>
                  </a:cubicBezTo>
                  <a:cubicBezTo>
                    <a:pt x="728" y="91"/>
                    <a:pt x="728" y="91"/>
                    <a:pt x="728" y="91"/>
                  </a:cubicBezTo>
                  <a:close/>
                  <a:moveTo>
                    <a:pt x="1368" y="60"/>
                  </a:moveTo>
                  <a:cubicBezTo>
                    <a:pt x="1368" y="60"/>
                    <a:pt x="1368" y="60"/>
                    <a:pt x="1368" y="60"/>
                  </a:cubicBezTo>
                  <a:cubicBezTo>
                    <a:pt x="1368" y="60"/>
                    <a:pt x="1368" y="60"/>
                    <a:pt x="1368" y="60"/>
                  </a:cubicBezTo>
                  <a:close/>
                  <a:moveTo>
                    <a:pt x="1383" y="60"/>
                  </a:moveTo>
                  <a:cubicBezTo>
                    <a:pt x="1383" y="60"/>
                    <a:pt x="1383" y="60"/>
                    <a:pt x="1383" y="60"/>
                  </a:cubicBezTo>
                  <a:cubicBezTo>
                    <a:pt x="1383" y="60"/>
                    <a:pt x="1383" y="60"/>
                    <a:pt x="1383" y="60"/>
                  </a:cubicBezTo>
                  <a:close/>
                  <a:moveTo>
                    <a:pt x="1552" y="60"/>
                  </a:moveTo>
                  <a:cubicBezTo>
                    <a:pt x="1552" y="60"/>
                    <a:pt x="1552" y="60"/>
                    <a:pt x="1553" y="60"/>
                  </a:cubicBezTo>
                  <a:cubicBezTo>
                    <a:pt x="1552" y="60"/>
                    <a:pt x="1552" y="60"/>
                    <a:pt x="1552" y="60"/>
                  </a:cubicBezTo>
                  <a:close/>
                  <a:moveTo>
                    <a:pt x="964" y="91"/>
                  </a:moveTo>
                  <a:cubicBezTo>
                    <a:pt x="964" y="91"/>
                    <a:pt x="964" y="91"/>
                    <a:pt x="964" y="91"/>
                  </a:cubicBezTo>
                  <a:cubicBezTo>
                    <a:pt x="964" y="91"/>
                    <a:pt x="964" y="91"/>
                    <a:pt x="964" y="91"/>
                  </a:cubicBezTo>
                  <a:close/>
                  <a:moveTo>
                    <a:pt x="1666" y="60"/>
                  </a:moveTo>
                  <a:cubicBezTo>
                    <a:pt x="1666" y="60"/>
                    <a:pt x="1666" y="60"/>
                    <a:pt x="1666" y="60"/>
                  </a:cubicBezTo>
                  <a:cubicBezTo>
                    <a:pt x="1666" y="60"/>
                    <a:pt x="1666" y="60"/>
                    <a:pt x="1666" y="60"/>
                  </a:cubicBezTo>
                  <a:close/>
                  <a:moveTo>
                    <a:pt x="1720" y="60"/>
                  </a:moveTo>
                  <a:cubicBezTo>
                    <a:pt x="1720" y="60"/>
                    <a:pt x="1721" y="60"/>
                    <a:pt x="1721" y="60"/>
                  </a:cubicBezTo>
                  <a:cubicBezTo>
                    <a:pt x="1720" y="60"/>
                    <a:pt x="1720" y="60"/>
                    <a:pt x="1720" y="60"/>
                  </a:cubicBezTo>
                  <a:close/>
                  <a:moveTo>
                    <a:pt x="1051" y="91"/>
                  </a:moveTo>
                  <a:cubicBezTo>
                    <a:pt x="1051" y="91"/>
                    <a:pt x="1051" y="91"/>
                    <a:pt x="1051" y="91"/>
                  </a:cubicBezTo>
                  <a:cubicBezTo>
                    <a:pt x="1051" y="91"/>
                    <a:pt x="1051" y="91"/>
                    <a:pt x="1051" y="91"/>
                  </a:cubicBezTo>
                  <a:close/>
                  <a:moveTo>
                    <a:pt x="1736" y="60"/>
                  </a:moveTo>
                  <a:cubicBezTo>
                    <a:pt x="1735" y="60"/>
                    <a:pt x="1735" y="60"/>
                    <a:pt x="1735" y="60"/>
                  </a:cubicBezTo>
                  <a:cubicBezTo>
                    <a:pt x="1735" y="60"/>
                    <a:pt x="1735" y="60"/>
                    <a:pt x="1736" y="60"/>
                  </a:cubicBezTo>
                  <a:close/>
                  <a:moveTo>
                    <a:pt x="581" y="60"/>
                  </a:moveTo>
                  <a:cubicBezTo>
                    <a:pt x="581" y="60"/>
                    <a:pt x="581" y="61"/>
                    <a:pt x="582" y="61"/>
                  </a:cubicBezTo>
                  <a:cubicBezTo>
                    <a:pt x="582" y="60"/>
                    <a:pt x="581" y="60"/>
                    <a:pt x="581" y="60"/>
                  </a:cubicBezTo>
                  <a:close/>
                  <a:moveTo>
                    <a:pt x="1229" y="91"/>
                  </a:moveTo>
                  <a:cubicBezTo>
                    <a:pt x="1229" y="91"/>
                    <a:pt x="1229" y="91"/>
                    <a:pt x="1229" y="91"/>
                  </a:cubicBezTo>
                  <a:cubicBezTo>
                    <a:pt x="1229" y="91"/>
                    <a:pt x="1229" y="91"/>
                    <a:pt x="1229" y="91"/>
                  </a:cubicBezTo>
                  <a:close/>
                  <a:moveTo>
                    <a:pt x="1460" y="13"/>
                  </a:moveTo>
                  <a:cubicBezTo>
                    <a:pt x="1460" y="13"/>
                    <a:pt x="1460" y="13"/>
                    <a:pt x="1460" y="13"/>
                  </a:cubicBezTo>
                  <a:cubicBezTo>
                    <a:pt x="1460" y="13"/>
                    <a:pt x="1460" y="13"/>
                    <a:pt x="1460" y="13"/>
                  </a:cubicBezTo>
                  <a:close/>
                  <a:moveTo>
                    <a:pt x="1417" y="91"/>
                  </a:moveTo>
                  <a:cubicBezTo>
                    <a:pt x="1417" y="91"/>
                    <a:pt x="1417" y="91"/>
                    <a:pt x="1417" y="91"/>
                  </a:cubicBezTo>
                  <a:cubicBezTo>
                    <a:pt x="1417" y="91"/>
                    <a:pt x="1417" y="91"/>
                    <a:pt x="1417" y="91"/>
                  </a:cubicBezTo>
                  <a:close/>
                  <a:moveTo>
                    <a:pt x="1532" y="13"/>
                  </a:moveTo>
                  <a:cubicBezTo>
                    <a:pt x="1532" y="13"/>
                    <a:pt x="1533" y="13"/>
                    <a:pt x="1533" y="13"/>
                  </a:cubicBezTo>
                  <a:cubicBezTo>
                    <a:pt x="1533" y="13"/>
                    <a:pt x="1532" y="13"/>
                    <a:pt x="1532" y="13"/>
                  </a:cubicBezTo>
                  <a:close/>
                  <a:moveTo>
                    <a:pt x="1575" y="13"/>
                  </a:moveTo>
                  <a:cubicBezTo>
                    <a:pt x="1575" y="13"/>
                    <a:pt x="1575" y="13"/>
                    <a:pt x="1575" y="13"/>
                  </a:cubicBezTo>
                  <a:cubicBezTo>
                    <a:pt x="1575" y="13"/>
                    <a:pt x="1575" y="13"/>
                    <a:pt x="1575" y="13"/>
                  </a:cubicBezTo>
                  <a:close/>
                  <a:moveTo>
                    <a:pt x="1676" y="13"/>
                  </a:moveTo>
                  <a:cubicBezTo>
                    <a:pt x="1676" y="13"/>
                    <a:pt x="1676" y="13"/>
                    <a:pt x="1676" y="13"/>
                  </a:cubicBezTo>
                  <a:cubicBezTo>
                    <a:pt x="1676" y="13"/>
                    <a:pt x="1676" y="13"/>
                    <a:pt x="1676" y="13"/>
                  </a:cubicBezTo>
                  <a:close/>
                  <a:moveTo>
                    <a:pt x="1573" y="54"/>
                  </a:moveTo>
                  <a:cubicBezTo>
                    <a:pt x="1573" y="54"/>
                    <a:pt x="1573" y="54"/>
                    <a:pt x="1573" y="54"/>
                  </a:cubicBezTo>
                  <a:cubicBezTo>
                    <a:pt x="1573" y="54"/>
                    <a:pt x="1573" y="54"/>
                    <a:pt x="1573" y="54"/>
                  </a:cubicBezTo>
                  <a:close/>
                  <a:moveTo>
                    <a:pt x="1559" y="55"/>
                  </a:moveTo>
                  <a:cubicBezTo>
                    <a:pt x="1559" y="55"/>
                    <a:pt x="1559" y="54"/>
                    <a:pt x="1560" y="54"/>
                  </a:cubicBezTo>
                  <a:cubicBezTo>
                    <a:pt x="1559" y="54"/>
                    <a:pt x="1559" y="54"/>
                    <a:pt x="1559" y="55"/>
                  </a:cubicBezTo>
                  <a:close/>
                  <a:moveTo>
                    <a:pt x="1700" y="13"/>
                  </a:moveTo>
                  <a:cubicBezTo>
                    <a:pt x="1701" y="13"/>
                    <a:pt x="1701" y="13"/>
                    <a:pt x="1701" y="13"/>
                  </a:cubicBezTo>
                  <a:cubicBezTo>
                    <a:pt x="1701" y="13"/>
                    <a:pt x="1701" y="13"/>
                    <a:pt x="1700" y="13"/>
                  </a:cubicBezTo>
                  <a:close/>
                  <a:moveTo>
                    <a:pt x="728" y="91"/>
                  </a:moveTo>
                  <a:cubicBezTo>
                    <a:pt x="728" y="92"/>
                    <a:pt x="728" y="92"/>
                    <a:pt x="729" y="92"/>
                  </a:cubicBezTo>
                  <a:cubicBezTo>
                    <a:pt x="728" y="92"/>
                    <a:pt x="728" y="92"/>
                    <a:pt x="728" y="91"/>
                  </a:cubicBezTo>
                  <a:close/>
                  <a:moveTo>
                    <a:pt x="1743" y="13"/>
                  </a:moveTo>
                  <a:cubicBezTo>
                    <a:pt x="1743" y="13"/>
                    <a:pt x="1743" y="13"/>
                    <a:pt x="1743" y="13"/>
                  </a:cubicBezTo>
                  <a:cubicBezTo>
                    <a:pt x="1743" y="13"/>
                    <a:pt x="1743" y="13"/>
                    <a:pt x="1743" y="13"/>
                  </a:cubicBezTo>
                  <a:close/>
                  <a:moveTo>
                    <a:pt x="1383" y="60"/>
                  </a:moveTo>
                  <a:cubicBezTo>
                    <a:pt x="1383" y="60"/>
                    <a:pt x="1383" y="60"/>
                    <a:pt x="1383" y="60"/>
                  </a:cubicBezTo>
                  <a:cubicBezTo>
                    <a:pt x="1383" y="60"/>
                    <a:pt x="1383" y="60"/>
                    <a:pt x="1383" y="60"/>
                  </a:cubicBezTo>
                  <a:close/>
                  <a:moveTo>
                    <a:pt x="1552" y="60"/>
                  </a:moveTo>
                  <a:cubicBezTo>
                    <a:pt x="1552" y="60"/>
                    <a:pt x="1552" y="60"/>
                    <a:pt x="1552" y="60"/>
                  </a:cubicBezTo>
                  <a:cubicBezTo>
                    <a:pt x="1552" y="60"/>
                    <a:pt x="1552" y="60"/>
                    <a:pt x="1552" y="60"/>
                  </a:cubicBezTo>
                  <a:close/>
                  <a:moveTo>
                    <a:pt x="964" y="92"/>
                  </a:moveTo>
                  <a:cubicBezTo>
                    <a:pt x="964" y="92"/>
                    <a:pt x="964" y="91"/>
                    <a:pt x="964" y="91"/>
                  </a:cubicBezTo>
                  <a:cubicBezTo>
                    <a:pt x="964" y="92"/>
                    <a:pt x="964" y="92"/>
                    <a:pt x="964" y="92"/>
                  </a:cubicBezTo>
                  <a:close/>
                  <a:moveTo>
                    <a:pt x="1567" y="60"/>
                  </a:moveTo>
                  <a:cubicBezTo>
                    <a:pt x="1567" y="60"/>
                    <a:pt x="1567" y="60"/>
                    <a:pt x="1567" y="60"/>
                  </a:cubicBezTo>
                  <a:cubicBezTo>
                    <a:pt x="1567" y="60"/>
                    <a:pt x="1567" y="60"/>
                    <a:pt x="1567" y="60"/>
                  </a:cubicBezTo>
                  <a:close/>
                  <a:moveTo>
                    <a:pt x="544" y="14"/>
                  </a:moveTo>
                  <a:cubicBezTo>
                    <a:pt x="544" y="14"/>
                    <a:pt x="544" y="14"/>
                    <a:pt x="544" y="13"/>
                  </a:cubicBezTo>
                  <a:cubicBezTo>
                    <a:pt x="544" y="14"/>
                    <a:pt x="544" y="14"/>
                    <a:pt x="544" y="14"/>
                  </a:cubicBezTo>
                  <a:close/>
                  <a:moveTo>
                    <a:pt x="1036" y="92"/>
                  </a:moveTo>
                  <a:cubicBezTo>
                    <a:pt x="1036" y="92"/>
                    <a:pt x="1035" y="91"/>
                    <a:pt x="1035" y="91"/>
                  </a:cubicBezTo>
                  <a:cubicBezTo>
                    <a:pt x="1035" y="92"/>
                    <a:pt x="1035" y="92"/>
                    <a:pt x="1036" y="92"/>
                  </a:cubicBezTo>
                  <a:close/>
                  <a:moveTo>
                    <a:pt x="1347" y="14"/>
                  </a:moveTo>
                  <a:cubicBezTo>
                    <a:pt x="1348" y="14"/>
                    <a:pt x="1348" y="14"/>
                    <a:pt x="1348" y="14"/>
                  </a:cubicBezTo>
                  <a:cubicBezTo>
                    <a:pt x="1348" y="14"/>
                    <a:pt x="1348" y="14"/>
                    <a:pt x="1347" y="14"/>
                  </a:cubicBezTo>
                  <a:close/>
                  <a:moveTo>
                    <a:pt x="1735" y="60"/>
                  </a:moveTo>
                  <a:cubicBezTo>
                    <a:pt x="1735" y="60"/>
                    <a:pt x="1735" y="60"/>
                    <a:pt x="1735" y="60"/>
                  </a:cubicBezTo>
                  <a:cubicBezTo>
                    <a:pt x="1735" y="60"/>
                    <a:pt x="1735" y="60"/>
                    <a:pt x="1735" y="60"/>
                  </a:cubicBezTo>
                  <a:close/>
                  <a:moveTo>
                    <a:pt x="582" y="61"/>
                  </a:moveTo>
                  <a:cubicBezTo>
                    <a:pt x="582" y="61"/>
                    <a:pt x="582" y="61"/>
                    <a:pt x="582" y="61"/>
                  </a:cubicBezTo>
                  <a:cubicBezTo>
                    <a:pt x="582" y="61"/>
                    <a:pt x="582" y="61"/>
                    <a:pt x="582" y="61"/>
                  </a:cubicBezTo>
                  <a:close/>
                  <a:moveTo>
                    <a:pt x="1213" y="92"/>
                  </a:moveTo>
                  <a:cubicBezTo>
                    <a:pt x="1213" y="92"/>
                    <a:pt x="1213" y="91"/>
                    <a:pt x="1213" y="91"/>
                  </a:cubicBezTo>
                  <a:cubicBezTo>
                    <a:pt x="1213" y="92"/>
                    <a:pt x="1213" y="92"/>
                    <a:pt x="1213" y="92"/>
                  </a:cubicBezTo>
                  <a:close/>
                  <a:moveTo>
                    <a:pt x="1391" y="13"/>
                  </a:moveTo>
                  <a:cubicBezTo>
                    <a:pt x="1391" y="14"/>
                    <a:pt x="1391" y="14"/>
                    <a:pt x="1391" y="14"/>
                  </a:cubicBezTo>
                  <a:cubicBezTo>
                    <a:pt x="1391" y="14"/>
                    <a:pt x="1391" y="14"/>
                    <a:pt x="1391" y="13"/>
                  </a:cubicBezTo>
                  <a:close/>
                  <a:moveTo>
                    <a:pt x="1421" y="14"/>
                  </a:moveTo>
                  <a:cubicBezTo>
                    <a:pt x="1421" y="14"/>
                    <a:pt x="1422" y="14"/>
                    <a:pt x="1422" y="13"/>
                  </a:cubicBezTo>
                  <a:cubicBezTo>
                    <a:pt x="1421" y="14"/>
                    <a:pt x="1421" y="14"/>
                    <a:pt x="1421" y="14"/>
                  </a:cubicBezTo>
                  <a:close/>
                  <a:moveTo>
                    <a:pt x="1375" y="55"/>
                  </a:moveTo>
                  <a:cubicBezTo>
                    <a:pt x="1375" y="55"/>
                    <a:pt x="1375" y="54"/>
                    <a:pt x="1375" y="54"/>
                  </a:cubicBezTo>
                  <a:cubicBezTo>
                    <a:pt x="1375" y="54"/>
                    <a:pt x="1375" y="54"/>
                    <a:pt x="1375" y="55"/>
                  </a:cubicBezTo>
                  <a:close/>
                  <a:moveTo>
                    <a:pt x="1462" y="91"/>
                  </a:moveTo>
                  <a:cubicBezTo>
                    <a:pt x="1462" y="91"/>
                    <a:pt x="1462" y="92"/>
                    <a:pt x="1462" y="92"/>
                  </a:cubicBezTo>
                  <a:cubicBezTo>
                    <a:pt x="1462" y="92"/>
                    <a:pt x="1462" y="92"/>
                    <a:pt x="1462" y="91"/>
                  </a:cubicBezTo>
                  <a:close/>
                  <a:moveTo>
                    <a:pt x="573" y="54"/>
                  </a:moveTo>
                  <a:cubicBezTo>
                    <a:pt x="573" y="54"/>
                    <a:pt x="573" y="54"/>
                    <a:pt x="573" y="54"/>
                  </a:cubicBezTo>
                  <a:cubicBezTo>
                    <a:pt x="573" y="54"/>
                    <a:pt x="573" y="54"/>
                    <a:pt x="573" y="54"/>
                  </a:cubicBezTo>
                  <a:close/>
                  <a:moveTo>
                    <a:pt x="1367" y="61"/>
                  </a:moveTo>
                  <a:cubicBezTo>
                    <a:pt x="1367" y="61"/>
                    <a:pt x="1367" y="61"/>
                    <a:pt x="1367" y="60"/>
                  </a:cubicBezTo>
                  <a:cubicBezTo>
                    <a:pt x="1367" y="61"/>
                    <a:pt x="1367" y="61"/>
                    <a:pt x="1367" y="61"/>
                  </a:cubicBezTo>
                  <a:close/>
                  <a:moveTo>
                    <a:pt x="1460" y="13"/>
                  </a:moveTo>
                  <a:cubicBezTo>
                    <a:pt x="1460" y="14"/>
                    <a:pt x="1460" y="14"/>
                    <a:pt x="1461" y="14"/>
                  </a:cubicBezTo>
                  <a:cubicBezTo>
                    <a:pt x="1460" y="14"/>
                    <a:pt x="1460" y="14"/>
                    <a:pt x="1460" y="13"/>
                  </a:cubicBezTo>
                  <a:close/>
                  <a:moveTo>
                    <a:pt x="1390" y="53"/>
                  </a:moveTo>
                  <a:cubicBezTo>
                    <a:pt x="1389" y="54"/>
                    <a:pt x="1389" y="54"/>
                    <a:pt x="1389" y="54"/>
                  </a:cubicBezTo>
                  <a:cubicBezTo>
                    <a:pt x="1389" y="54"/>
                    <a:pt x="1389" y="54"/>
                    <a:pt x="1390" y="53"/>
                  </a:cubicBezTo>
                  <a:close/>
                  <a:moveTo>
                    <a:pt x="585" y="92"/>
                  </a:moveTo>
                  <a:cubicBezTo>
                    <a:pt x="585" y="92"/>
                    <a:pt x="585" y="92"/>
                    <a:pt x="585" y="92"/>
                  </a:cubicBezTo>
                  <a:cubicBezTo>
                    <a:pt x="585" y="92"/>
                    <a:pt x="585" y="92"/>
                    <a:pt x="585" y="92"/>
                  </a:cubicBezTo>
                  <a:close/>
                  <a:moveTo>
                    <a:pt x="1575" y="13"/>
                  </a:moveTo>
                  <a:cubicBezTo>
                    <a:pt x="1575" y="14"/>
                    <a:pt x="1575" y="14"/>
                    <a:pt x="1575" y="14"/>
                  </a:cubicBezTo>
                  <a:cubicBezTo>
                    <a:pt x="1575" y="14"/>
                    <a:pt x="1575" y="14"/>
                    <a:pt x="1575" y="13"/>
                  </a:cubicBezTo>
                  <a:close/>
                  <a:moveTo>
                    <a:pt x="1567" y="60"/>
                  </a:moveTo>
                  <a:cubicBezTo>
                    <a:pt x="1567" y="60"/>
                    <a:pt x="1566" y="61"/>
                    <a:pt x="1566" y="61"/>
                  </a:cubicBezTo>
                  <a:cubicBezTo>
                    <a:pt x="1567" y="61"/>
                    <a:pt x="1567" y="61"/>
                    <a:pt x="1567" y="60"/>
                  </a:cubicBezTo>
                  <a:close/>
                  <a:moveTo>
                    <a:pt x="684" y="92"/>
                  </a:moveTo>
                  <a:cubicBezTo>
                    <a:pt x="685" y="92"/>
                    <a:pt x="685" y="92"/>
                    <a:pt x="685" y="92"/>
                  </a:cubicBezTo>
                  <a:cubicBezTo>
                    <a:pt x="685" y="92"/>
                    <a:pt x="684" y="92"/>
                    <a:pt x="684" y="92"/>
                  </a:cubicBezTo>
                  <a:close/>
                  <a:moveTo>
                    <a:pt x="1735" y="60"/>
                  </a:moveTo>
                  <a:cubicBezTo>
                    <a:pt x="1735" y="60"/>
                    <a:pt x="1734" y="61"/>
                    <a:pt x="1734" y="61"/>
                  </a:cubicBezTo>
                  <a:cubicBezTo>
                    <a:pt x="1735" y="61"/>
                    <a:pt x="1735" y="61"/>
                    <a:pt x="1735" y="60"/>
                  </a:cubicBezTo>
                  <a:close/>
                  <a:moveTo>
                    <a:pt x="582" y="61"/>
                  </a:moveTo>
                  <a:cubicBezTo>
                    <a:pt x="582" y="61"/>
                    <a:pt x="582" y="61"/>
                    <a:pt x="582" y="61"/>
                  </a:cubicBezTo>
                  <a:cubicBezTo>
                    <a:pt x="582" y="61"/>
                    <a:pt x="582" y="61"/>
                    <a:pt x="582" y="61"/>
                  </a:cubicBezTo>
                  <a:close/>
                  <a:moveTo>
                    <a:pt x="1676" y="13"/>
                  </a:moveTo>
                  <a:cubicBezTo>
                    <a:pt x="1676" y="14"/>
                    <a:pt x="1676" y="14"/>
                    <a:pt x="1676" y="14"/>
                  </a:cubicBezTo>
                  <a:cubicBezTo>
                    <a:pt x="1676" y="14"/>
                    <a:pt x="1676" y="14"/>
                    <a:pt x="1676" y="13"/>
                  </a:cubicBezTo>
                  <a:close/>
                  <a:moveTo>
                    <a:pt x="1376" y="54"/>
                  </a:moveTo>
                  <a:cubicBezTo>
                    <a:pt x="1376" y="54"/>
                    <a:pt x="1376" y="54"/>
                    <a:pt x="1376" y="54"/>
                  </a:cubicBezTo>
                  <a:cubicBezTo>
                    <a:pt x="1376" y="54"/>
                    <a:pt x="1376" y="54"/>
                    <a:pt x="1376" y="54"/>
                  </a:cubicBezTo>
                  <a:close/>
                  <a:moveTo>
                    <a:pt x="1743" y="13"/>
                  </a:moveTo>
                  <a:cubicBezTo>
                    <a:pt x="1743" y="14"/>
                    <a:pt x="1743" y="14"/>
                    <a:pt x="1744" y="14"/>
                  </a:cubicBezTo>
                  <a:cubicBezTo>
                    <a:pt x="1743" y="14"/>
                    <a:pt x="1743" y="14"/>
                    <a:pt x="1743" y="13"/>
                  </a:cubicBezTo>
                  <a:close/>
                  <a:moveTo>
                    <a:pt x="660" y="61"/>
                  </a:moveTo>
                  <a:cubicBezTo>
                    <a:pt x="660" y="61"/>
                    <a:pt x="660" y="61"/>
                    <a:pt x="660" y="61"/>
                  </a:cubicBezTo>
                  <a:cubicBezTo>
                    <a:pt x="660" y="61"/>
                    <a:pt x="660" y="61"/>
                    <a:pt x="660" y="61"/>
                  </a:cubicBezTo>
                  <a:close/>
                  <a:moveTo>
                    <a:pt x="965" y="92"/>
                  </a:moveTo>
                  <a:cubicBezTo>
                    <a:pt x="965" y="92"/>
                    <a:pt x="964" y="92"/>
                    <a:pt x="964" y="92"/>
                  </a:cubicBezTo>
                  <a:cubicBezTo>
                    <a:pt x="964" y="92"/>
                    <a:pt x="964" y="92"/>
                    <a:pt x="965" y="92"/>
                  </a:cubicBezTo>
                  <a:close/>
                  <a:moveTo>
                    <a:pt x="544" y="14"/>
                  </a:moveTo>
                  <a:cubicBezTo>
                    <a:pt x="544" y="14"/>
                    <a:pt x="544" y="14"/>
                    <a:pt x="544" y="14"/>
                  </a:cubicBezTo>
                  <a:cubicBezTo>
                    <a:pt x="544" y="14"/>
                    <a:pt x="544" y="14"/>
                    <a:pt x="544" y="14"/>
                  </a:cubicBezTo>
                  <a:close/>
                  <a:moveTo>
                    <a:pt x="971" y="14"/>
                  </a:moveTo>
                  <a:cubicBezTo>
                    <a:pt x="971" y="14"/>
                    <a:pt x="971" y="14"/>
                    <a:pt x="971" y="14"/>
                  </a:cubicBezTo>
                  <a:cubicBezTo>
                    <a:pt x="971" y="14"/>
                    <a:pt x="971" y="14"/>
                    <a:pt x="971" y="14"/>
                  </a:cubicBezTo>
                  <a:close/>
                  <a:moveTo>
                    <a:pt x="1347" y="14"/>
                  </a:moveTo>
                  <a:cubicBezTo>
                    <a:pt x="1347" y="14"/>
                    <a:pt x="1347" y="14"/>
                    <a:pt x="1348" y="14"/>
                  </a:cubicBezTo>
                  <a:cubicBezTo>
                    <a:pt x="1347" y="14"/>
                    <a:pt x="1347" y="14"/>
                    <a:pt x="1347" y="14"/>
                  </a:cubicBezTo>
                  <a:close/>
                  <a:moveTo>
                    <a:pt x="1551" y="61"/>
                  </a:moveTo>
                  <a:cubicBezTo>
                    <a:pt x="1551" y="61"/>
                    <a:pt x="1551" y="61"/>
                    <a:pt x="1551" y="61"/>
                  </a:cubicBezTo>
                  <a:cubicBezTo>
                    <a:pt x="1551" y="61"/>
                    <a:pt x="1551" y="61"/>
                    <a:pt x="1551" y="61"/>
                  </a:cubicBezTo>
                  <a:close/>
                  <a:moveTo>
                    <a:pt x="1566" y="61"/>
                  </a:moveTo>
                  <a:cubicBezTo>
                    <a:pt x="1566" y="61"/>
                    <a:pt x="1566" y="61"/>
                    <a:pt x="1566" y="61"/>
                  </a:cubicBezTo>
                  <a:cubicBezTo>
                    <a:pt x="1566" y="61"/>
                    <a:pt x="1566" y="61"/>
                    <a:pt x="1566" y="61"/>
                  </a:cubicBezTo>
                  <a:close/>
                  <a:moveTo>
                    <a:pt x="1189" y="92"/>
                  </a:moveTo>
                  <a:cubicBezTo>
                    <a:pt x="1189" y="92"/>
                    <a:pt x="1189" y="92"/>
                    <a:pt x="1189" y="92"/>
                  </a:cubicBezTo>
                  <a:cubicBezTo>
                    <a:pt x="1189" y="92"/>
                    <a:pt x="1189" y="92"/>
                    <a:pt x="1189" y="92"/>
                  </a:cubicBezTo>
                  <a:close/>
                  <a:moveTo>
                    <a:pt x="1201" y="92"/>
                  </a:moveTo>
                  <a:cubicBezTo>
                    <a:pt x="1201" y="92"/>
                    <a:pt x="1202" y="92"/>
                    <a:pt x="1202" y="92"/>
                  </a:cubicBezTo>
                  <a:cubicBezTo>
                    <a:pt x="1202" y="92"/>
                    <a:pt x="1201" y="92"/>
                    <a:pt x="1201" y="92"/>
                  </a:cubicBezTo>
                  <a:close/>
                  <a:moveTo>
                    <a:pt x="1667" y="61"/>
                  </a:moveTo>
                  <a:cubicBezTo>
                    <a:pt x="1667" y="61"/>
                    <a:pt x="1667" y="61"/>
                    <a:pt x="1667" y="61"/>
                  </a:cubicBezTo>
                  <a:cubicBezTo>
                    <a:pt x="1667" y="61"/>
                    <a:pt x="1667" y="61"/>
                    <a:pt x="1667" y="61"/>
                  </a:cubicBezTo>
                  <a:close/>
                  <a:moveTo>
                    <a:pt x="1719" y="61"/>
                  </a:moveTo>
                  <a:cubicBezTo>
                    <a:pt x="1719" y="61"/>
                    <a:pt x="1719" y="61"/>
                    <a:pt x="1719" y="61"/>
                  </a:cubicBezTo>
                  <a:cubicBezTo>
                    <a:pt x="1719" y="61"/>
                    <a:pt x="1719" y="61"/>
                    <a:pt x="1719" y="61"/>
                  </a:cubicBezTo>
                  <a:close/>
                  <a:moveTo>
                    <a:pt x="1734" y="61"/>
                  </a:moveTo>
                  <a:cubicBezTo>
                    <a:pt x="1734" y="61"/>
                    <a:pt x="1734" y="61"/>
                    <a:pt x="1734" y="61"/>
                  </a:cubicBezTo>
                  <a:cubicBezTo>
                    <a:pt x="1734" y="61"/>
                    <a:pt x="1734" y="61"/>
                    <a:pt x="1734" y="61"/>
                  </a:cubicBezTo>
                  <a:close/>
                  <a:moveTo>
                    <a:pt x="582" y="61"/>
                  </a:moveTo>
                  <a:cubicBezTo>
                    <a:pt x="582" y="61"/>
                    <a:pt x="582" y="62"/>
                    <a:pt x="583" y="62"/>
                  </a:cubicBezTo>
                  <a:cubicBezTo>
                    <a:pt x="583" y="61"/>
                    <a:pt x="582" y="61"/>
                    <a:pt x="582" y="61"/>
                  </a:cubicBezTo>
                  <a:close/>
                  <a:moveTo>
                    <a:pt x="1391" y="14"/>
                  </a:moveTo>
                  <a:cubicBezTo>
                    <a:pt x="1391" y="14"/>
                    <a:pt x="1391" y="14"/>
                    <a:pt x="1392" y="14"/>
                  </a:cubicBezTo>
                  <a:cubicBezTo>
                    <a:pt x="1392" y="14"/>
                    <a:pt x="1391" y="14"/>
                    <a:pt x="1391" y="14"/>
                  </a:cubicBezTo>
                  <a:close/>
                  <a:moveTo>
                    <a:pt x="1421" y="14"/>
                  </a:moveTo>
                  <a:cubicBezTo>
                    <a:pt x="1421" y="14"/>
                    <a:pt x="1421" y="14"/>
                    <a:pt x="1421" y="14"/>
                  </a:cubicBezTo>
                  <a:cubicBezTo>
                    <a:pt x="1421" y="14"/>
                    <a:pt x="1421" y="14"/>
                    <a:pt x="1421" y="14"/>
                  </a:cubicBezTo>
                  <a:close/>
                  <a:moveTo>
                    <a:pt x="1461" y="14"/>
                  </a:moveTo>
                  <a:cubicBezTo>
                    <a:pt x="1461" y="14"/>
                    <a:pt x="1461" y="14"/>
                    <a:pt x="1461" y="14"/>
                  </a:cubicBezTo>
                  <a:cubicBezTo>
                    <a:pt x="1461" y="14"/>
                    <a:pt x="1461" y="14"/>
                    <a:pt x="1461" y="14"/>
                  </a:cubicBezTo>
                  <a:close/>
                  <a:moveTo>
                    <a:pt x="585" y="92"/>
                  </a:moveTo>
                  <a:cubicBezTo>
                    <a:pt x="585" y="92"/>
                    <a:pt x="585" y="92"/>
                    <a:pt x="585" y="92"/>
                  </a:cubicBezTo>
                  <a:cubicBezTo>
                    <a:pt x="585" y="92"/>
                    <a:pt x="585" y="92"/>
                    <a:pt x="585" y="92"/>
                  </a:cubicBezTo>
                  <a:close/>
                  <a:moveTo>
                    <a:pt x="1575" y="14"/>
                  </a:moveTo>
                  <a:cubicBezTo>
                    <a:pt x="1575" y="14"/>
                    <a:pt x="1576" y="14"/>
                    <a:pt x="1576" y="14"/>
                  </a:cubicBezTo>
                  <a:cubicBezTo>
                    <a:pt x="1576" y="14"/>
                    <a:pt x="1576" y="14"/>
                    <a:pt x="1575" y="14"/>
                  </a:cubicBezTo>
                  <a:close/>
                  <a:moveTo>
                    <a:pt x="1744" y="14"/>
                  </a:moveTo>
                  <a:cubicBezTo>
                    <a:pt x="1744" y="14"/>
                    <a:pt x="1744" y="14"/>
                    <a:pt x="1744" y="14"/>
                  </a:cubicBezTo>
                  <a:cubicBezTo>
                    <a:pt x="1744" y="14"/>
                    <a:pt x="1744" y="14"/>
                    <a:pt x="1744" y="14"/>
                  </a:cubicBezTo>
                  <a:close/>
                  <a:moveTo>
                    <a:pt x="1382" y="61"/>
                  </a:moveTo>
                  <a:cubicBezTo>
                    <a:pt x="1381" y="61"/>
                    <a:pt x="1381" y="61"/>
                    <a:pt x="1381" y="61"/>
                  </a:cubicBezTo>
                  <a:cubicBezTo>
                    <a:pt x="1381" y="61"/>
                    <a:pt x="1381" y="61"/>
                    <a:pt x="1382" y="61"/>
                  </a:cubicBezTo>
                  <a:close/>
                  <a:moveTo>
                    <a:pt x="729" y="92"/>
                  </a:moveTo>
                  <a:cubicBezTo>
                    <a:pt x="729" y="92"/>
                    <a:pt x="729" y="92"/>
                    <a:pt x="730" y="92"/>
                  </a:cubicBezTo>
                  <a:cubicBezTo>
                    <a:pt x="729" y="92"/>
                    <a:pt x="729" y="92"/>
                    <a:pt x="729" y="92"/>
                  </a:cubicBezTo>
                  <a:close/>
                  <a:moveTo>
                    <a:pt x="543" y="14"/>
                  </a:moveTo>
                  <a:cubicBezTo>
                    <a:pt x="544" y="14"/>
                    <a:pt x="544" y="14"/>
                    <a:pt x="544" y="14"/>
                  </a:cubicBezTo>
                  <a:cubicBezTo>
                    <a:pt x="544" y="14"/>
                    <a:pt x="543" y="14"/>
                    <a:pt x="543" y="14"/>
                  </a:cubicBezTo>
                  <a:close/>
                  <a:moveTo>
                    <a:pt x="754" y="92"/>
                  </a:moveTo>
                  <a:cubicBezTo>
                    <a:pt x="754" y="92"/>
                    <a:pt x="754" y="92"/>
                    <a:pt x="754" y="92"/>
                  </a:cubicBezTo>
                  <a:cubicBezTo>
                    <a:pt x="754" y="92"/>
                    <a:pt x="754" y="92"/>
                    <a:pt x="754" y="92"/>
                  </a:cubicBezTo>
                  <a:close/>
                  <a:moveTo>
                    <a:pt x="970" y="14"/>
                  </a:moveTo>
                  <a:cubicBezTo>
                    <a:pt x="971" y="14"/>
                    <a:pt x="971" y="14"/>
                    <a:pt x="971" y="14"/>
                  </a:cubicBezTo>
                  <a:cubicBezTo>
                    <a:pt x="971" y="14"/>
                    <a:pt x="971" y="14"/>
                    <a:pt x="970" y="14"/>
                  </a:cubicBezTo>
                  <a:close/>
                  <a:moveTo>
                    <a:pt x="1667" y="61"/>
                  </a:moveTo>
                  <a:cubicBezTo>
                    <a:pt x="1667" y="61"/>
                    <a:pt x="1667" y="62"/>
                    <a:pt x="1668" y="62"/>
                  </a:cubicBezTo>
                  <a:cubicBezTo>
                    <a:pt x="1668" y="61"/>
                    <a:pt x="1667" y="61"/>
                    <a:pt x="1667" y="61"/>
                  </a:cubicBezTo>
                  <a:close/>
                  <a:moveTo>
                    <a:pt x="965" y="92"/>
                  </a:moveTo>
                  <a:cubicBezTo>
                    <a:pt x="965" y="92"/>
                    <a:pt x="965" y="92"/>
                    <a:pt x="965" y="92"/>
                  </a:cubicBezTo>
                  <a:cubicBezTo>
                    <a:pt x="965" y="92"/>
                    <a:pt x="965" y="92"/>
                    <a:pt x="965" y="92"/>
                  </a:cubicBezTo>
                  <a:close/>
                  <a:moveTo>
                    <a:pt x="1347" y="15"/>
                  </a:moveTo>
                  <a:cubicBezTo>
                    <a:pt x="1347" y="15"/>
                    <a:pt x="1347" y="14"/>
                    <a:pt x="1347" y="14"/>
                  </a:cubicBezTo>
                  <a:cubicBezTo>
                    <a:pt x="1347" y="14"/>
                    <a:pt x="1347" y="14"/>
                    <a:pt x="1347" y="15"/>
                  </a:cubicBezTo>
                  <a:close/>
                  <a:moveTo>
                    <a:pt x="1392" y="14"/>
                  </a:moveTo>
                  <a:cubicBezTo>
                    <a:pt x="1392" y="14"/>
                    <a:pt x="1392" y="15"/>
                    <a:pt x="1392" y="15"/>
                  </a:cubicBezTo>
                  <a:cubicBezTo>
                    <a:pt x="1392" y="14"/>
                    <a:pt x="1392" y="14"/>
                    <a:pt x="1392" y="14"/>
                  </a:cubicBezTo>
                  <a:close/>
                  <a:moveTo>
                    <a:pt x="583" y="62"/>
                  </a:moveTo>
                  <a:cubicBezTo>
                    <a:pt x="583" y="62"/>
                    <a:pt x="583" y="62"/>
                    <a:pt x="583" y="62"/>
                  </a:cubicBezTo>
                  <a:cubicBezTo>
                    <a:pt x="583" y="62"/>
                    <a:pt x="583" y="62"/>
                    <a:pt x="583" y="62"/>
                  </a:cubicBezTo>
                  <a:close/>
                  <a:moveTo>
                    <a:pt x="661" y="62"/>
                  </a:moveTo>
                  <a:cubicBezTo>
                    <a:pt x="661" y="62"/>
                    <a:pt x="661" y="61"/>
                    <a:pt x="660" y="61"/>
                  </a:cubicBezTo>
                  <a:cubicBezTo>
                    <a:pt x="660" y="62"/>
                    <a:pt x="660" y="62"/>
                    <a:pt x="661" y="62"/>
                  </a:cubicBezTo>
                  <a:close/>
                  <a:moveTo>
                    <a:pt x="1421" y="15"/>
                  </a:moveTo>
                  <a:cubicBezTo>
                    <a:pt x="1421" y="15"/>
                    <a:pt x="1421" y="14"/>
                    <a:pt x="1421" y="14"/>
                  </a:cubicBezTo>
                  <a:cubicBezTo>
                    <a:pt x="1421" y="14"/>
                    <a:pt x="1421" y="14"/>
                    <a:pt x="1421" y="15"/>
                  </a:cubicBezTo>
                  <a:close/>
                  <a:moveTo>
                    <a:pt x="1576" y="14"/>
                  </a:moveTo>
                  <a:cubicBezTo>
                    <a:pt x="1576" y="14"/>
                    <a:pt x="1576" y="14"/>
                    <a:pt x="1576" y="15"/>
                  </a:cubicBezTo>
                  <a:cubicBezTo>
                    <a:pt x="1576" y="14"/>
                    <a:pt x="1576" y="14"/>
                    <a:pt x="1576" y="14"/>
                  </a:cubicBezTo>
                  <a:close/>
                  <a:moveTo>
                    <a:pt x="1366" y="62"/>
                  </a:moveTo>
                  <a:cubicBezTo>
                    <a:pt x="1366" y="62"/>
                    <a:pt x="1366" y="62"/>
                    <a:pt x="1366" y="62"/>
                  </a:cubicBezTo>
                  <a:cubicBezTo>
                    <a:pt x="1366" y="62"/>
                    <a:pt x="1366" y="62"/>
                    <a:pt x="1366" y="62"/>
                  </a:cubicBezTo>
                  <a:close/>
                  <a:moveTo>
                    <a:pt x="1381" y="61"/>
                  </a:moveTo>
                  <a:cubicBezTo>
                    <a:pt x="1381" y="61"/>
                    <a:pt x="1381" y="62"/>
                    <a:pt x="1381" y="62"/>
                  </a:cubicBezTo>
                  <a:cubicBezTo>
                    <a:pt x="1381" y="62"/>
                    <a:pt x="1381" y="62"/>
                    <a:pt x="1381" y="61"/>
                  </a:cubicBezTo>
                  <a:close/>
                  <a:moveTo>
                    <a:pt x="1744" y="14"/>
                  </a:moveTo>
                  <a:cubicBezTo>
                    <a:pt x="1744" y="14"/>
                    <a:pt x="1744" y="14"/>
                    <a:pt x="1744" y="15"/>
                  </a:cubicBezTo>
                  <a:cubicBezTo>
                    <a:pt x="1744" y="14"/>
                    <a:pt x="1744" y="14"/>
                    <a:pt x="1744" y="14"/>
                  </a:cubicBezTo>
                  <a:close/>
                  <a:moveTo>
                    <a:pt x="1418" y="92"/>
                  </a:moveTo>
                  <a:cubicBezTo>
                    <a:pt x="1418" y="92"/>
                    <a:pt x="1418" y="92"/>
                    <a:pt x="1418" y="92"/>
                  </a:cubicBezTo>
                  <a:cubicBezTo>
                    <a:pt x="1418" y="92"/>
                    <a:pt x="1418" y="92"/>
                    <a:pt x="1418" y="92"/>
                  </a:cubicBezTo>
                  <a:close/>
                  <a:moveTo>
                    <a:pt x="1668" y="62"/>
                  </a:moveTo>
                  <a:cubicBezTo>
                    <a:pt x="1668" y="62"/>
                    <a:pt x="1668" y="62"/>
                    <a:pt x="1668" y="62"/>
                  </a:cubicBezTo>
                  <a:cubicBezTo>
                    <a:pt x="1668" y="62"/>
                    <a:pt x="1668" y="62"/>
                    <a:pt x="1668" y="62"/>
                  </a:cubicBezTo>
                  <a:close/>
                  <a:moveTo>
                    <a:pt x="583" y="62"/>
                  </a:moveTo>
                  <a:cubicBezTo>
                    <a:pt x="583" y="62"/>
                    <a:pt x="583" y="62"/>
                    <a:pt x="583" y="62"/>
                  </a:cubicBezTo>
                  <a:cubicBezTo>
                    <a:pt x="583" y="62"/>
                    <a:pt x="583" y="62"/>
                    <a:pt x="583" y="62"/>
                  </a:cubicBezTo>
                  <a:close/>
                  <a:moveTo>
                    <a:pt x="543" y="15"/>
                  </a:moveTo>
                  <a:cubicBezTo>
                    <a:pt x="543" y="15"/>
                    <a:pt x="543" y="15"/>
                    <a:pt x="543" y="14"/>
                  </a:cubicBezTo>
                  <a:cubicBezTo>
                    <a:pt x="543" y="15"/>
                    <a:pt x="543" y="15"/>
                    <a:pt x="543" y="15"/>
                  </a:cubicBezTo>
                  <a:close/>
                  <a:moveTo>
                    <a:pt x="1420" y="15"/>
                  </a:moveTo>
                  <a:cubicBezTo>
                    <a:pt x="1420" y="15"/>
                    <a:pt x="1421" y="15"/>
                    <a:pt x="1421" y="15"/>
                  </a:cubicBezTo>
                  <a:cubicBezTo>
                    <a:pt x="1420" y="15"/>
                    <a:pt x="1420" y="15"/>
                    <a:pt x="1420" y="15"/>
                  </a:cubicBezTo>
                  <a:close/>
                  <a:moveTo>
                    <a:pt x="1576" y="15"/>
                  </a:moveTo>
                  <a:cubicBezTo>
                    <a:pt x="1576" y="15"/>
                    <a:pt x="1576" y="15"/>
                    <a:pt x="1576" y="15"/>
                  </a:cubicBezTo>
                  <a:cubicBezTo>
                    <a:pt x="1576" y="15"/>
                    <a:pt x="1576" y="15"/>
                    <a:pt x="1576" y="15"/>
                  </a:cubicBezTo>
                  <a:close/>
                  <a:moveTo>
                    <a:pt x="1744" y="15"/>
                  </a:moveTo>
                  <a:cubicBezTo>
                    <a:pt x="1744" y="15"/>
                    <a:pt x="1744" y="15"/>
                    <a:pt x="1745" y="15"/>
                  </a:cubicBezTo>
                  <a:cubicBezTo>
                    <a:pt x="1745" y="15"/>
                    <a:pt x="1744" y="15"/>
                    <a:pt x="1744" y="15"/>
                  </a:cubicBezTo>
                  <a:close/>
                  <a:moveTo>
                    <a:pt x="543" y="15"/>
                  </a:moveTo>
                  <a:cubicBezTo>
                    <a:pt x="543" y="15"/>
                    <a:pt x="543" y="15"/>
                    <a:pt x="543" y="15"/>
                  </a:cubicBezTo>
                  <a:cubicBezTo>
                    <a:pt x="543" y="15"/>
                    <a:pt x="543" y="15"/>
                    <a:pt x="543" y="15"/>
                  </a:cubicBezTo>
                  <a:close/>
                  <a:moveTo>
                    <a:pt x="969" y="15"/>
                  </a:moveTo>
                  <a:cubicBezTo>
                    <a:pt x="970" y="15"/>
                    <a:pt x="970" y="15"/>
                    <a:pt x="970" y="15"/>
                  </a:cubicBezTo>
                  <a:cubicBezTo>
                    <a:pt x="970" y="15"/>
                    <a:pt x="969" y="15"/>
                    <a:pt x="969" y="15"/>
                  </a:cubicBezTo>
                  <a:close/>
                  <a:moveTo>
                    <a:pt x="542" y="16"/>
                  </a:moveTo>
                  <a:cubicBezTo>
                    <a:pt x="543" y="16"/>
                    <a:pt x="543" y="15"/>
                    <a:pt x="543" y="15"/>
                  </a:cubicBezTo>
                  <a:cubicBezTo>
                    <a:pt x="543" y="15"/>
                    <a:pt x="542" y="15"/>
                    <a:pt x="542" y="16"/>
                  </a:cubicBezTo>
                  <a:close/>
                  <a:moveTo>
                    <a:pt x="1381" y="62"/>
                  </a:moveTo>
                  <a:cubicBezTo>
                    <a:pt x="1381" y="62"/>
                    <a:pt x="1380" y="62"/>
                    <a:pt x="1380" y="62"/>
                  </a:cubicBezTo>
                  <a:cubicBezTo>
                    <a:pt x="1381" y="62"/>
                    <a:pt x="1381" y="62"/>
                    <a:pt x="1381" y="62"/>
                  </a:cubicBezTo>
                  <a:close/>
                  <a:moveTo>
                    <a:pt x="1549" y="62"/>
                  </a:moveTo>
                  <a:cubicBezTo>
                    <a:pt x="1550" y="62"/>
                    <a:pt x="1550" y="62"/>
                    <a:pt x="1550" y="62"/>
                  </a:cubicBezTo>
                  <a:cubicBezTo>
                    <a:pt x="1550" y="62"/>
                    <a:pt x="1549" y="62"/>
                    <a:pt x="1549" y="62"/>
                  </a:cubicBezTo>
                  <a:close/>
                  <a:moveTo>
                    <a:pt x="1565" y="62"/>
                  </a:moveTo>
                  <a:cubicBezTo>
                    <a:pt x="1565" y="62"/>
                    <a:pt x="1565" y="62"/>
                    <a:pt x="1565" y="62"/>
                  </a:cubicBezTo>
                  <a:cubicBezTo>
                    <a:pt x="1565" y="62"/>
                    <a:pt x="1565" y="62"/>
                    <a:pt x="1565" y="62"/>
                  </a:cubicBezTo>
                  <a:close/>
                  <a:moveTo>
                    <a:pt x="1392" y="15"/>
                  </a:moveTo>
                  <a:cubicBezTo>
                    <a:pt x="1392" y="15"/>
                    <a:pt x="1392" y="16"/>
                    <a:pt x="1393" y="16"/>
                  </a:cubicBezTo>
                  <a:cubicBezTo>
                    <a:pt x="1393" y="15"/>
                    <a:pt x="1392" y="15"/>
                    <a:pt x="1392" y="15"/>
                  </a:cubicBezTo>
                  <a:close/>
                  <a:moveTo>
                    <a:pt x="965" y="93"/>
                  </a:moveTo>
                  <a:cubicBezTo>
                    <a:pt x="965" y="93"/>
                    <a:pt x="965" y="92"/>
                    <a:pt x="965" y="92"/>
                  </a:cubicBezTo>
                  <a:cubicBezTo>
                    <a:pt x="965" y="93"/>
                    <a:pt x="965" y="93"/>
                    <a:pt x="965" y="93"/>
                  </a:cubicBezTo>
                  <a:close/>
                  <a:moveTo>
                    <a:pt x="1462" y="15"/>
                  </a:moveTo>
                  <a:cubicBezTo>
                    <a:pt x="1462" y="15"/>
                    <a:pt x="1462" y="16"/>
                    <a:pt x="1462" y="16"/>
                  </a:cubicBezTo>
                  <a:cubicBezTo>
                    <a:pt x="1462" y="15"/>
                    <a:pt x="1462" y="15"/>
                    <a:pt x="1462" y="15"/>
                  </a:cubicBezTo>
                  <a:close/>
                  <a:moveTo>
                    <a:pt x="1668" y="62"/>
                  </a:moveTo>
                  <a:cubicBezTo>
                    <a:pt x="1668" y="62"/>
                    <a:pt x="1668" y="62"/>
                    <a:pt x="1668" y="62"/>
                  </a:cubicBezTo>
                  <a:cubicBezTo>
                    <a:pt x="1668" y="62"/>
                    <a:pt x="1668" y="62"/>
                    <a:pt x="1668" y="62"/>
                  </a:cubicBezTo>
                  <a:close/>
                  <a:moveTo>
                    <a:pt x="1036" y="93"/>
                  </a:moveTo>
                  <a:cubicBezTo>
                    <a:pt x="1036" y="93"/>
                    <a:pt x="1036" y="92"/>
                    <a:pt x="1036" y="92"/>
                  </a:cubicBezTo>
                  <a:cubicBezTo>
                    <a:pt x="1036" y="93"/>
                    <a:pt x="1036" y="93"/>
                    <a:pt x="1036" y="93"/>
                  </a:cubicBezTo>
                  <a:close/>
                  <a:moveTo>
                    <a:pt x="1717" y="62"/>
                  </a:moveTo>
                  <a:cubicBezTo>
                    <a:pt x="1718" y="62"/>
                    <a:pt x="1718" y="62"/>
                    <a:pt x="1718" y="62"/>
                  </a:cubicBezTo>
                  <a:cubicBezTo>
                    <a:pt x="1718" y="62"/>
                    <a:pt x="1718" y="62"/>
                    <a:pt x="1717" y="62"/>
                  </a:cubicBezTo>
                  <a:close/>
                  <a:moveTo>
                    <a:pt x="1733" y="62"/>
                  </a:moveTo>
                  <a:cubicBezTo>
                    <a:pt x="1733" y="62"/>
                    <a:pt x="1733" y="62"/>
                    <a:pt x="1733" y="62"/>
                  </a:cubicBezTo>
                  <a:cubicBezTo>
                    <a:pt x="1733" y="62"/>
                    <a:pt x="1733" y="62"/>
                    <a:pt x="1733" y="62"/>
                  </a:cubicBezTo>
                  <a:close/>
                  <a:moveTo>
                    <a:pt x="542" y="16"/>
                  </a:moveTo>
                  <a:cubicBezTo>
                    <a:pt x="542" y="16"/>
                    <a:pt x="542" y="16"/>
                    <a:pt x="542" y="16"/>
                  </a:cubicBezTo>
                  <a:cubicBezTo>
                    <a:pt x="542" y="16"/>
                    <a:pt x="542" y="16"/>
                    <a:pt x="542" y="16"/>
                  </a:cubicBezTo>
                  <a:close/>
                  <a:moveTo>
                    <a:pt x="1393" y="16"/>
                  </a:moveTo>
                  <a:cubicBezTo>
                    <a:pt x="1393" y="16"/>
                    <a:pt x="1393" y="16"/>
                    <a:pt x="1393" y="16"/>
                  </a:cubicBezTo>
                  <a:cubicBezTo>
                    <a:pt x="1393" y="16"/>
                    <a:pt x="1393" y="16"/>
                    <a:pt x="1393" y="16"/>
                  </a:cubicBezTo>
                  <a:close/>
                  <a:moveTo>
                    <a:pt x="1214" y="93"/>
                  </a:moveTo>
                  <a:cubicBezTo>
                    <a:pt x="1214" y="93"/>
                    <a:pt x="1214" y="92"/>
                    <a:pt x="1214" y="92"/>
                  </a:cubicBezTo>
                  <a:cubicBezTo>
                    <a:pt x="1214" y="93"/>
                    <a:pt x="1214" y="93"/>
                    <a:pt x="1214" y="93"/>
                  </a:cubicBezTo>
                  <a:close/>
                  <a:moveTo>
                    <a:pt x="1462" y="16"/>
                  </a:moveTo>
                  <a:cubicBezTo>
                    <a:pt x="1462" y="16"/>
                    <a:pt x="1462" y="16"/>
                    <a:pt x="1462" y="16"/>
                  </a:cubicBezTo>
                  <a:cubicBezTo>
                    <a:pt x="1462" y="16"/>
                    <a:pt x="1462" y="16"/>
                    <a:pt x="1462" y="16"/>
                  </a:cubicBezTo>
                  <a:close/>
                  <a:moveTo>
                    <a:pt x="542" y="16"/>
                  </a:moveTo>
                  <a:cubicBezTo>
                    <a:pt x="542" y="16"/>
                    <a:pt x="542" y="16"/>
                    <a:pt x="542" y="16"/>
                  </a:cubicBezTo>
                  <a:cubicBezTo>
                    <a:pt x="542" y="16"/>
                    <a:pt x="542" y="16"/>
                    <a:pt x="542" y="16"/>
                  </a:cubicBezTo>
                  <a:close/>
                  <a:moveTo>
                    <a:pt x="968" y="16"/>
                  </a:moveTo>
                  <a:cubicBezTo>
                    <a:pt x="968" y="16"/>
                    <a:pt x="968" y="16"/>
                    <a:pt x="968" y="16"/>
                  </a:cubicBezTo>
                  <a:cubicBezTo>
                    <a:pt x="968" y="16"/>
                    <a:pt x="968" y="16"/>
                    <a:pt x="968" y="16"/>
                  </a:cubicBezTo>
                  <a:close/>
                  <a:moveTo>
                    <a:pt x="1461" y="92"/>
                  </a:moveTo>
                  <a:cubicBezTo>
                    <a:pt x="1461" y="92"/>
                    <a:pt x="1461" y="93"/>
                    <a:pt x="1461" y="93"/>
                  </a:cubicBezTo>
                  <a:cubicBezTo>
                    <a:pt x="1461" y="93"/>
                    <a:pt x="1461" y="93"/>
                    <a:pt x="1461" y="92"/>
                  </a:cubicBezTo>
                  <a:close/>
                  <a:moveTo>
                    <a:pt x="1419" y="16"/>
                  </a:moveTo>
                  <a:cubicBezTo>
                    <a:pt x="1419" y="16"/>
                    <a:pt x="1419" y="16"/>
                    <a:pt x="1419" y="16"/>
                  </a:cubicBezTo>
                  <a:cubicBezTo>
                    <a:pt x="1419" y="16"/>
                    <a:pt x="1419" y="16"/>
                    <a:pt x="1419" y="16"/>
                  </a:cubicBezTo>
                  <a:close/>
                  <a:moveTo>
                    <a:pt x="1565" y="62"/>
                  </a:moveTo>
                  <a:cubicBezTo>
                    <a:pt x="1564" y="62"/>
                    <a:pt x="1564" y="62"/>
                    <a:pt x="1564" y="62"/>
                  </a:cubicBezTo>
                  <a:cubicBezTo>
                    <a:pt x="1564" y="62"/>
                    <a:pt x="1565" y="62"/>
                    <a:pt x="1565" y="62"/>
                  </a:cubicBezTo>
                  <a:close/>
                  <a:moveTo>
                    <a:pt x="1577" y="16"/>
                  </a:moveTo>
                  <a:cubicBezTo>
                    <a:pt x="1577" y="16"/>
                    <a:pt x="1577" y="16"/>
                    <a:pt x="1577" y="16"/>
                  </a:cubicBezTo>
                  <a:cubicBezTo>
                    <a:pt x="1577" y="16"/>
                    <a:pt x="1577" y="16"/>
                    <a:pt x="1577" y="16"/>
                  </a:cubicBezTo>
                  <a:close/>
                  <a:moveTo>
                    <a:pt x="1745" y="16"/>
                  </a:moveTo>
                  <a:cubicBezTo>
                    <a:pt x="1745" y="16"/>
                    <a:pt x="1745" y="16"/>
                    <a:pt x="1746" y="16"/>
                  </a:cubicBezTo>
                  <a:cubicBezTo>
                    <a:pt x="1746" y="16"/>
                    <a:pt x="1745" y="16"/>
                    <a:pt x="1745" y="16"/>
                  </a:cubicBezTo>
                  <a:close/>
                  <a:moveTo>
                    <a:pt x="968" y="17"/>
                  </a:moveTo>
                  <a:cubicBezTo>
                    <a:pt x="968" y="17"/>
                    <a:pt x="968" y="16"/>
                    <a:pt x="968" y="16"/>
                  </a:cubicBezTo>
                  <a:cubicBezTo>
                    <a:pt x="968" y="16"/>
                    <a:pt x="968" y="16"/>
                    <a:pt x="968" y="17"/>
                  </a:cubicBezTo>
                  <a:close/>
                  <a:moveTo>
                    <a:pt x="1733" y="62"/>
                  </a:moveTo>
                  <a:cubicBezTo>
                    <a:pt x="1733" y="62"/>
                    <a:pt x="1732" y="62"/>
                    <a:pt x="1732" y="62"/>
                  </a:cubicBezTo>
                  <a:cubicBezTo>
                    <a:pt x="1733" y="62"/>
                    <a:pt x="1733" y="62"/>
                    <a:pt x="1733" y="62"/>
                  </a:cubicBezTo>
                  <a:close/>
                  <a:moveTo>
                    <a:pt x="1419" y="17"/>
                  </a:moveTo>
                  <a:cubicBezTo>
                    <a:pt x="1419" y="17"/>
                    <a:pt x="1419" y="16"/>
                    <a:pt x="1419" y="16"/>
                  </a:cubicBezTo>
                  <a:cubicBezTo>
                    <a:pt x="1419" y="16"/>
                    <a:pt x="1419" y="16"/>
                    <a:pt x="1419" y="17"/>
                  </a:cubicBezTo>
                  <a:close/>
                  <a:moveTo>
                    <a:pt x="661" y="63"/>
                  </a:moveTo>
                  <a:cubicBezTo>
                    <a:pt x="661" y="63"/>
                    <a:pt x="661" y="63"/>
                    <a:pt x="661" y="62"/>
                  </a:cubicBezTo>
                  <a:cubicBezTo>
                    <a:pt x="661" y="63"/>
                    <a:pt x="661" y="63"/>
                    <a:pt x="661" y="63"/>
                  </a:cubicBezTo>
                  <a:close/>
                  <a:moveTo>
                    <a:pt x="1037" y="93"/>
                  </a:moveTo>
                  <a:cubicBezTo>
                    <a:pt x="1037" y="93"/>
                    <a:pt x="1036" y="93"/>
                    <a:pt x="1036" y="93"/>
                  </a:cubicBezTo>
                  <a:cubicBezTo>
                    <a:pt x="1036" y="93"/>
                    <a:pt x="1036" y="93"/>
                    <a:pt x="1037" y="93"/>
                  </a:cubicBezTo>
                  <a:close/>
                  <a:moveTo>
                    <a:pt x="1679" y="16"/>
                  </a:moveTo>
                  <a:cubicBezTo>
                    <a:pt x="1679" y="16"/>
                    <a:pt x="1679" y="17"/>
                    <a:pt x="1679" y="17"/>
                  </a:cubicBezTo>
                  <a:cubicBezTo>
                    <a:pt x="1679" y="16"/>
                    <a:pt x="1679" y="16"/>
                    <a:pt x="1679" y="16"/>
                  </a:cubicBezTo>
                  <a:close/>
                  <a:moveTo>
                    <a:pt x="1364" y="63"/>
                  </a:moveTo>
                  <a:cubicBezTo>
                    <a:pt x="1364" y="63"/>
                    <a:pt x="1365" y="63"/>
                    <a:pt x="1365" y="63"/>
                  </a:cubicBezTo>
                  <a:cubicBezTo>
                    <a:pt x="1364" y="63"/>
                    <a:pt x="1364" y="63"/>
                    <a:pt x="1364" y="63"/>
                  </a:cubicBezTo>
                  <a:close/>
                  <a:moveTo>
                    <a:pt x="1380" y="63"/>
                  </a:moveTo>
                  <a:cubicBezTo>
                    <a:pt x="1380" y="63"/>
                    <a:pt x="1379" y="63"/>
                    <a:pt x="1379" y="63"/>
                  </a:cubicBezTo>
                  <a:cubicBezTo>
                    <a:pt x="1380" y="63"/>
                    <a:pt x="1380" y="63"/>
                    <a:pt x="1380" y="63"/>
                  </a:cubicBezTo>
                  <a:close/>
                  <a:moveTo>
                    <a:pt x="967" y="17"/>
                  </a:moveTo>
                  <a:cubicBezTo>
                    <a:pt x="968" y="17"/>
                    <a:pt x="968" y="17"/>
                    <a:pt x="968" y="17"/>
                  </a:cubicBezTo>
                  <a:cubicBezTo>
                    <a:pt x="968" y="17"/>
                    <a:pt x="967" y="17"/>
                    <a:pt x="967" y="17"/>
                  </a:cubicBezTo>
                  <a:close/>
                  <a:moveTo>
                    <a:pt x="1214" y="93"/>
                  </a:moveTo>
                  <a:cubicBezTo>
                    <a:pt x="1214" y="93"/>
                    <a:pt x="1214" y="93"/>
                    <a:pt x="1214" y="93"/>
                  </a:cubicBezTo>
                  <a:cubicBezTo>
                    <a:pt x="1214" y="93"/>
                    <a:pt x="1214" y="93"/>
                    <a:pt x="1214" y="93"/>
                  </a:cubicBezTo>
                  <a:close/>
                  <a:moveTo>
                    <a:pt x="1393" y="17"/>
                  </a:moveTo>
                  <a:cubicBezTo>
                    <a:pt x="1393" y="17"/>
                    <a:pt x="1393" y="17"/>
                    <a:pt x="1394" y="17"/>
                  </a:cubicBezTo>
                  <a:cubicBezTo>
                    <a:pt x="1394" y="17"/>
                    <a:pt x="1393" y="17"/>
                    <a:pt x="1393" y="17"/>
                  </a:cubicBezTo>
                  <a:close/>
                  <a:moveTo>
                    <a:pt x="1463" y="17"/>
                  </a:moveTo>
                  <a:cubicBezTo>
                    <a:pt x="1463" y="17"/>
                    <a:pt x="1463" y="17"/>
                    <a:pt x="1463" y="17"/>
                  </a:cubicBezTo>
                  <a:cubicBezTo>
                    <a:pt x="1463" y="17"/>
                    <a:pt x="1463" y="17"/>
                    <a:pt x="1463" y="17"/>
                  </a:cubicBezTo>
                  <a:close/>
                  <a:moveTo>
                    <a:pt x="1461" y="93"/>
                  </a:moveTo>
                  <a:cubicBezTo>
                    <a:pt x="1461" y="93"/>
                    <a:pt x="1461" y="93"/>
                    <a:pt x="1461" y="93"/>
                  </a:cubicBezTo>
                  <a:cubicBezTo>
                    <a:pt x="1461" y="93"/>
                    <a:pt x="1461" y="93"/>
                    <a:pt x="1461" y="93"/>
                  </a:cubicBezTo>
                  <a:close/>
                  <a:moveTo>
                    <a:pt x="1679" y="17"/>
                  </a:moveTo>
                  <a:cubicBezTo>
                    <a:pt x="1679" y="17"/>
                    <a:pt x="1679" y="17"/>
                    <a:pt x="1679" y="17"/>
                  </a:cubicBezTo>
                  <a:cubicBezTo>
                    <a:pt x="1679" y="17"/>
                    <a:pt x="1679" y="17"/>
                    <a:pt x="1679" y="17"/>
                  </a:cubicBezTo>
                  <a:close/>
                  <a:moveTo>
                    <a:pt x="541" y="17"/>
                  </a:moveTo>
                  <a:cubicBezTo>
                    <a:pt x="541" y="17"/>
                    <a:pt x="541" y="17"/>
                    <a:pt x="541" y="17"/>
                  </a:cubicBezTo>
                  <a:cubicBezTo>
                    <a:pt x="541" y="17"/>
                    <a:pt x="541" y="17"/>
                    <a:pt x="541" y="17"/>
                  </a:cubicBezTo>
                  <a:close/>
                  <a:moveTo>
                    <a:pt x="584" y="93"/>
                  </a:moveTo>
                  <a:cubicBezTo>
                    <a:pt x="584" y="93"/>
                    <a:pt x="584" y="93"/>
                    <a:pt x="584" y="93"/>
                  </a:cubicBezTo>
                  <a:cubicBezTo>
                    <a:pt x="584" y="93"/>
                    <a:pt x="584" y="93"/>
                    <a:pt x="584" y="93"/>
                  </a:cubicBezTo>
                  <a:close/>
                  <a:moveTo>
                    <a:pt x="1578" y="17"/>
                  </a:moveTo>
                  <a:cubicBezTo>
                    <a:pt x="1578" y="17"/>
                    <a:pt x="1578" y="17"/>
                    <a:pt x="1578" y="17"/>
                  </a:cubicBezTo>
                  <a:cubicBezTo>
                    <a:pt x="1578" y="17"/>
                    <a:pt x="1578" y="17"/>
                    <a:pt x="1578" y="17"/>
                  </a:cubicBezTo>
                  <a:close/>
                  <a:moveTo>
                    <a:pt x="1679" y="17"/>
                  </a:moveTo>
                  <a:cubicBezTo>
                    <a:pt x="1679" y="17"/>
                    <a:pt x="1680" y="17"/>
                    <a:pt x="1680" y="17"/>
                  </a:cubicBezTo>
                  <a:cubicBezTo>
                    <a:pt x="1680" y="17"/>
                    <a:pt x="1680" y="17"/>
                    <a:pt x="1679" y="17"/>
                  </a:cubicBezTo>
                  <a:close/>
                  <a:moveTo>
                    <a:pt x="1746" y="17"/>
                  </a:moveTo>
                  <a:cubicBezTo>
                    <a:pt x="1746" y="17"/>
                    <a:pt x="1746" y="17"/>
                    <a:pt x="1746" y="17"/>
                  </a:cubicBezTo>
                  <a:cubicBezTo>
                    <a:pt x="1746" y="17"/>
                    <a:pt x="1746" y="17"/>
                    <a:pt x="1746" y="17"/>
                  </a:cubicBezTo>
                  <a:close/>
                  <a:moveTo>
                    <a:pt x="697" y="93"/>
                  </a:moveTo>
                  <a:cubicBezTo>
                    <a:pt x="697" y="93"/>
                    <a:pt x="697" y="93"/>
                    <a:pt x="697" y="94"/>
                  </a:cubicBezTo>
                  <a:cubicBezTo>
                    <a:pt x="697" y="93"/>
                    <a:pt x="697" y="93"/>
                    <a:pt x="697" y="93"/>
                  </a:cubicBezTo>
                  <a:close/>
                  <a:moveTo>
                    <a:pt x="541" y="18"/>
                  </a:moveTo>
                  <a:cubicBezTo>
                    <a:pt x="541" y="18"/>
                    <a:pt x="541" y="17"/>
                    <a:pt x="541" y="17"/>
                  </a:cubicBezTo>
                  <a:cubicBezTo>
                    <a:pt x="541" y="17"/>
                    <a:pt x="541" y="18"/>
                    <a:pt x="541" y="18"/>
                  </a:cubicBezTo>
                  <a:close/>
                  <a:moveTo>
                    <a:pt x="1418" y="18"/>
                  </a:moveTo>
                  <a:cubicBezTo>
                    <a:pt x="1418" y="18"/>
                    <a:pt x="1418" y="17"/>
                    <a:pt x="1418" y="17"/>
                  </a:cubicBezTo>
                  <a:cubicBezTo>
                    <a:pt x="1418" y="17"/>
                    <a:pt x="1418" y="18"/>
                    <a:pt x="1418" y="18"/>
                  </a:cubicBezTo>
                  <a:close/>
                  <a:moveTo>
                    <a:pt x="966" y="18"/>
                  </a:moveTo>
                  <a:cubicBezTo>
                    <a:pt x="966" y="18"/>
                    <a:pt x="966" y="18"/>
                    <a:pt x="966" y="18"/>
                  </a:cubicBezTo>
                  <a:cubicBezTo>
                    <a:pt x="966" y="18"/>
                    <a:pt x="966" y="18"/>
                    <a:pt x="966" y="18"/>
                  </a:cubicBezTo>
                  <a:close/>
                  <a:moveTo>
                    <a:pt x="1380" y="18"/>
                  </a:moveTo>
                  <a:cubicBezTo>
                    <a:pt x="1379" y="18"/>
                    <a:pt x="1379" y="18"/>
                    <a:pt x="1379" y="18"/>
                  </a:cubicBezTo>
                  <a:cubicBezTo>
                    <a:pt x="1379" y="18"/>
                    <a:pt x="1379" y="18"/>
                    <a:pt x="1380" y="18"/>
                  </a:cubicBezTo>
                  <a:close/>
                  <a:moveTo>
                    <a:pt x="1037" y="94"/>
                  </a:moveTo>
                  <a:cubicBezTo>
                    <a:pt x="1037" y="93"/>
                    <a:pt x="1037" y="93"/>
                    <a:pt x="1037" y="93"/>
                  </a:cubicBezTo>
                  <a:cubicBezTo>
                    <a:pt x="1037" y="93"/>
                    <a:pt x="1037" y="93"/>
                    <a:pt x="1037" y="94"/>
                  </a:cubicBezTo>
                  <a:close/>
                  <a:moveTo>
                    <a:pt x="1564" y="18"/>
                  </a:moveTo>
                  <a:cubicBezTo>
                    <a:pt x="1564" y="18"/>
                    <a:pt x="1563" y="18"/>
                    <a:pt x="1563" y="18"/>
                  </a:cubicBezTo>
                  <a:cubicBezTo>
                    <a:pt x="1563" y="18"/>
                    <a:pt x="1563" y="18"/>
                    <a:pt x="1564" y="18"/>
                  </a:cubicBezTo>
                  <a:close/>
                  <a:moveTo>
                    <a:pt x="1379" y="63"/>
                  </a:moveTo>
                  <a:cubicBezTo>
                    <a:pt x="1379" y="63"/>
                    <a:pt x="1379" y="63"/>
                    <a:pt x="1379" y="63"/>
                  </a:cubicBezTo>
                  <a:cubicBezTo>
                    <a:pt x="1379" y="63"/>
                    <a:pt x="1379" y="63"/>
                    <a:pt x="1379" y="63"/>
                  </a:cubicBezTo>
                  <a:close/>
                  <a:moveTo>
                    <a:pt x="1548" y="63"/>
                  </a:moveTo>
                  <a:cubicBezTo>
                    <a:pt x="1548" y="63"/>
                    <a:pt x="1548" y="63"/>
                    <a:pt x="1548" y="63"/>
                  </a:cubicBezTo>
                  <a:cubicBezTo>
                    <a:pt x="1548" y="63"/>
                    <a:pt x="1548" y="63"/>
                    <a:pt x="1548" y="63"/>
                  </a:cubicBezTo>
                  <a:close/>
                  <a:moveTo>
                    <a:pt x="1564" y="63"/>
                  </a:moveTo>
                  <a:cubicBezTo>
                    <a:pt x="1563" y="63"/>
                    <a:pt x="1563" y="63"/>
                    <a:pt x="1563" y="63"/>
                  </a:cubicBezTo>
                  <a:cubicBezTo>
                    <a:pt x="1563" y="63"/>
                    <a:pt x="1563" y="63"/>
                    <a:pt x="1564" y="63"/>
                  </a:cubicBezTo>
                  <a:close/>
                  <a:moveTo>
                    <a:pt x="1654" y="63"/>
                  </a:moveTo>
                  <a:cubicBezTo>
                    <a:pt x="1654" y="63"/>
                    <a:pt x="1654" y="63"/>
                    <a:pt x="1654" y="63"/>
                  </a:cubicBezTo>
                  <a:cubicBezTo>
                    <a:pt x="1654" y="63"/>
                    <a:pt x="1654" y="63"/>
                    <a:pt x="1654" y="63"/>
                  </a:cubicBezTo>
                  <a:close/>
                  <a:moveTo>
                    <a:pt x="1716" y="63"/>
                  </a:moveTo>
                  <a:cubicBezTo>
                    <a:pt x="1716" y="63"/>
                    <a:pt x="1716" y="63"/>
                    <a:pt x="1716" y="63"/>
                  </a:cubicBezTo>
                  <a:cubicBezTo>
                    <a:pt x="1716" y="63"/>
                    <a:pt x="1716" y="63"/>
                    <a:pt x="1716" y="63"/>
                  </a:cubicBezTo>
                  <a:close/>
                  <a:moveTo>
                    <a:pt x="1732" y="63"/>
                  </a:moveTo>
                  <a:cubicBezTo>
                    <a:pt x="1732" y="63"/>
                    <a:pt x="1731" y="63"/>
                    <a:pt x="1731" y="63"/>
                  </a:cubicBezTo>
                  <a:cubicBezTo>
                    <a:pt x="1731" y="63"/>
                    <a:pt x="1732" y="63"/>
                    <a:pt x="1732" y="63"/>
                  </a:cubicBezTo>
                  <a:close/>
                  <a:moveTo>
                    <a:pt x="584" y="63"/>
                  </a:moveTo>
                  <a:cubicBezTo>
                    <a:pt x="584" y="63"/>
                    <a:pt x="584" y="64"/>
                    <a:pt x="584" y="64"/>
                  </a:cubicBezTo>
                  <a:cubicBezTo>
                    <a:pt x="584" y="63"/>
                    <a:pt x="584" y="63"/>
                    <a:pt x="584" y="63"/>
                  </a:cubicBezTo>
                  <a:close/>
                  <a:moveTo>
                    <a:pt x="1732" y="18"/>
                  </a:moveTo>
                  <a:cubicBezTo>
                    <a:pt x="1732" y="18"/>
                    <a:pt x="1732" y="18"/>
                    <a:pt x="1731" y="18"/>
                  </a:cubicBezTo>
                  <a:cubicBezTo>
                    <a:pt x="1731" y="18"/>
                    <a:pt x="1732" y="18"/>
                    <a:pt x="1732" y="18"/>
                  </a:cubicBezTo>
                  <a:close/>
                  <a:moveTo>
                    <a:pt x="584" y="93"/>
                  </a:moveTo>
                  <a:cubicBezTo>
                    <a:pt x="584" y="93"/>
                    <a:pt x="584" y="94"/>
                    <a:pt x="584" y="94"/>
                  </a:cubicBezTo>
                  <a:cubicBezTo>
                    <a:pt x="584" y="94"/>
                    <a:pt x="584" y="94"/>
                    <a:pt x="584" y="93"/>
                  </a:cubicBezTo>
                  <a:close/>
                  <a:moveTo>
                    <a:pt x="966" y="18"/>
                  </a:moveTo>
                  <a:cubicBezTo>
                    <a:pt x="966" y="18"/>
                    <a:pt x="966" y="18"/>
                    <a:pt x="966" y="18"/>
                  </a:cubicBezTo>
                  <a:cubicBezTo>
                    <a:pt x="966" y="18"/>
                    <a:pt x="966" y="18"/>
                    <a:pt x="966" y="18"/>
                  </a:cubicBezTo>
                  <a:close/>
                  <a:moveTo>
                    <a:pt x="1680" y="18"/>
                  </a:moveTo>
                  <a:cubicBezTo>
                    <a:pt x="1680" y="18"/>
                    <a:pt x="1680" y="18"/>
                    <a:pt x="1681" y="18"/>
                  </a:cubicBezTo>
                  <a:cubicBezTo>
                    <a:pt x="1680" y="18"/>
                    <a:pt x="1680" y="18"/>
                    <a:pt x="1680" y="18"/>
                  </a:cubicBezTo>
                  <a:close/>
                  <a:moveTo>
                    <a:pt x="1563" y="63"/>
                  </a:moveTo>
                  <a:cubicBezTo>
                    <a:pt x="1563" y="63"/>
                    <a:pt x="1563" y="63"/>
                    <a:pt x="1563" y="64"/>
                  </a:cubicBezTo>
                  <a:cubicBezTo>
                    <a:pt x="1563" y="63"/>
                    <a:pt x="1563" y="63"/>
                    <a:pt x="1563" y="63"/>
                  </a:cubicBezTo>
                  <a:close/>
                  <a:moveTo>
                    <a:pt x="1655" y="64"/>
                  </a:moveTo>
                  <a:cubicBezTo>
                    <a:pt x="1655" y="63"/>
                    <a:pt x="1655" y="63"/>
                    <a:pt x="1654" y="63"/>
                  </a:cubicBezTo>
                  <a:cubicBezTo>
                    <a:pt x="1655" y="63"/>
                    <a:pt x="1655" y="64"/>
                    <a:pt x="1655" y="64"/>
                  </a:cubicBezTo>
                  <a:close/>
                  <a:moveTo>
                    <a:pt x="1669" y="63"/>
                  </a:moveTo>
                  <a:cubicBezTo>
                    <a:pt x="1669" y="63"/>
                    <a:pt x="1669" y="64"/>
                    <a:pt x="1669" y="64"/>
                  </a:cubicBezTo>
                  <a:cubicBezTo>
                    <a:pt x="1669" y="63"/>
                    <a:pt x="1669" y="63"/>
                    <a:pt x="1669" y="63"/>
                  </a:cubicBezTo>
                  <a:close/>
                  <a:moveTo>
                    <a:pt x="755" y="94"/>
                  </a:moveTo>
                  <a:cubicBezTo>
                    <a:pt x="755" y="94"/>
                    <a:pt x="755" y="93"/>
                    <a:pt x="755" y="93"/>
                  </a:cubicBezTo>
                  <a:cubicBezTo>
                    <a:pt x="755" y="94"/>
                    <a:pt x="755" y="94"/>
                    <a:pt x="755" y="94"/>
                  </a:cubicBezTo>
                  <a:close/>
                  <a:moveTo>
                    <a:pt x="965" y="19"/>
                  </a:moveTo>
                  <a:cubicBezTo>
                    <a:pt x="965" y="19"/>
                    <a:pt x="966" y="19"/>
                    <a:pt x="966" y="18"/>
                  </a:cubicBezTo>
                  <a:cubicBezTo>
                    <a:pt x="965" y="18"/>
                    <a:pt x="965" y="19"/>
                    <a:pt x="965" y="19"/>
                  </a:cubicBezTo>
                  <a:close/>
                  <a:moveTo>
                    <a:pt x="967" y="94"/>
                  </a:moveTo>
                  <a:cubicBezTo>
                    <a:pt x="967" y="94"/>
                    <a:pt x="966" y="94"/>
                    <a:pt x="966" y="94"/>
                  </a:cubicBezTo>
                  <a:cubicBezTo>
                    <a:pt x="966" y="94"/>
                    <a:pt x="967" y="94"/>
                    <a:pt x="967" y="94"/>
                  </a:cubicBezTo>
                  <a:close/>
                  <a:moveTo>
                    <a:pt x="1731" y="63"/>
                  </a:moveTo>
                  <a:cubicBezTo>
                    <a:pt x="1731" y="63"/>
                    <a:pt x="1731" y="63"/>
                    <a:pt x="1731" y="64"/>
                  </a:cubicBezTo>
                  <a:cubicBezTo>
                    <a:pt x="1731" y="63"/>
                    <a:pt x="1731" y="63"/>
                    <a:pt x="1731" y="63"/>
                  </a:cubicBezTo>
                  <a:close/>
                  <a:moveTo>
                    <a:pt x="574" y="55"/>
                  </a:moveTo>
                  <a:cubicBezTo>
                    <a:pt x="574" y="55"/>
                    <a:pt x="574" y="55"/>
                    <a:pt x="574" y="55"/>
                  </a:cubicBezTo>
                  <a:cubicBezTo>
                    <a:pt x="574" y="55"/>
                    <a:pt x="574" y="55"/>
                    <a:pt x="574" y="55"/>
                  </a:cubicBezTo>
                  <a:close/>
                  <a:moveTo>
                    <a:pt x="584" y="64"/>
                  </a:moveTo>
                  <a:cubicBezTo>
                    <a:pt x="584" y="64"/>
                    <a:pt x="585" y="64"/>
                    <a:pt x="585" y="64"/>
                  </a:cubicBezTo>
                  <a:cubicBezTo>
                    <a:pt x="585" y="64"/>
                    <a:pt x="585" y="64"/>
                    <a:pt x="584" y="64"/>
                  </a:cubicBezTo>
                  <a:close/>
                  <a:moveTo>
                    <a:pt x="1394" y="18"/>
                  </a:moveTo>
                  <a:cubicBezTo>
                    <a:pt x="1394" y="19"/>
                    <a:pt x="1395" y="19"/>
                    <a:pt x="1395" y="19"/>
                  </a:cubicBezTo>
                  <a:cubicBezTo>
                    <a:pt x="1395" y="19"/>
                    <a:pt x="1395" y="18"/>
                    <a:pt x="1394" y="18"/>
                  </a:cubicBezTo>
                  <a:close/>
                  <a:moveTo>
                    <a:pt x="1417" y="19"/>
                  </a:moveTo>
                  <a:cubicBezTo>
                    <a:pt x="1418" y="19"/>
                    <a:pt x="1418" y="19"/>
                    <a:pt x="1418" y="18"/>
                  </a:cubicBezTo>
                  <a:cubicBezTo>
                    <a:pt x="1418" y="18"/>
                    <a:pt x="1417" y="19"/>
                    <a:pt x="1417" y="19"/>
                  </a:cubicBezTo>
                  <a:close/>
                  <a:moveTo>
                    <a:pt x="1419" y="94"/>
                  </a:moveTo>
                  <a:cubicBezTo>
                    <a:pt x="1419" y="94"/>
                    <a:pt x="1419" y="93"/>
                    <a:pt x="1419" y="93"/>
                  </a:cubicBezTo>
                  <a:cubicBezTo>
                    <a:pt x="1419" y="94"/>
                    <a:pt x="1419" y="94"/>
                    <a:pt x="1419" y="94"/>
                  </a:cubicBezTo>
                  <a:close/>
                  <a:moveTo>
                    <a:pt x="662" y="64"/>
                  </a:moveTo>
                  <a:cubicBezTo>
                    <a:pt x="662" y="64"/>
                    <a:pt x="662" y="64"/>
                    <a:pt x="662" y="63"/>
                  </a:cubicBezTo>
                  <a:cubicBezTo>
                    <a:pt x="662" y="64"/>
                    <a:pt x="662" y="64"/>
                    <a:pt x="662" y="64"/>
                  </a:cubicBezTo>
                  <a:close/>
                  <a:moveTo>
                    <a:pt x="1464" y="18"/>
                  </a:moveTo>
                  <a:cubicBezTo>
                    <a:pt x="1464" y="19"/>
                    <a:pt x="1464" y="19"/>
                    <a:pt x="1464" y="19"/>
                  </a:cubicBezTo>
                  <a:cubicBezTo>
                    <a:pt x="1464" y="19"/>
                    <a:pt x="1464" y="18"/>
                    <a:pt x="1464" y="18"/>
                  </a:cubicBezTo>
                  <a:close/>
                  <a:moveTo>
                    <a:pt x="584" y="94"/>
                  </a:moveTo>
                  <a:cubicBezTo>
                    <a:pt x="583" y="94"/>
                    <a:pt x="583" y="94"/>
                    <a:pt x="583" y="94"/>
                  </a:cubicBezTo>
                  <a:cubicBezTo>
                    <a:pt x="584" y="94"/>
                    <a:pt x="584" y="94"/>
                    <a:pt x="584" y="94"/>
                  </a:cubicBezTo>
                  <a:close/>
                  <a:moveTo>
                    <a:pt x="1363" y="64"/>
                  </a:moveTo>
                  <a:cubicBezTo>
                    <a:pt x="1363" y="64"/>
                    <a:pt x="1363" y="64"/>
                    <a:pt x="1363" y="64"/>
                  </a:cubicBezTo>
                  <a:cubicBezTo>
                    <a:pt x="1363" y="64"/>
                    <a:pt x="1363" y="64"/>
                    <a:pt x="1363" y="64"/>
                  </a:cubicBezTo>
                  <a:close/>
                  <a:moveTo>
                    <a:pt x="755" y="94"/>
                  </a:moveTo>
                  <a:cubicBezTo>
                    <a:pt x="755" y="94"/>
                    <a:pt x="755" y="94"/>
                    <a:pt x="755" y="94"/>
                  </a:cubicBezTo>
                  <a:cubicBezTo>
                    <a:pt x="755" y="94"/>
                    <a:pt x="755" y="94"/>
                    <a:pt x="755" y="94"/>
                  </a:cubicBezTo>
                  <a:close/>
                  <a:moveTo>
                    <a:pt x="967" y="94"/>
                  </a:moveTo>
                  <a:cubicBezTo>
                    <a:pt x="967" y="94"/>
                    <a:pt x="967" y="94"/>
                    <a:pt x="967" y="94"/>
                  </a:cubicBezTo>
                  <a:cubicBezTo>
                    <a:pt x="967" y="94"/>
                    <a:pt x="967" y="94"/>
                    <a:pt x="967" y="94"/>
                  </a:cubicBezTo>
                  <a:close/>
                  <a:moveTo>
                    <a:pt x="1419" y="94"/>
                  </a:moveTo>
                  <a:cubicBezTo>
                    <a:pt x="1419" y="94"/>
                    <a:pt x="1419" y="94"/>
                    <a:pt x="1419" y="94"/>
                  </a:cubicBezTo>
                  <a:cubicBezTo>
                    <a:pt x="1419" y="94"/>
                    <a:pt x="1419" y="94"/>
                    <a:pt x="1419" y="94"/>
                  </a:cubicBezTo>
                  <a:close/>
                  <a:moveTo>
                    <a:pt x="1460" y="94"/>
                  </a:moveTo>
                  <a:cubicBezTo>
                    <a:pt x="1460" y="94"/>
                    <a:pt x="1460" y="94"/>
                    <a:pt x="1460" y="94"/>
                  </a:cubicBezTo>
                  <a:cubicBezTo>
                    <a:pt x="1460" y="94"/>
                    <a:pt x="1460" y="94"/>
                    <a:pt x="1460" y="94"/>
                  </a:cubicBezTo>
                  <a:close/>
                  <a:moveTo>
                    <a:pt x="583" y="94"/>
                  </a:moveTo>
                  <a:cubicBezTo>
                    <a:pt x="583" y="94"/>
                    <a:pt x="583" y="94"/>
                    <a:pt x="583" y="95"/>
                  </a:cubicBezTo>
                  <a:cubicBezTo>
                    <a:pt x="583" y="94"/>
                    <a:pt x="583" y="94"/>
                    <a:pt x="583" y="94"/>
                  </a:cubicBezTo>
                  <a:close/>
                  <a:moveTo>
                    <a:pt x="1378" y="64"/>
                  </a:moveTo>
                  <a:cubicBezTo>
                    <a:pt x="1378" y="64"/>
                    <a:pt x="1378" y="64"/>
                    <a:pt x="1378" y="64"/>
                  </a:cubicBezTo>
                  <a:cubicBezTo>
                    <a:pt x="1378" y="64"/>
                    <a:pt x="1378" y="64"/>
                    <a:pt x="1378" y="64"/>
                  </a:cubicBezTo>
                  <a:close/>
                  <a:moveTo>
                    <a:pt x="696" y="94"/>
                  </a:moveTo>
                  <a:cubicBezTo>
                    <a:pt x="696" y="94"/>
                    <a:pt x="696" y="94"/>
                    <a:pt x="696" y="95"/>
                  </a:cubicBezTo>
                  <a:cubicBezTo>
                    <a:pt x="696" y="94"/>
                    <a:pt x="696" y="94"/>
                    <a:pt x="696" y="94"/>
                  </a:cubicBezTo>
                  <a:close/>
                  <a:moveTo>
                    <a:pt x="1565" y="19"/>
                  </a:moveTo>
                  <a:cubicBezTo>
                    <a:pt x="1565" y="18"/>
                    <a:pt x="1565" y="18"/>
                    <a:pt x="1564" y="18"/>
                  </a:cubicBezTo>
                  <a:cubicBezTo>
                    <a:pt x="1564" y="18"/>
                    <a:pt x="1565" y="19"/>
                    <a:pt x="1565" y="19"/>
                  </a:cubicBezTo>
                  <a:close/>
                  <a:moveTo>
                    <a:pt x="756" y="95"/>
                  </a:moveTo>
                  <a:cubicBezTo>
                    <a:pt x="756" y="94"/>
                    <a:pt x="756" y="94"/>
                    <a:pt x="755" y="94"/>
                  </a:cubicBezTo>
                  <a:cubicBezTo>
                    <a:pt x="755" y="94"/>
                    <a:pt x="756" y="94"/>
                    <a:pt x="756" y="95"/>
                  </a:cubicBezTo>
                  <a:close/>
                  <a:moveTo>
                    <a:pt x="967" y="94"/>
                  </a:moveTo>
                  <a:cubicBezTo>
                    <a:pt x="967" y="94"/>
                    <a:pt x="967" y="94"/>
                    <a:pt x="967" y="94"/>
                  </a:cubicBezTo>
                  <a:cubicBezTo>
                    <a:pt x="967" y="94"/>
                    <a:pt x="967" y="94"/>
                    <a:pt x="967" y="94"/>
                  </a:cubicBezTo>
                  <a:close/>
                  <a:moveTo>
                    <a:pt x="1733" y="19"/>
                  </a:moveTo>
                  <a:cubicBezTo>
                    <a:pt x="1733" y="18"/>
                    <a:pt x="1733" y="18"/>
                    <a:pt x="1732" y="18"/>
                  </a:cubicBezTo>
                  <a:cubicBezTo>
                    <a:pt x="1733" y="18"/>
                    <a:pt x="1733" y="19"/>
                    <a:pt x="1733" y="19"/>
                  </a:cubicBezTo>
                  <a:close/>
                  <a:moveTo>
                    <a:pt x="1216" y="94"/>
                  </a:moveTo>
                  <a:cubicBezTo>
                    <a:pt x="1216" y="94"/>
                    <a:pt x="1215" y="94"/>
                    <a:pt x="1215" y="94"/>
                  </a:cubicBezTo>
                  <a:cubicBezTo>
                    <a:pt x="1215" y="94"/>
                    <a:pt x="1215" y="94"/>
                    <a:pt x="1216" y="94"/>
                  </a:cubicBezTo>
                  <a:close/>
                  <a:moveTo>
                    <a:pt x="1669" y="64"/>
                  </a:moveTo>
                  <a:cubicBezTo>
                    <a:pt x="1669" y="64"/>
                    <a:pt x="1669" y="64"/>
                    <a:pt x="1670" y="64"/>
                  </a:cubicBezTo>
                  <a:cubicBezTo>
                    <a:pt x="1670" y="64"/>
                    <a:pt x="1670" y="64"/>
                    <a:pt x="1669" y="64"/>
                  </a:cubicBezTo>
                  <a:close/>
                  <a:moveTo>
                    <a:pt x="1460" y="94"/>
                  </a:moveTo>
                  <a:cubicBezTo>
                    <a:pt x="1460" y="94"/>
                    <a:pt x="1459" y="94"/>
                    <a:pt x="1459" y="95"/>
                  </a:cubicBezTo>
                  <a:cubicBezTo>
                    <a:pt x="1460" y="94"/>
                    <a:pt x="1460" y="94"/>
                    <a:pt x="1460" y="94"/>
                  </a:cubicBezTo>
                  <a:close/>
                  <a:moveTo>
                    <a:pt x="965" y="19"/>
                  </a:moveTo>
                  <a:cubicBezTo>
                    <a:pt x="965" y="19"/>
                    <a:pt x="965" y="19"/>
                    <a:pt x="965" y="19"/>
                  </a:cubicBezTo>
                  <a:cubicBezTo>
                    <a:pt x="965" y="19"/>
                    <a:pt x="965" y="19"/>
                    <a:pt x="965" y="19"/>
                  </a:cubicBezTo>
                  <a:close/>
                  <a:moveTo>
                    <a:pt x="583" y="95"/>
                  </a:moveTo>
                  <a:cubicBezTo>
                    <a:pt x="583" y="95"/>
                    <a:pt x="583" y="95"/>
                    <a:pt x="583" y="95"/>
                  </a:cubicBezTo>
                  <a:cubicBezTo>
                    <a:pt x="583" y="95"/>
                    <a:pt x="583" y="95"/>
                    <a:pt x="583" y="95"/>
                  </a:cubicBezTo>
                  <a:close/>
                  <a:moveTo>
                    <a:pt x="696" y="95"/>
                  </a:moveTo>
                  <a:cubicBezTo>
                    <a:pt x="696" y="95"/>
                    <a:pt x="696" y="95"/>
                    <a:pt x="696" y="95"/>
                  </a:cubicBezTo>
                  <a:cubicBezTo>
                    <a:pt x="696" y="95"/>
                    <a:pt x="696" y="95"/>
                    <a:pt x="696" y="95"/>
                  </a:cubicBezTo>
                  <a:close/>
                  <a:moveTo>
                    <a:pt x="756" y="95"/>
                  </a:moveTo>
                  <a:cubicBezTo>
                    <a:pt x="756" y="95"/>
                    <a:pt x="756" y="95"/>
                    <a:pt x="756" y="95"/>
                  </a:cubicBezTo>
                  <a:cubicBezTo>
                    <a:pt x="756" y="95"/>
                    <a:pt x="756" y="95"/>
                    <a:pt x="756" y="95"/>
                  </a:cubicBezTo>
                  <a:close/>
                  <a:moveTo>
                    <a:pt x="1381" y="19"/>
                  </a:moveTo>
                  <a:cubicBezTo>
                    <a:pt x="1381" y="19"/>
                    <a:pt x="1381" y="19"/>
                    <a:pt x="1381" y="19"/>
                  </a:cubicBezTo>
                  <a:cubicBezTo>
                    <a:pt x="1381" y="19"/>
                    <a:pt x="1381" y="19"/>
                    <a:pt x="1381" y="19"/>
                  </a:cubicBezTo>
                  <a:close/>
                  <a:moveTo>
                    <a:pt x="1038" y="95"/>
                  </a:moveTo>
                  <a:cubicBezTo>
                    <a:pt x="1038" y="95"/>
                    <a:pt x="1038" y="94"/>
                    <a:pt x="1038" y="94"/>
                  </a:cubicBezTo>
                  <a:cubicBezTo>
                    <a:pt x="1038" y="95"/>
                    <a:pt x="1038" y="95"/>
                    <a:pt x="1038" y="95"/>
                  </a:cubicBezTo>
                  <a:close/>
                  <a:moveTo>
                    <a:pt x="1216" y="95"/>
                  </a:moveTo>
                  <a:cubicBezTo>
                    <a:pt x="1216" y="95"/>
                    <a:pt x="1216" y="95"/>
                    <a:pt x="1216" y="94"/>
                  </a:cubicBezTo>
                  <a:cubicBezTo>
                    <a:pt x="1216" y="95"/>
                    <a:pt x="1216" y="95"/>
                    <a:pt x="1216" y="95"/>
                  </a:cubicBezTo>
                  <a:close/>
                  <a:moveTo>
                    <a:pt x="1459" y="94"/>
                  </a:moveTo>
                  <a:cubicBezTo>
                    <a:pt x="1459" y="95"/>
                    <a:pt x="1459" y="95"/>
                    <a:pt x="1459" y="95"/>
                  </a:cubicBezTo>
                  <a:cubicBezTo>
                    <a:pt x="1459" y="95"/>
                    <a:pt x="1459" y="95"/>
                    <a:pt x="1459" y="94"/>
                  </a:cubicBezTo>
                  <a:close/>
                  <a:moveTo>
                    <a:pt x="1541" y="19"/>
                  </a:moveTo>
                  <a:cubicBezTo>
                    <a:pt x="1540" y="19"/>
                    <a:pt x="1540" y="19"/>
                    <a:pt x="1540" y="19"/>
                  </a:cubicBezTo>
                  <a:cubicBezTo>
                    <a:pt x="1540" y="19"/>
                    <a:pt x="1541" y="19"/>
                    <a:pt x="1541" y="19"/>
                  </a:cubicBezTo>
                  <a:close/>
                  <a:moveTo>
                    <a:pt x="583" y="95"/>
                  </a:moveTo>
                  <a:cubicBezTo>
                    <a:pt x="582" y="95"/>
                    <a:pt x="582" y="95"/>
                    <a:pt x="582" y="95"/>
                  </a:cubicBezTo>
                  <a:cubicBezTo>
                    <a:pt x="582" y="95"/>
                    <a:pt x="583" y="95"/>
                    <a:pt x="583" y="95"/>
                  </a:cubicBezTo>
                  <a:close/>
                  <a:moveTo>
                    <a:pt x="1565" y="19"/>
                  </a:moveTo>
                  <a:cubicBezTo>
                    <a:pt x="1565" y="19"/>
                    <a:pt x="1565" y="19"/>
                    <a:pt x="1565" y="19"/>
                  </a:cubicBezTo>
                  <a:cubicBezTo>
                    <a:pt x="1565" y="19"/>
                    <a:pt x="1565" y="19"/>
                    <a:pt x="1565" y="19"/>
                  </a:cubicBezTo>
                  <a:close/>
                  <a:moveTo>
                    <a:pt x="662" y="64"/>
                  </a:moveTo>
                  <a:cubicBezTo>
                    <a:pt x="662" y="64"/>
                    <a:pt x="662" y="64"/>
                    <a:pt x="662" y="64"/>
                  </a:cubicBezTo>
                  <a:cubicBezTo>
                    <a:pt x="662" y="64"/>
                    <a:pt x="662" y="64"/>
                    <a:pt x="662" y="64"/>
                  </a:cubicBezTo>
                  <a:close/>
                  <a:moveTo>
                    <a:pt x="1709" y="19"/>
                  </a:moveTo>
                  <a:cubicBezTo>
                    <a:pt x="1709" y="19"/>
                    <a:pt x="1708" y="19"/>
                    <a:pt x="1708" y="19"/>
                  </a:cubicBezTo>
                  <a:cubicBezTo>
                    <a:pt x="1709" y="19"/>
                    <a:pt x="1709" y="19"/>
                    <a:pt x="1709" y="19"/>
                  </a:cubicBezTo>
                  <a:close/>
                  <a:moveTo>
                    <a:pt x="756" y="95"/>
                  </a:moveTo>
                  <a:cubicBezTo>
                    <a:pt x="756" y="95"/>
                    <a:pt x="756" y="95"/>
                    <a:pt x="756" y="95"/>
                  </a:cubicBezTo>
                  <a:cubicBezTo>
                    <a:pt x="756" y="95"/>
                    <a:pt x="756" y="95"/>
                    <a:pt x="756" y="95"/>
                  </a:cubicBezTo>
                  <a:close/>
                  <a:moveTo>
                    <a:pt x="968" y="95"/>
                  </a:moveTo>
                  <a:cubicBezTo>
                    <a:pt x="968" y="95"/>
                    <a:pt x="968" y="95"/>
                    <a:pt x="968" y="95"/>
                  </a:cubicBezTo>
                  <a:cubicBezTo>
                    <a:pt x="968" y="95"/>
                    <a:pt x="968" y="95"/>
                    <a:pt x="968" y="95"/>
                  </a:cubicBezTo>
                  <a:close/>
                  <a:moveTo>
                    <a:pt x="1038" y="95"/>
                  </a:moveTo>
                  <a:cubicBezTo>
                    <a:pt x="1038" y="95"/>
                    <a:pt x="1038" y="95"/>
                    <a:pt x="1038" y="95"/>
                  </a:cubicBezTo>
                  <a:cubicBezTo>
                    <a:pt x="1038" y="95"/>
                    <a:pt x="1038" y="95"/>
                    <a:pt x="1038" y="95"/>
                  </a:cubicBezTo>
                  <a:close/>
                  <a:moveTo>
                    <a:pt x="1733" y="19"/>
                  </a:moveTo>
                  <a:cubicBezTo>
                    <a:pt x="1733" y="19"/>
                    <a:pt x="1733" y="19"/>
                    <a:pt x="1733" y="19"/>
                  </a:cubicBezTo>
                  <a:cubicBezTo>
                    <a:pt x="1733" y="19"/>
                    <a:pt x="1733" y="19"/>
                    <a:pt x="1733" y="19"/>
                  </a:cubicBezTo>
                  <a:close/>
                  <a:moveTo>
                    <a:pt x="1216" y="95"/>
                  </a:moveTo>
                  <a:cubicBezTo>
                    <a:pt x="1216" y="95"/>
                    <a:pt x="1216" y="95"/>
                    <a:pt x="1216" y="95"/>
                  </a:cubicBezTo>
                  <a:cubicBezTo>
                    <a:pt x="1216" y="95"/>
                    <a:pt x="1216" y="95"/>
                    <a:pt x="1216" y="95"/>
                  </a:cubicBezTo>
                  <a:close/>
                  <a:moveTo>
                    <a:pt x="1459" y="95"/>
                  </a:moveTo>
                  <a:cubicBezTo>
                    <a:pt x="1459" y="95"/>
                    <a:pt x="1459" y="95"/>
                    <a:pt x="1459" y="95"/>
                  </a:cubicBezTo>
                  <a:cubicBezTo>
                    <a:pt x="1459" y="95"/>
                    <a:pt x="1459" y="95"/>
                    <a:pt x="1459" y="95"/>
                  </a:cubicBezTo>
                  <a:close/>
                  <a:moveTo>
                    <a:pt x="582" y="95"/>
                  </a:moveTo>
                  <a:cubicBezTo>
                    <a:pt x="582" y="95"/>
                    <a:pt x="582" y="95"/>
                    <a:pt x="582" y="96"/>
                  </a:cubicBezTo>
                  <a:cubicBezTo>
                    <a:pt x="582" y="96"/>
                    <a:pt x="582" y="95"/>
                    <a:pt x="582" y="95"/>
                  </a:cubicBezTo>
                  <a:close/>
                  <a:moveTo>
                    <a:pt x="1362" y="64"/>
                  </a:moveTo>
                  <a:cubicBezTo>
                    <a:pt x="1363" y="64"/>
                    <a:pt x="1363" y="64"/>
                    <a:pt x="1363" y="64"/>
                  </a:cubicBezTo>
                  <a:cubicBezTo>
                    <a:pt x="1363" y="64"/>
                    <a:pt x="1363" y="64"/>
                    <a:pt x="1362" y="64"/>
                  </a:cubicBezTo>
                  <a:close/>
                  <a:moveTo>
                    <a:pt x="757" y="96"/>
                  </a:moveTo>
                  <a:cubicBezTo>
                    <a:pt x="757" y="95"/>
                    <a:pt x="757" y="95"/>
                    <a:pt x="756" y="95"/>
                  </a:cubicBezTo>
                  <a:cubicBezTo>
                    <a:pt x="756" y="95"/>
                    <a:pt x="757" y="95"/>
                    <a:pt x="757" y="96"/>
                  </a:cubicBezTo>
                  <a:close/>
                  <a:moveTo>
                    <a:pt x="1378" y="64"/>
                  </a:moveTo>
                  <a:cubicBezTo>
                    <a:pt x="1378" y="64"/>
                    <a:pt x="1378" y="64"/>
                    <a:pt x="1378" y="64"/>
                  </a:cubicBezTo>
                  <a:cubicBezTo>
                    <a:pt x="1378" y="64"/>
                    <a:pt x="1378" y="64"/>
                    <a:pt x="1378" y="64"/>
                  </a:cubicBezTo>
                  <a:close/>
                  <a:moveTo>
                    <a:pt x="1039" y="96"/>
                  </a:moveTo>
                  <a:cubicBezTo>
                    <a:pt x="1039" y="95"/>
                    <a:pt x="1039" y="95"/>
                    <a:pt x="1038" y="95"/>
                  </a:cubicBezTo>
                  <a:cubicBezTo>
                    <a:pt x="1038" y="95"/>
                    <a:pt x="1039" y="96"/>
                    <a:pt x="1039" y="96"/>
                  </a:cubicBezTo>
                  <a:close/>
                  <a:moveTo>
                    <a:pt x="1217" y="96"/>
                  </a:moveTo>
                  <a:cubicBezTo>
                    <a:pt x="1217" y="95"/>
                    <a:pt x="1216" y="95"/>
                    <a:pt x="1216" y="95"/>
                  </a:cubicBezTo>
                  <a:cubicBezTo>
                    <a:pt x="1216" y="95"/>
                    <a:pt x="1216" y="96"/>
                    <a:pt x="1217" y="96"/>
                  </a:cubicBezTo>
                  <a:close/>
                  <a:moveTo>
                    <a:pt x="1421" y="96"/>
                  </a:moveTo>
                  <a:cubicBezTo>
                    <a:pt x="1421" y="95"/>
                    <a:pt x="1420" y="95"/>
                    <a:pt x="1420" y="95"/>
                  </a:cubicBezTo>
                  <a:cubicBezTo>
                    <a:pt x="1420" y="95"/>
                    <a:pt x="1420" y="95"/>
                    <a:pt x="1421" y="96"/>
                  </a:cubicBezTo>
                  <a:close/>
                  <a:moveTo>
                    <a:pt x="1459" y="95"/>
                  </a:moveTo>
                  <a:cubicBezTo>
                    <a:pt x="1459" y="95"/>
                    <a:pt x="1458" y="95"/>
                    <a:pt x="1458" y="96"/>
                  </a:cubicBezTo>
                  <a:cubicBezTo>
                    <a:pt x="1459" y="95"/>
                    <a:pt x="1459" y="95"/>
                    <a:pt x="1459" y="95"/>
                  </a:cubicBezTo>
                  <a:close/>
                  <a:moveTo>
                    <a:pt x="1547" y="64"/>
                  </a:moveTo>
                  <a:cubicBezTo>
                    <a:pt x="1547" y="64"/>
                    <a:pt x="1547" y="64"/>
                    <a:pt x="1547" y="64"/>
                  </a:cubicBezTo>
                  <a:cubicBezTo>
                    <a:pt x="1547" y="64"/>
                    <a:pt x="1547" y="64"/>
                    <a:pt x="1547" y="64"/>
                  </a:cubicBezTo>
                  <a:close/>
                  <a:moveTo>
                    <a:pt x="1685" y="95"/>
                  </a:moveTo>
                  <a:cubicBezTo>
                    <a:pt x="1685" y="95"/>
                    <a:pt x="1685" y="96"/>
                    <a:pt x="1685" y="96"/>
                  </a:cubicBezTo>
                  <a:cubicBezTo>
                    <a:pt x="1685" y="96"/>
                    <a:pt x="1685" y="95"/>
                    <a:pt x="1685" y="95"/>
                  </a:cubicBezTo>
                  <a:close/>
                  <a:moveTo>
                    <a:pt x="582" y="96"/>
                  </a:moveTo>
                  <a:cubicBezTo>
                    <a:pt x="582" y="96"/>
                    <a:pt x="582" y="96"/>
                    <a:pt x="582" y="96"/>
                  </a:cubicBezTo>
                  <a:cubicBezTo>
                    <a:pt x="582" y="96"/>
                    <a:pt x="582" y="96"/>
                    <a:pt x="582" y="96"/>
                  </a:cubicBezTo>
                  <a:close/>
                  <a:moveTo>
                    <a:pt x="1562" y="64"/>
                  </a:moveTo>
                  <a:cubicBezTo>
                    <a:pt x="1562" y="64"/>
                    <a:pt x="1562" y="64"/>
                    <a:pt x="1562" y="64"/>
                  </a:cubicBezTo>
                  <a:cubicBezTo>
                    <a:pt x="1562" y="64"/>
                    <a:pt x="1562" y="64"/>
                    <a:pt x="1562" y="64"/>
                  </a:cubicBezTo>
                  <a:close/>
                  <a:moveTo>
                    <a:pt x="1656" y="64"/>
                  </a:moveTo>
                  <a:cubicBezTo>
                    <a:pt x="1656" y="64"/>
                    <a:pt x="1656" y="64"/>
                    <a:pt x="1655" y="64"/>
                  </a:cubicBezTo>
                  <a:cubicBezTo>
                    <a:pt x="1656" y="64"/>
                    <a:pt x="1656" y="64"/>
                    <a:pt x="1656" y="64"/>
                  </a:cubicBezTo>
                  <a:close/>
                  <a:moveTo>
                    <a:pt x="757" y="96"/>
                  </a:moveTo>
                  <a:cubicBezTo>
                    <a:pt x="757" y="96"/>
                    <a:pt x="757" y="96"/>
                    <a:pt x="757" y="96"/>
                  </a:cubicBezTo>
                  <a:cubicBezTo>
                    <a:pt x="757" y="96"/>
                    <a:pt x="757" y="96"/>
                    <a:pt x="757" y="96"/>
                  </a:cubicBezTo>
                  <a:close/>
                  <a:moveTo>
                    <a:pt x="1039" y="96"/>
                  </a:moveTo>
                  <a:cubicBezTo>
                    <a:pt x="1039" y="96"/>
                    <a:pt x="1039" y="96"/>
                    <a:pt x="1039" y="96"/>
                  </a:cubicBezTo>
                  <a:cubicBezTo>
                    <a:pt x="1039" y="96"/>
                    <a:pt x="1039" y="96"/>
                    <a:pt x="1039" y="96"/>
                  </a:cubicBezTo>
                  <a:close/>
                  <a:moveTo>
                    <a:pt x="1177" y="96"/>
                  </a:moveTo>
                  <a:cubicBezTo>
                    <a:pt x="1177" y="96"/>
                    <a:pt x="1177" y="96"/>
                    <a:pt x="1177" y="96"/>
                  </a:cubicBezTo>
                  <a:cubicBezTo>
                    <a:pt x="1177" y="96"/>
                    <a:pt x="1177" y="96"/>
                    <a:pt x="1177" y="96"/>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82" y="96"/>
                  </a:moveTo>
                  <a:cubicBezTo>
                    <a:pt x="581" y="96"/>
                    <a:pt x="581" y="96"/>
                    <a:pt x="581" y="96"/>
                  </a:cubicBezTo>
                  <a:cubicBezTo>
                    <a:pt x="581" y="96"/>
                    <a:pt x="582" y="96"/>
                    <a:pt x="582" y="96"/>
                  </a:cubicBezTo>
                  <a:close/>
                  <a:moveTo>
                    <a:pt x="540" y="19"/>
                  </a:moveTo>
                  <a:cubicBezTo>
                    <a:pt x="540" y="19"/>
                    <a:pt x="540" y="19"/>
                    <a:pt x="540" y="19"/>
                  </a:cubicBezTo>
                  <a:cubicBezTo>
                    <a:pt x="540" y="19"/>
                    <a:pt x="540" y="19"/>
                    <a:pt x="540" y="19"/>
                  </a:cubicBezTo>
                  <a:close/>
                  <a:moveTo>
                    <a:pt x="695" y="96"/>
                  </a:moveTo>
                  <a:cubicBezTo>
                    <a:pt x="695" y="96"/>
                    <a:pt x="695" y="96"/>
                    <a:pt x="695" y="96"/>
                  </a:cubicBezTo>
                  <a:cubicBezTo>
                    <a:pt x="695" y="96"/>
                    <a:pt x="695" y="96"/>
                    <a:pt x="695" y="96"/>
                  </a:cubicBezTo>
                  <a:close/>
                  <a:moveTo>
                    <a:pt x="757" y="96"/>
                  </a:moveTo>
                  <a:cubicBezTo>
                    <a:pt x="757" y="96"/>
                    <a:pt x="757" y="96"/>
                    <a:pt x="757" y="96"/>
                  </a:cubicBezTo>
                  <a:cubicBezTo>
                    <a:pt x="757" y="96"/>
                    <a:pt x="757" y="96"/>
                    <a:pt x="757" y="96"/>
                  </a:cubicBezTo>
                  <a:close/>
                  <a:moveTo>
                    <a:pt x="1715" y="64"/>
                  </a:moveTo>
                  <a:cubicBezTo>
                    <a:pt x="1715" y="64"/>
                    <a:pt x="1715" y="64"/>
                    <a:pt x="1715" y="64"/>
                  </a:cubicBezTo>
                  <a:cubicBezTo>
                    <a:pt x="1715" y="64"/>
                    <a:pt x="1715" y="64"/>
                    <a:pt x="1715" y="64"/>
                  </a:cubicBezTo>
                  <a:close/>
                  <a:moveTo>
                    <a:pt x="1039" y="96"/>
                  </a:moveTo>
                  <a:cubicBezTo>
                    <a:pt x="1039" y="96"/>
                    <a:pt x="1039" y="96"/>
                    <a:pt x="1039" y="96"/>
                  </a:cubicBezTo>
                  <a:cubicBezTo>
                    <a:pt x="1039" y="96"/>
                    <a:pt x="1039" y="96"/>
                    <a:pt x="1039" y="96"/>
                  </a:cubicBezTo>
                  <a:close/>
                  <a:moveTo>
                    <a:pt x="1730" y="64"/>
                  </a:moveTo>
                  <a:cubicBezTo>
                    <a:pt x="1730" y="64"/>
                    <a:pt x="1730" y="64"/>
                    <a:pt x="1730" y="64"/>
                  </a:cubicBezTo>
                  <a:cubicBezTo>
                    <a:pt x="1730" y="64"/>
                    <a:pt x="1730" y="64"/>
                    <a:pt x="1730" y="64"/>
                  </a:cubicBezTo>
                  <a:close/>
                  <a:moveTo>
                    <a:pt x="1217" y="96"/>
                  </a:moveTo>
                  <a:cubicBezTo>
                    <a:pt x="1217" y="96"/>
                    <a:pt x="1217" y="96"/>
                    <a:pt x="1217" y="96"/>
                  </a:cubicBezTo>
                  <a:cubicBezTo>
                    <a:pt x="1217" y="96"/>
                    <a:pt x="1217" y="96"/>
                    <a:pt x="1217" y="96"/>
                  </a:cubicBezTo>
                  <a:close/>
                  <a:moveTo>
                    <a:pt x="1421" y="96"/>
                  </a:moveTo>
                  <a:cubicBezTo>
                    <a:pt x="1421" y="96"/>
                    <a:pt x="1421" y="96"/>
                    <a:pt x="1421" y="96"/>
                  </a:cubicBezTo>
                  <a:cubicBezTo>
                    <a:pt x="1421" y="96"/>
                    <a:pt x="1421" y="96"/>
                    <a:pt x="1421" y="96"/>
                  </a:cubicBezTo>
                  <a:close/>
                  <a:moveTo>
                    <a:pt x="1458" y="96"/>
                  </a:moveTo>
                  <a:cubicBezTo>
                    <a:pt x="1458" y="96"/>
                    <a:pt x="1458" y="96"/>
                    <a:pt x="1458" y="96"/>
                  </a:cubicBezTo>
                  <a:cubicBezTo>
                    <a:pt x="1458" y="96"/>
                    <a:pt x="1458" y="96"/>
                    <a:pt x="1458" y="96"/>
                  </a:cubicBezTo>
                  <a:close/>
                  <a:moveTo>
                    <a:pt x="554" y="19"/>
                  </a:moveTo>
                  <a:cubicBezTo>
                    <a:pt x="554" y="19"/>
                    <a:pt x="554" y="19"/>
                    <a:pt x="554" y="19"/>
                  </a:cubicBezTo>
                  <a:cubicBezTo>
                    <a:pt x="554" y="19"/>
                    <a:pt x="554" y="19"/>
                    <a:pt x="554" y="19"/>
                  </a:cubicBezTo>
                  <a:close/>
                  <a:moveTo>
                    <a:pt x="663" y="65"/>
                  </a:moveTo>
                  <a:cubicBezTo>
                    <a:pt x="663" y="64"/>
                    <a:pt x="663" y="64"/>
                    <a:pt x="662" y="64"/>
                  </a:cubicBezTo>
                  <a:cubicBezTo>
                    <a:pt x="663" y="64"/>
                    <a:pt x="663" y="64"/>
                    <a:pt x="663" y="65"/>
                  </a:cubicBezTo>
                  <a:close/>
                  <a:moveTo>
                    <a:pt x="965" y="19"/>
                  </a:moveTo>
                  <a:cubicBezTo>
                    <a:pt x="965" y="19"/>
                    <a:pt x="965" y="19"/>
                    <a:pt x="965" y="19"/>
                  </a:cubicBezTo>
                  <a:cubicBezTo>
                    <a:pt x="965" y="19"/>
                    <a:pt x="965" y="19"/>
                    <a:pt x="965" y="19"/>
                  </a:cubicBezTo>
                  <a:close/>
                  <a:moveTo>
                    <a:pt x="695" y="96"/>
                  </a:moveTo>
                  <a:cubicBezTo>
                    <a:pt x="694" y="96"/>
                    <a:pt x="694" y="96"/>
                    <a:pt x="694" y="97"/>
                  </a:cubicBezTo>
                  <a:cubicBezTo>
                    <a:pt x="695" y="97"/>
                    <a:pt x="695" y="96"/>
                    <a:pt x="695" y="96"/>
                  </a:cubicBezTo>
                  <a:close/>
                  <a:moveTo>
                    <a:pt x="1356" y="19"/>
                  </a:moveTo>
                  <a:cubicBezTo>
                    <a:pt x="1356" y="19"/>
                    <a:pt x="1355" y="19"/>
                    <a:pt x="1355" y="19"/>
                  </a:cubicBezTo>
                  <a:cubicBezTo>
                    <a:pt x="1356" y="19"/>
                    <a:pt x="1356" y="19"/>
                    <a:pt x="1356" y="19"/>
                  </a:cubicBezTo>
                  <a:close/>
                  <a:moveTo>
                    <a:pt x="758" y="97"/>
                  </a:moveTo>
                  <a:cubicBezTo>
                    <a:pt x="758" y="96"/>
                    <a:pt x="758" y="96"/>
                    <a:pt x="757" y="96"/>
                  </a:cubicBezTo>
                  <a:cubicBezTo>
                    <a:pt x="758" y="96"/>
                    <a:pt x="758" y="96"/>
                    <a:pt x="758" y="97"/>
                  </a:cubicBezTo>
                  <a:close/>
                  <a:moveTo>
                    <a:pt x="1381" y="19"/>
                  </a:moveTo>
                  <a:cubicBezTo>
                    <a:pt x="1381" y="19"/>
                    <a:pt x="1381" y="19"/>
                    <a:pt x="1381" y="19"/>
                  </a:cubicBezTo>
                  <a:cubicBezTo>
                    <a:pt x="1381" y="19"/>
                    <a:pt x="1381" y="19"/>
                    <a:pt x="1381" y="19"/>
                  </a:cubicBezTo>
                  <a:close/>
                  <a:moveTo>
                    <a:pt x="1218" y="97"/>
                  </a:moveTo>
                  <a:cubicBezTo>
                    <a:pt x="1218" y="96"/>
                    <a:pt x="1218" y="96"/>
                    <a:pt x="1217" y="96"/>
                  </a:cubicBezTo>
                  <a:cubicBezTo>
                    <a:pt x="1217" y="96"/>
                    <a:pt x="1217" y="97"/>
                    <a:pt x="1218" y="97"/>
                  </a:cubicBezTo>
                  <a:close/>
                  <a:moveTo>
                    <a:pt x="1422" y="97"/>
                  </a:moveTo>
                  <a:cubicBezTo>
                    <a:pt x="1422" y="96"/>
                    <a:pt x="1421" y="96"/>
                    <a:pt x="1421" y="96"/>
                  </a:cubicBezTo>
                  <a:cubicBezTo>
                    <a:pt x="1421" y="96"/>
                    <a:pt x="1421" y="97"/>
                    <a:pt x="1422" y="97"/>
                  </a:cubicBezTo>
                  <a:close/>
                  <a:moveTo>
                    <a:pt x="1458" y="96"/>
                  </a:moveTo>
                  <a:cubicBezTo>
                    <a:pt x="1458" y="96"/>
                    <a:pt x="1457" y="96"/>
                    <a:pt x="1457" y="97"/>
                  </a:cubicBezTo>
                  <a:cubicBezTo>
                    <a:pt x="1458" y="97"/>
                    <a:pt x="1458" y="96"/>
                    <a:pt x="1458" y="96"/>
                  </a:cubicBezTo>
                  <a:close/>
                  <a:moveTo>
                    <a:pt x="581" y="97"/>
                  </a:moveTo>
                  <a:cubicBezTo>
                    <a:pt x="580" y="97"/>
                    <a:pt x="580" y="97"/>
                    <a:pt x="580" y="97"/>
                  </a:cubicBezTo>
                  <a:cubicBezTo>
                    <a:pt x="580" y="97"/>
                    <a:pt x="580" y="97"/>
                    <a:pt x="581" y="97"/>
                  </a:cubicBezTo>
                  <a:close/>
                  <a:moveTo>
                    <a:pt x="1395" y="19"/>
                  </a:moveTo>
                  <a:cubicBezTo>
                    <a:pt x="1395" y="19"/>
                    <a:pt x="1395" y="19"/>
                    <a:pt x="1395" y="20"/>
                  </a:cubicBezTo>
                  <a:cubicBezTo>
                    <a:pt x="1395" y="19"/>
                    <a:pt x="1395" y="19"/>
                    <a:pt x="1395" y="19"/>
                  </a:cubicBezTo>
                  <a:close/>
                  <a:moveTo>
                    <a:pt x="1546" y="65"/>
                  </a:moveTo>
                  <a:cubicBezTo>
                    <a:pt x="1546" y="65"/>
                    <a:pt x="1547" y="64"/>
                    <a:pt x="1547" y="64"/>
                  </a:cubicBezTo>
                  <a:cubicBezTo>
                    <a:pt x="1546" y="64"/>
                    <a:pt x="1546" y="64"/>
                    <a:pt x="1546" y="65"/>
                  </a:cubicBezTo>
                  <a:close/>
                  <a:moveTo>
                    <a:pt x="758" y="97"/>
                  </a:moveTo>
                  <a:cubicBezTo>
                    <a:pt x="758" y="97"/>
                    <a:pt x="758" y="97"/>
                    <a:pt x="758" y="97"/>
                  </a:cubicBezTo>
                  <a:cubicBezTo>
                    <a:pt x="758" y="97"/>
                    <a:pt x="758" y="97"/>
                    <a:pt x="758" y="97"/>
                  </a:cubicBezTo>
                  <a:close/>
                  <a:moveTo>
                    <a:pt x="1562" y="64"/>
                  </a:moveTo>
                  <a:cubicBezTo>
                    <a:pt x="1562" y="64"/>
                    <a:pt x="1561" y="64"/>
                    <a:pt x="1561" y="65"/>
                  </a:cubicBezTo>
                  <a:cubicBezTo>
                    <a:pt x="1562" y="65"/>
                    <a:pt x="1562" y="64"/>
                    <a:pt x="1562" y="64"/>
                  </a:cubicBezTo>
                  <a:close/>
                  <a:moveTo>
                    <a:pt x="1083" y="97"/>
                  </a:moveTo>
                  <a:cubicBezTo>
                    <a:pt x="1083" y="97"/>
                    <a:pt x="1083" y="97"/>
                    <a:pt x="1083" y="97"/>
                  </a:cubicBezTo>
                  <a:cubicBezTo>
                    <a:pt x="1083" y="97"/>
                    <a:pt x="1083" y="97"/>
                    <a:pt x="1083" y="97"/>
                  </a:cubicBezTo>
                  <a:close/>
                  <a:moveTo>
                    <a:pt x="1178" y="97"/>
                  </a:moveTo>
                  <a:cubicBezTo>
                    <a:pt x="1178" y="97"/>
                    <a:pt x="1178" y="97"/>
                    <a:pt x="1178" y="97"/>
                  </a:cubicBezTo>
                  <a:cubicBezTo>
                    <a:pt x="1178" y="97"/>
                    <a:pt x="1178" y="97"/>
                    <a:pt x="1178" y="97"/>
                  </a:cubicBezTo>
                  <a:close/>
                  <a:moveTo>
                    <a:pt x="1656" y="65"/>
                  </a:moveTo>
                  <a:cubicBezTo>
                    <a:pt x="1656" y="64"/>
                    <a:pt x="1656" y="64"/>
                    <a:pt x="1656" y="64"/>
                  </a:cubicBezTo>
                  <a:cubicBezTo>
                    <a:pt x="1656" y="64"/>
                    <a:pt x="1656" y="65"/>
                    <a:pt x="1656" y="65"/>
                  </a:cubicBezTo>
                  <a:close/>
                  <a:moveTo>
                    <a:pt x="1422" y="97"/>
                  </a:moveTo>
                  <a:cubicBezTo>
                    <a:pt x="1422" y="97"/>
                    <a:pt x="1422" y="97"/>
                    <a:pt x="1422" y="97"/>
                  </a:cubicBezTo>
                  <a:cubicBezTo>
                    <a:pt x="1422" y="97"/>
                    <a:pt x="1422" y="97"/>
                    <a:pt x="1422" y="97"/>
                  </a:cubicBezTo>
                  <a:close/>
                  <a:moveTo>
                    <a:pt x="1457" y="97"/>
                  </a:moveTo>
                  <a:cubicBezTo>
                    <a:pt x="1457" y="97"/>
                    <a:pt x="1457" y="97"/>
                    <a:pt x="1457" y="97"/>
                  </a:cubicBezTo>
                  <a:cubicBezTo>
                    <a:pt x="1457" y="97"/>
                    <a:pt x="1457" y="97"/>
                    <a:pt x="1457" y="97"/>
                  </a:cubicBezTo>
                  <a:close/>
                  <a:moveTo>
                    <a:pt x="1714" y="65"/>
                  </a:moveTo>
                  <a:cubicBezTo>
                    <a:pt x="1715" y="65"/>
                    <a:pt x="1715" y="64"/>
                    <a:pt x="1715" y="64"/>
                  </a:cubicBezTo>
                  <a:cubicBezTo>
                    <a:pt x="1715" y="64"/>
                    <a:pt x="1714" y="64"/>
                    <a:pt x="1714" y="65"/>
                  </a:cubicBezTo>
                  <a:close/>
                  <a:moveTo>
                    <a:pt x="580" y="97"/>
                  </a:moveTo>
                  <a:cubicBezTo>
                    <a:pt x="580" y="97"/>
                    <a:pt x="580" y="97"/>
                    <a:pt x="580" y="97"/>
                  </a:cubicBezTo>
                  <a:cubicBezTo>
                    <a:pt x="580" y="97"/>
                    <a:pt x="580" y="97"/>
                    <a:pt x="580" y="97"/>
                  </a:cubicBezTo>
                  <a:close/>
                  <a:moveTo>
                    <a:pt x="1730" y="64"/>
                  </a:moveTo>
                  <a:cubicBezTo>
                    <a:pt x="1730" y="64"/>
                    <a:pt x="1730" y="64"/>
                    <a:pt x="1730" y="65"/>
                  </a:cubicBezTo>
                  <a:cubicBezTo>
                    <a:pt x="1730" y="65"/>
                    <a:pt x="1730" y="64"/>
                    <a:pt x="1730" y="64"/>
                  </a:cubicBezTo>
                  <a:close/>
                  <a:moveTo>
                    <a:pt x="554" y="19"/>
                  </a:moveTo>
                  <a:cubicBezTo>
                    <a:pt x="554" y="19"/>
                    <a:pt x="554" y="19"/>
                    <a:pt x="554" y="20"/>
                  </a:cubicBezTo>
                  <a:cubicBezTo>
                    <a:pt x="554" y="20"/>
                    <a:pt x="554" y="20"/>
                    <a:pt x="554" y="19"/>
                  </a:cubicBezTo>
                  <a:close/>
                  <a:moveTo>
                    <a:pt x="972" y="97"/>
                  </a:moveTo>
                  <a:cubicBezTo>
                    <a:pt x="972" y="97"/>
                    <a:pt x="971" y="97"/>
                    <a:pt x="971" y="97"/>
                  </a:cubicBezTo>
                  <a:cubicBezTo>
                    <a:pt x="971" y="97"/>
                    <a:pt x="971" y="97"/>
                    <a:pt x="972" y="97"/>
                  </a:cubicBezTo>
                  <a:close/>
                  <a:moveTo>
                    <a:pt x="1041" y="97"/>
                  </a:moveTo>
                  <a:cubicBezTo>
                    <a:pt x="1041" y="97"/>
                    <a:pt x="1041" y="97"/>
                    <a:pt x="1040" y="97"/>
                  </a:cubicBezTo>
                  <a:cubicBezTo>
                    <a:pt x="1041" y="97"/>
                    <a:pt x="1041" y="97"/>
                    <a:pt x="1041" y="97"/>
                  </a:cubicBezTo>
                  <a:close/>
                  <a:moveTo>
                    <a:pt x="1083" y="97"/>
                  </a:moveTo>
                  <a:cubicBezTo>
                    <a:pt x="1083" y="97"/>
                    <a:pt x="1083" y="97"/>
                    <a:pt x="1082" y="97"/>
                  </a:cubicBezTo>
                  <a:cubicBezTo>
                    <a:pt x="1083" y="97"/>
                    <a:pt x="1083" y="97"/>
                    <a:pt x="1083" y="97"/>
                  </a:cubicBezTo>
                  <a:close/>
                  <a:moveTo>
                    <a:pt x="964" y="20"/>
                  </a:moveTo>
                  <a:cubicBezTo>
                    <a:pt x="964" y="20"/>
                    <a:pt x="965" y="20"/>
                    <a:pt x="965" y="19"/>
                  </a:cubicBezTo>
                  <a:cubicBezTo>
                    <a:pt x="964" y="19"/>
                    <a:pt x="964" y="20"/>
                    <a:pt x="964" y="20"/>
                  </a:cubicBezTo>
                  <a:close/>
                  <a:moveTo>
                    <a:pt x="663" y="65"/>
                  </a:moveTo>
                  <a:cubicBezTo>
                    <a:pt x="663" y="65"/>
                    <a:pt x="663" y="65"/>
                    <a:pt x="663" y="65"/>
                  </a:cubicBezTo>
                  <a:cubicBezTo>
                    <a:pt x="663" y="65"/>
                    <a:pt x="663" y="65"/>
                    <a:pt x="663" y="65"/>
                  </a:cubicBezTo>
                  <a:close/>
                  <a:moveTo>
                    <a:pt x="1382" y="20"/>
                  </a:moveTo>
                  <a:cubicBezTo>
                    <a:pt x="1382" y="19"/>
                    <a:pt x="1381" y="19"/>
                    <a:pt x="1381" y="19"/>
                  </a:cubicBezTo>
                  <a:cubicBezTo>
                    <a:pt x="1381" y="20"/>
                    <a:pt x="1381" y="20"/>
                    <a:pt x="1382" y="20"/>
                  </a:cubicBezTo>
                  <a:close/>
                  <a:moveTo>
                    <a:pt x="1457" y="97"/>
                  </a:moveTo>
                  <a:cubicBezTo>
                    <a:pt x="1457" y="97"/>
                    <a:pt x="1457" y="97"/>
                    <a:pt x="1457" y="97"/>
                  </a:cubicBezTo>
                  <a:cubicBezTo>
                    <a:pt x="1457" y="97"/>
                    <a:pt x="1457" y="97"/>
                    <a:pt x="1457" y="97"/>
                  </a:cubicBezTo>
                  <a:close/>
                  <a:moveTo>
                    <a:pt x="1361" y="65"/>
                  </a:moveTo>
                  <a:cubicBezTo>
                    <a:pt x="1362" y="65"/>
                    <a:pt x="1362" y="65"/>
                    <a:pt x="1362" y="65"/>
                  </a:cubicBezTo>
                  <a:cubicBezTo>
                    <a:pt x="1362" y="65"/>
                    <a:pt x="1361" y="65"/>
                    <a:pt x="1361" y="65"/>
                  </a:cubicBezTo>
                  <a:close/>
                  <a:moveTo>
                    <a:pt x="1377" y="65"/>
                  </a:moveTo>
                  <a:cubicBezTo>
                    <a:pt x="1377" y="65"/>
                    <a:pt x="1377" y="65"/>
                    <a:pt x="1377" y="65"/>
                  </a:cubicBezTo>
                  <a:cubicBezTo>
                    <a:pt x="1377" y="65"/>
                    <a:pt x="1377" y="65"/>
                    <a:pt x="1377" y="65"/>
                  </a:cubicBezTo>
                  <a:close/>
                  <a:moveTo>
                    <a:pt x="583" y="20"/>
                  </a:moveTo>
                  <a:cubicBezTo>
                    <a:pt x="583" y="20"/>
                    <a:pt x="583" y="20"/>
                    <a:pt x="582" y="20"/>
                  </a:cubicBezTo>
                  <a:cubicBezTo>
                    <a:pt x="582" y="20"/>
                    <a:pt x="583" y="20"/>
                    <a:pt x="583" y="20"/>
                  </a:cubicBezTo>
                  <a:close/>
                  <a:moveTo>
                    <a:pt x="718" y="98"/>
                  </a:moveTo>
                  <a:cubicBezTo>
                    <a:pt x="718" y="97"/>
                    <a:pt x="718" y="97"/>
                    <a:pt x="718" y="97"/>
                  </a:cubicBezTo>
                  <a:cubicBezTo>
                    <a:pt x="718" y="97"/>
                    <a:pt x="718" y="98"/>
                    <a:pt x="718" y="98"/>
                  </a:cubicBezTo>
                  <a:close/>
                  <a:moveTo>
                    <a:pt x="800" y="97"/>
                  </a:moveTo>
                  <a:cubicBezTo>
                    <a:pt x="800" y="97"/>
                    <a:pt x="800" y="97"/>
                    <a:pt x="800" y="98"/>
                  </a:cubicBezTo>
                  <a:cubicBezTo>
                    <a:pt x="800" y="98"/>
                    <a:pt x="800" y="98"/>
                    <a:pt x="800" y="97"/>
                  </a:cubicBezTo>
                  <a:close/>
                  <a:moveTo>
                    <a:pt x="964" y="20"/>
                  </a:moveTo>
                  <a:cubicBezTo>
                    <a:pt x="964" y="20"/>
                    <a:pt x="964" y="20"/>
                    <a:pt x="964" y="20"/>
                  </a:cubicBezTo>
                  <a:cubicBezTo>
                    <a:pt x="964" y="20"/>
                    <a:pt x="964" y="20"/>
                    <a:pt x="964" y="20"/>
                  </a:cubicBezTo>
                  <a:close/>
                  <a:moveTo>
                    <a:pt x="1041" y="98"/>
                  </a:moveTo>
                  <a:cubicBezTo>
                    <a:pt x="1041" y="97"/>
                    <a:pt x="1041" y="97"/>
                    <a:pt x="1041" y="97"/>
                  </a:cubicBezTo>
                  <a:cubicBezTo>
                    <a:pt x="1041" y="97"/>
                    <a:pt x="1041" y="98"/>
                    <a:pt x="1041" y="98"/>
                  </a:cubicBezTo>
                  <a:close/>
                  <a:moveTo>
                    <a:pt x="1382" y="20"/>
                  </a:moveTo>
                  <a:cubicBezTo>
                    <a:pt x="1382" y="20"/>
                    <a:pt x="1382" y="20"/>
                    <a:pt x="1382" y="20"/>
                  </a:cubicBezTo>
                  <a:cubicBezTo>
                    <a:pt x="1382" y="20"/>
                    <a:pt x="1382" y="20"/>
                    <a:pt x="1382" y="20"/>
                  </a:cubicBezTo>
                  <a:close/>
                  <a:moveTo>
                    <a:pt x="1219" y="98"/>
                  </a:moveTo>
                  <a:cubicBezTo>
                    <a:pt x="1219" y="97"/>
                    <a:pt x="1219" y="97"/>
                    <a:pt x="1219" y="97"/>
                  </a:cubicBezTo>
                  <a:cubicBezTo>
                    <a:pt x="1219" y="97"/>
                    <a:pt x="1219" y="98"/>
                    <a:pt x="1219" y="98"/>
                  </a:cubicBezTo>
                  <a:close/>
                  <a:moveTo>
                    <a:pt x="1260" y="97"/>
                  </a:moveTo>
                  <a:cubicBezTo>
                    <a:pt x="1260" y="97"/>
                    <a:pt x="1260" y="97"/>
                    <a:pt x="1260" y="98"/>
                  </a:cubicBezTo>
                  <a:cubicBezTo>
                    <a:pt x="1260" y="98"/>
                    <a:pt x="1260" y="97"/>
                    <a:pt x="1260" y="97"/>
                  </a:cubicBezTo>
                  <a:close/>
                  <a:moveTo>
                    <a:pt x="1670" y="65"/>
                  </a:moveTo>
                  <a:cubicBezTo>
                    <a:pt x="1670" y="65"/>
                    <a:pt x="1670" y="65"/>
                    <a:pt x="1670" y="65"/>
                  </a:cubicBezTo>
                  <a:cubicBezTo>
                    <a:pt x="1670" y="65"/>
                    <a:pt x="1670" y="65"/>
                    <a:pt x="1670" y="65"/>
                  </a:cubicBezTo>
                  <a:close/>
                  <a:moveTo>
                    <a:pt x="1539" y="20"/>
                  </a:moveTo>
                  <a:cubicBezTo>
                    <a:pt x="1539" y="20"/>
                    <a:pt x="1539" y="20"/>
                    <a:pt x="1538" y="20"/>
                  </a:cubicBezTo>
                  <a:cubicBezTo>
                    <a:pt x="1539" y="20"/>
                    <a:pt x="1539" y="20"/>
                    <a:pt x="1539" y="20"/>
                  </a:cubicBezTo>
                  <a:close/>
                  <a:moveTo>
                    <a:pt x="579" y="98"/>
                  </a:moveTo>
                  <a:cubicBezTo>
                    <a:pt x="579" y="98"/>
                    <a:pt x="579" y="98"/>
                    <a:pt x="579" y="98"/>
                  </a:cubicBezTo>
                  <a:cubicBezTo>
                    <a:pt x="579" y="98"/>
                    <a:pt x="579" y="98"/>
                    <a:pt x="579" y="98"/>
                  </a:cubicBezTo>
                  <a:close/>
                  <a:moveTo>
                    <a:pt x="1681" y="20"/>
                  </a:moveTo>
                  <a:cubicBezTo>
                    <a:pt x="1681" y="20"/>
                    <a:pt x="1681" y="20"/>
                    <a:pt x="1682" y="20"/>
                  </a:cubicBezTo>
                  <a:cubicBezTo>
                    <a:pt x="1681" y="20"/>
                    <a:pt x="1681" y="20"/>
                    <a:pt x="1681" y="20"/>
                  </a:cubicBezTo>
                  <a:close/>
                  <a:moveTo>
                    <a:pt x="693" y="98"/>
                  </a:moveTo>
                  <a:cubicBezTo>
                    <a:pt x="693" y="98"/>
                    <a:pt x="693" y="98"/>
                    <a:pt x="693" y="98"/>
                  </a:cubicBezTo>
                  <a:cubicBezTo>
                    <a:pt x="693" y="98"/>
                    <a:pt x="693" y="98"/>
                    <a:pt x="693" y="98"/>
                  </a:cubicBezTo>
                  <a:close/>
                  <a:moveTo>
                    <a:pt x="719" y="98"/>
                  </a:moveTo>
                  <a:cubicBezTo>
                    <a:pt x="719" y="98"/>
                    <a:pt x="719" y="98"/>
                    <a:pt x="718" y="98"/>
                  </a:cubicBezTo>
                  <a:cubicBezTo>
                    <a:pt x="719" y="98"/>
                    <a:pt x="719" y="98"/>
                    <a:pt x="719" y="98"/>
                  </a:cubicBezTo>
                  <a:close/>
                  <a:moveTo>
                    <a:pt x="760" y="98"/>
                  </a:moveTo>
                  <a:cubicBezTo>
                    <a:pt x="760" y="98"/>
                    <a:pt x="759" y="98"/>
                    <a:pt x="759" y="98"/>
                  </a:cubicBezTo>
                  <a:cubicBezTo>
                    <a:pt x="759" y="98"/>
                    <a:pt x="759" y="98"/>
                    <a:pt x="760" y="98"/>
                  </a:cubicBezTo>
                  <a:close/>
                  <a:moveTo>
                    <a:pt x="585" y="65"/>
                  </a:moveTo>
                  <a:cubicBezTo>
                    <a:pt x="585" y="65"/>
                    <a:pt x="586" y="65"/>
                    <a:pt x="586" y="65"/>
                  </a:cubicBezTo>
                  <a:cubicBezTo>
                    <a:pt x="586" y="65"/>
                    <a:pt x="586" y="65"/>
                    <a:pt x="585" y="65"/>
                  </a:cubicBezTo>
                  <a:close/>
                  <a:moveTo>
                    <a:pt x="1707" y="20"/>
                  </a:moveTo>
                  <a:cubicBezTo>
                    <a:pt x="1707" y="20"/>
                    <a:pt x="1707" y="20"/>
                    <a:pt x="1707" y="20"/>
                  </a:cubicBezTo>
                  <a:cubicBezTo>
                    <a:pt x="1707" y="20"/>
                    <a:pt x="1707" y="20"/>
                    <a:pt x="1707" y="20"/>
                  </a:cubicBezTo>
                  <a:close/>
                  <a:moveTo>
                    <a:pt x="1021" y="98"/>
                  </a:moveTo>
                  <a:cubicBezTo>
                    <a:pt x="1021" y="98"/>
                    <a:pt x="1021" y="98"/>
                    <a:pt x="1020" y="98"/>
                  </a:cubicBezTo>
                  <a:cubicBezTo>
                    <a:pt x="1021" y="98"/>
                    <a:pt x="1021" y="98"/>
                    <a:pt x="1021" y="98"/>
                  </a:cubicBezTo>
                  <a:close/>
                  <a:moveTo>
                    <a:pt x="663" y="65"/>
                  </a:moveTo>
                  <a:cubicBezTo>
                    <a:pt x="663" y="65"/>
                    <a:pt x="663" y="65"/>
                    <a:pt x="663" y="65"/>
                  </a:cubicBezTo>
                  <a:cubicBezTo>
                    <a:pt x="663" y="65"/>
                    <a:pt x="663" y="65"/>
                    <a:pt x="663" y="65"/>
                  </a:cubicBezTo>
                  <a:close/>
                  <a:moveTo>
                    <a:pt x="964" y="21"/>
                  </a:moveTo>
                  <a:cubicBezTo>
                    <a:pt x="964" y="20"/>
                    <a:pt x="964" y="20"/>
                    <a:pt x="964" y="20"/>
                  </a:cubicBezTo>
                  <a:cubicBezTo>
                    <a:pt x="964" y="20"/>
                    <a:pt x="964" y="20"/>
                    <a:pt x="964" y="21"/>
                  </a:cubicBezTo>
                  <a:close/>
                  <a:moveTo>
                    <a:pt x="1179" y="98"/>
                  </a:moveTo>
                  <a:cubicBezTo>
                    <a:pt x="1179" y="98"/>
                    <a:pt x="1179" y="98"/>
                    <a:pt x="1178" y="98"/>
                  </a:cubicBezTo>
                  <a:cubicBezTo>
                    <a:pt x="1178" y="98"/>
                    <a:pt x="1178" y="98"/>
                    <a:pt x="1179" y="98"/>
                  </a:cubicBezTo>
                  <a:close/>
                  <a:moveTo>
                    <a:pt x="1219" y="98"/>
                  </a:moveTo>
                  <a:cubicBezTo>
                    <a:pt x="1219" y="98"/>
                    <a:pt x="1219" y="98"/>
                    <a:pt x="1219" y="98"/>
                  </a:cubicBezTo>
                  <a:cubicBezTo>
                    <a:pt x="1219" y="98"/>
                    <a:pt x="1219" y="98"/>
                    <a:pt x="1219" y="98"/>
                  </a:cubicBezTo>
                  <a:close/>
                  <a:moveTo>
                    <a:pt x="1382" y="20"/>
                  </a:moveTo>
                  <a:cubicBezTo>
                    <a:pt x="1382" y="20"/>
                    <a:pt x="1382" y="20"/>
                    <a:pt x="1382" y="20"/>
                  </a:cubicBezTo>
                  <a:cubicBezTo>
                    <a:pt x="1382" y="20"/>
                    <a:pt x="1382" y="20"/>
                    <a:pt x="1382" y="20"/>
                  </a:cubicBezTo>
                  <a:close/>
                  <a:moveTo>
                    <a:pt x="1423" y="98"/>
                  </a:moveTo>
                  <a:cubicBezTo>
                    <a:pt x="1423" y="98"/>
                    <a:pt x="1423" y="98"/>
                    <a:pt x="1423" y="98"/>
                  </a:cubicBezTo>
                  <a:cubicBezTo>
                    <a:pt x="1423" y="98"/>
                    <a:pt x="1423" y="98"/>
                    <a:pt x="1423" y="98"/>
                  </a:cubicBezTo>
                  <a:close/>
                  <a:moveTo>
                    <a:pt x="1361" y="65"/>
                  </a:moveTo>
                  <a:cubicBezTo>
                    <a:pt x="1361" y="65"/>
                    <a:pt x="1361" y="65"/>
                    <a:pt x="1361" y="65"/>
                  </a:cubicBezTo>
                  <a:cubicBezTo>
                    <a:pt x="1361" y="65"/>
                    <a:pt x="1361" y="65"/>
                    <a:pt x="1361" y="65"/>
                  </a:cubicBezTo>
                  <a:close/>
                  <a:moveTo>
                    <a:pt x="1377" y="65"/>
                  </a:moveTo>
                  <a:cubicBezTo>
                    <a:pt x="1376" y="65"/>
                    <a:pt x="1376" y="65"/>
                    <a:pt x="1376" y="65"/>
                  </a:cubicBezTo>
                  <a:cubicBezTo>
                    <a:pt x="1376" y="65"/>
                    <a:pt x="1377" y="65"/>
                    <a:pt x="1377" y="65"/>
                  </a:cubicBezTo>
                  <a:close/>
                  <a:moveTo>
                    <a:pt x="693" y="98"/>
                  </a:moveTo>
                  <a:cubicBezTo>
                    <a:pt x="692" y="98"/>
                    <a:pt x="692" y="98"/>
                    <a:pt x="692" y="98"/>
                  </a:cubicBezTo>
                  <a:cubicBezTo>
                    <a:pt x="692" y="98"/>
                    <a:pt x="693" y="98"/>
                    <a:pt x="693" y="98"/>
                  </a:cubicBezTo>
                  <a:close/>
                  <a:moveTo>
                    <a:pt x="1545" y="65"/>
                  </a:moveTo>
                  <a:cubicBezTo>
                    <a:pt x="1545" y="65"/>
                    <a:pt x="1546" y="65"/>
                    <a:pt x="1546" y="65"/>
                  </a:cubicBezTo>
                  <a:cubicBezTo>
                    <a:pt x="1545" y="65"/>
                    <a:pt x="1545" y="65"/>
                    <a:pt x="1545" y="65"/>
                  </a:cubicBezTo>
                  <a:close/>
                  <a:moveTo>
                    <a:pt x="1561" y="65"/>
                  </a:moveTo>
                  <a:cubicBezTo>
                    <a:pt x="1561" y="65"/>
                    <a:pt x="1560" y="65"/>
                    <a:pt x="1560" y="65"/>
                  </a:cubicBezTo>
                  <a:cubicBezTo>
                    <a:pt x="1561" y="65"/>
                    <a:pt x="1561" y="65"/>
                    <a:pt x="1561" y="65"/>
                  </a:cubicBezTo>
                  <a:close/>
                  <a:moveTo>
                    <a:pt x="1416" y="21"/>
                  </a:moveTo>
                  <a:cubicBezTo>
                    <a:pt x="1417" y="20"/>
                    <a:pt x="1417" y="20"/>
                    <a:pt x="1417" y="20"/>
                  </a:cubicBezTo>
                  <a:cubicBezTo>
                    <a:pt x="1417" y="20"/>
                    <a:pt x="1416" y="20"/>
                    <a:pt x="1416" y="21"/>
                  </a:cubicBezTo>
                  <a:close/>
                  <a:moveTo>
                    <a:pt x="1713" y="65"/>
                  </a:moveTo>
                  <a:cubicBezTo>
                    <a:pt x="1714" y="65"/>
                    <a:pt x="1714" y="65"/>
                    <a:pt x="1714" y="65"/>
                  </a:cubicBezTo>
                  <a:cubicBezTo>
                    <a:pt x="1714" y="65"/>
                    <a:pt x="1713" y="65"/>
                    <a:pt x="1713" y="65"/>
                  </a:cubicBezTo>
                  <a:close/>
                  <a:moveTo>
                    <a:pt x="1020" y="98"/>
                  </a:moveTo>
                  <a:cubicBezTo>
                    <a:pt x="1020" y="98"/>
                    <a:pt x="1020" y="98"/>
                    <a:pt x="1020" y="98"/>
                  </a:cubicBezTo>
                  <a:cubicBezTo>
                    <a:pt x="1020" y="98"/>
                    <a:pt x="1020" y="98"/>
                    <a:pt x="1020" y="98"/>
                  </a:cubicBezTo>
                  <a:close/>
                  <a:moveTo>
                    <a:pt x="1042" y="98"/>
                  </a:moveTo>
                  <a:cubicBezTo>
                    <a:pt x="1042" y="98"/>
                    <a:pt x="1042" y="98"/>
                    <a:pt x="1042" y="98"/>
                  </a:cubicBezTo>
                  <a:cubicBezTo>
                    <a:pt x="1042" y="98"/>
                    <a:pt x="1042" y="98"/>
                    <a:pt x="1042" y="98"/>
                  </a:cubicBezTo>
                  <a:close/>
                  <a:moveTo>
                    <a:pt x="1081" y="98"/>
                  </a:moveTo>
                  <a:cubicBezTo>
                    <a:pt x="1081" y="98"/>
                    <a:pt x="1081" y="98"/>
                    <a:pt x="1081" y="98"/>
                  </a:cubicBezTo>
                  <a:cubicBezTo>
                    <a:pt x="1081" y="98"/>
                    <a:pt x="1081" y="98"/>
                    <a:pt x="1081" y="98"/>
                  </a:cubicBezTo>
                  <a:close/>
                  <a:moveTo>
                    <a:pt x="1179" y="98"/>
                  </a:moveTo>
                  <a:cubicBezTo>
                    <a:pt x="1179" y="98"/>
                    <a:pt x="1179" y="98"/>
                    <a:pt x="1179" y="98"/>
                  </a:cubicBezTo>
                  <a:cubicBezTo>
                    <a:pt x="1179" y="98"/>
                    <a:pt x="1179" y="98"/>
                    <a:pt x="1179" y="98"/>
                  </a:cubicBezTo>
                  <a:close/>
                  <a:moveTo>
                    <a:pt x="1729" y="65"/>
                  </a:moveTo>
                  <a:cubicBezTo>
                    <a:pt x="1729" y="65"/>
                    <a:pt x="1729" y="65"/>
                    <a:pt x="1729" y="65"/>
                  </a:cubicBezTo>
                  <a:cubicBezTo>
                    <a:pt x="1729" y="65"/>
                    <a:pt x="1729" y="65"/>
                    <a:pt x="1729" y="65"/>
                  </a:cubicBezTo>
                  <a:close/>
                  <a:moveTo>
                    <a:pt x="1259" y="98"/>
                  </a:moveTo>
                  <a:cubicBezTo>
                    <a:pt x="1259" y="98"/>
                    <a:pt x="1259" y="98"/>
                    <a:pt x="1259" y="98"/>
                  </a:cubicBezTo>
                  <a:cubicBezTo>
                    <a:pt x="1259" y="98"/>
                    <a:pt x="1259" y="98"/>
                    <a:pt x="1259" y="98"/>
                  </a:cubicBezTo>
                  <a:close/>
                  <a:moveTo>
                    <a:pt x="1424" y="98"/>
                  </a:moveTo>
                  <a:cubicBezTo>
                    <a:pt x="1424" y="98"/>
                    <a:pt x="1424" y="98"/>
                    <a:pt x="1423" y="98"/>
                  </a:cubicBezTo>
                  <a:cubicBezTo>
                    <a:pt x="1423" y="98"/>
                    <a:pt x="1424" y="98"/>
                    <a:pt x="1424" y="98"/>
                  </a:cubicBezTo>
                  <a:close/>
                  <a:moveTo>
                    <a:pt x="1456" y="98"/>
                  </a:moveTo>
                  <a:cubicBezTo>
                    <a:pt x="1455" y="98"/>
                    <a:pt x="1455" y="98"/>
                    <a:pt x="1455" y="98"/>
                  </a:cubicBezTo>
                  <a:cubicBezTo>
                    <a:pt x="1455" y="98"/>
                    <a:pt x="1456" y="98"/>
                    <a:pt x="1456" y="98"/>
                  </a:cubicBezTo>
                  <a:close/>
                  <a:moveTo>
                    <a:pt x="553" y="20"/>
                  </a:moveTo>
                  <a:cubicBezTo>
                    <a:pt x="553" y="20"/>
                    <a:pt x="552" y="21"/>
                    <a:pt x="552" y="21"/>
                  </a:cubicBezTo>
                  <a:cubicBezTo>
                    <a:pt x="553" y="21"/>
                    <a:pt x="553" y="21"/>
                    <a:pt x="553" y="20"/>
                  </a:cubicBezTo>
                  <a:close/>
                  <a:moveTo>
                    <a:pt x="578" y="98"/>
                  </a:moveTo>
                  <a:cubicBezTo>
                    <a:pt x="578" y="98"/>
                    <a:pt x="578" y="98"/>
                    <a:pt x="578" y="99"/>
                  </a:cubicBezTo>
                  <a:cubicBezTo>
                    <a:pt x="578" y="99"/>
                    <a:pt x="578" y="99"/>
                    <a:pt x="578" y="98"/>
                  </a:cubicBezTo>
                  <a:close/>
                  <a:moveTo>
                    <a:pt x="1354" y="20"/>
                  </a:moveTo>
                  <a:cubicBezTo>
                    <a:pt x="1353" y="20"/>
                    <a:pt x="1353" y="20"/>
                    <a:pt x="1353" y="21"/>
                  </a:cubicBezTo>
                  <a:cubicBezTo>
                    <a:pt x="1353" y="21"/>
                    <a:pt x="1354" y="21"/>
                    <a:pt x="1354" y="20"/>
                  </a:cubicBezTo>
                  <a:close/>
                  <a:moveTo>
                    <a:pt x="1383" y="21"/>
                  </a:moveTo>
                  <a:cubicBezTo>
                    <a:pt x="1383" y="21"/>
                    <a:pt x="1382" y="20"/>
                    <a:pt x="1382" y="20"/>
                  </a:cubicBezTo>
                  <a:cubicBezTo>
                    <a:pt x="1382" y="21"/>
                    <a:pt x="1382" y="21"/>
                    <a:pt x="1383" y="21"/>
                  </a:cubicBezTo>
                  <a:close/>
                  <a:moveTo>
                    <a:pt x="798" y="98"/>
                  </a:moveTo>
                  <a:cubicBezTo>
                    <a:pt x="798" y="98"/>
                    <a:pt x="798" y="98"/>
                    <a:pt x="798" y="99"/>
                  </a:cubicBezTo>
                  <a:cubicBezTo>
                    <a:pt x="798" y="99"/>
                    <a:pt x="798" y="99"/>
                    <a:pt x="798" y="98"/>
                  </a:cubicBezTo>
                  <a:close/>
                  <a:moveTo>
                    <a:pt x="664" y="66"/>
                  </a:moveTo>
                  <a:cubicBezTo>
                    <a:pt x="664" y="65"/>
                    <a:pt x="664" y="65"/>
                    <a:pt x="663" y="65"/>
                  </a:cubicBezTo>
                  <a:cubicBezTo>
                    <a:pt x="664" y="65"/>
                    <a:pt x="664" y="66"/>
                    <a:pt x="664" y="66"/>
                  </a:cubicBezTo>
                  <a:close/>
                  <a:moveTo>
                    <a:pt x="1020" y="98"/>
                  </a:moveTo>
                  <a:cubicBezTo>
                    <a:pt x="1019" y="98"/>
                    <a:pt x="1019" y="98"/>
                    <a:pt x="1019" y="99"/>
                  </a:cubicBezTo>
                  <a:cubicBezTo>
                    <a:pt x="1019" y="99"/>
                    <a:pt x="1019" y="99"/>
                    <a:pt x="1020" y="98"/>
                  </a:cubicBezTo>
                  <a:close/>
                  <a:moveTo>
                    <a:pt x="1538" y="20"/>
                  </a:moveTo>
                  <a:cubicBezTo>
                    <a:pt x="1538" y="20"/>
                    <a:pt x="1537" y="21"/>
                    <a:pt x="1537" y="21"/>
                  </a:cubicBezTo>
                  <a:cubicBezTo>
                    <a:pt x="1538" y="21"/>
                    <a:pt x="1538" y="21"/>
                    <a:pt x="1538" y="20"/>
                  </a:cubicBezTo>
                  <a:close/>
                  <a:moveTo>
                    <a:pt x="1706" y="20"/>
                  </a:moveTo>
                  <a:cubicBezTo>
                    <a:pt x="1706" y="20"/>
                    <a:pt x="1706" y="21"/>
                    <a:pt x="1706" y="21"/>
                  </a:cubicBezTo>
                  <a:cubicBezTo>
                    <a:pt x="1706" y="21"/>
                    <a:pt x="1706" y="21"/>
                    <a:pt x="1706" y="20"/>
                  </a:cubicBezTo>
                  <a:close/>
                  <a:moveTo>
                    <a:pt x="1179" y="99"/>
                  </a:moveTo>
                  <a:cubicBezTo>
                    <a:pt x="1179" y="99"/>
                    <a:pt x="1179" y="98"/>
                    <a:pt x="1179" y="98"/>
                  </a:cubicBezTo>
                  <a:cubicBezTo>
                    <a:pt x="1179" y="99"/>
                    <a:pt x="1179" y="99"/>
                    <a:pt x="1179" y="99"/>
                  </a:cubicBezTo>
                  <a:close/>
                  <a:moveTo>
                    <a:pt x="1220" y="99"/>
                  </a:moveTo>
                  <a:cubicBezTo>
                    <a:pt x="1220" y="98"/>
                    <a:pt x="1220" y="98"/>
                    <a:pt x="1220" y="98"/>
                  </a:cubicBezTo>
                  <a:cubicBezTo>
                    <a:pt x="1220" y="99"/>
                    <a:pt x="1220" y="99"/>
                    <a:pt x="1220" y="99"/>
                  </a:cubicBezTo>
                  <a:close/>
                  <a:moveTo>
                    <a:pt x="552" y="21"/>
                  </a:moveTo>
                  <a:cubicBezTo>
                    <a:pt x="552" y="21"/>
                    <a:pt x="552" y="21"/>
                    <a:pt x="552" y="21"/>
                  </a:cubicBezTo>
                  <a:cubicBezTo>
                    <a:pt x="552" y="21"/>
                    <a:pt x="552" y="21"/>
                    <a:pt x="552" y="21"/>
                  </a:cubicBezTo>
                  <a:close/>
                  <a:moveTo>
                    <a:pt x="1545" y="66"/>
                  </a:moveTo>
                  <a:cubicBezTo>
                    <a:pt x="1545" y="66"/>
                    <a:pt x="1545" y="66"/>
                    <a:pt x="1545" y="65"/>
                  </a:cubicBezTo>
                  <a:cubicBezTo>
                    <a:pt x="1545" y="65"/>
                    <a:pt x="1545" y="65"/>
                    <a:pt x="1545" y="66"/>
                  </a:cubicBezTo>
                  <a:close/>
                  <a:moveTo>
                    <a:pt x="1560" y="65"/>
                  </a:moveTo>
                  <a:cubicBezTo>
                    <a:pt x="1560" y="65"/>
                    <a:pt x="1560" y="65"/>
                    <a:pt x="1560" y="66"/>
                  </a:cubicBezTo>
                  <a:cubicBezTo>
                    <a:pt x="1560" y="66"/>
                    <a:pt x="1560" y="65"/>
                    <a:pt x="1560" y="65"/>
                  </a:cubicBezTo>
                  <a:close/>
                  <a:moveTo>
                    <a:pt x="1713" y="66"/>
                  </a:moveTo>
                  <a:cubicBezTo>
                    <a:pt x="1713" y="66"/>
                    <a:pt x="1713" y="66"/>
                    <a:pt x="1713" y="65"/>
                  </a:cubicBezTo>
                  <a:cubicBezTo>
                    <a:pt x="1713" y="65"/>
                    <a:pt x="1713" y="65"/>
                    <a:pt x="1713" y="66"/>
                  </a:cubicBezTo>
                  <a:close/>
                  <a:moveTo>
                    <a:pt x="584" y="21"/>
                  </a:moveTo>
                  <a:cubicBezTo>
                    <a:pt x="584" y="21"/>
                    <a:pt x="584" y="21"/>
                    <a:pt x="584" y="21"/>
                  </a:cubicBezTo>
                  <a:cubicBezTo>
                    <a:pt x="584" y="21"/>
                    <a:pt x="584" y="21"/>
                    <a:pt x="584" y="21"/>
                  </a:cubicBezTo>
                  <a:close/>
                  <a:moveTo>
                    <a:pt x="980" y="21"/>
                  </a:moveTo>
                  <a:cubicBezTo>
                    <a:pt x="980" y="21"/>
                    <a:pt x="979" y="21"/>
                    <a:pt x="979" y="21"/>
                  </a:cubicBezTo>
                  <a:cubicBezTo>
                    <a:pt x="980" y="21"/>
                    <a:pt x="980" y="21"/>
                    <a:pt x="980" y="21"/>
                  </a:cubicBezTo>
                  <a:close/>
                  <a:moveTo>
                    <a:pt x="692" y="99"/>
                  </a:moveTo>
                  <a:cubicBezTo>
                    <a:pt x="691" y="99"/>
                    <a:pt x="691" y="99"/>
                    <a:pt x="691" y="99"/>
                  </a:cubicBezTo>
                  <a:cubicBezTo>
                    <a:pt x="691" y="99"/>
                    <a:pt x="691" y="99"/>
                    <a:pt x="692" y="99"/>
                  </a:cubicBezTo>
                  <a:close/>
                  <a:moveTo>
                    <a:pt x="1383" y="21"/>
                  </a:moveTo>
                  <a:cubicBezTo>
                    <a:pt x="1383" y="21"/>
                    <a:pt x="1383" y="21"/>
                    <a:pt x="1383" y="21"/>
                  </a:cubicBezTo>
                  <a:cubicBezTo>
                    <a:pt x="1383" y="21"/>
                    <a:pt x="1383" y="21"/>
                    <a:pt x="1383" y="21"/>
                  </a:cubicBezTo>
                  <a:close/>
                  <a:moveTo>
                    <a:pt x="664" y="66"/>
                  </a:moveTo>
                  <a:cubicBezTo>
                    <a:pt x="664" y="66"/>
                    <a:pt x="664" y="66"/>
                    <a:pt x="664" y="66"/>
                  </a:cubicBezTo>
                  <a:cubicBezTo>
                    <a:pt x="664" y="66"/>
                    <a:pt x="664" y="66"/>
                    <a:pt x="664" y="66"/>
                  </a:cubicBezTo>
                  <a:close/>
                  <a:moveTo>
                    <a:pt x="1416" y="21"/>
                  </a:moveTo>
                  <a:cubicBezTo>
                    <a:pt x="1416" y="21"/>
                    <a:pt x="1416" y="21"/>
                    <a:pt x="1416" y="21"/>
                  </a:cubicBezTo>
                  <a:cubicBezTo>
                    <a:pt x="1416" y="21"/>
                    <a:pt x="1416" y="21"/>
                    <a:pt x="1416" y="21"/>
                  </a:cubicBezTo>
                  <a:close/>
                  <a:moveTo>
                    <a:pt x="1567" y="21"/>
                  </a:moveTo>
                  <a:cubicBezTo>
                    <a:pt x="1567" y="21"/>
                    <a:pt x="1567" y="21"/>
                    <a:pt x="1567" y="21"/>
                  </a:cubicBezTo>
                  <a:cubicBezTo>
                    <a:pt x="1567" y="21"/>
                    <a:pt x="1567" y="21"/>
                    <a:pt x="1567" y="21"/>
                  </a:cubicBezTo>
                  <a:close/>
                  <a:moveTo>
                    <a:pt x="1043" y="99"/>
                  </a:moveTo>
                  <a:cubicBezTo>
                    <a:pt x="1043" y="99"/>
                    <a:pt x="1043" y="99"/>
                    <a:pt x="1043" y="99"/>
                  </a:cubicBezTo>
                  <a:cubicBezTo>
                    <a:pt x="1043" y="99"/>
                    <a:pt x="1043" y="99"/>
                    <a:pt x="1043" y="99"/>
                  </a:cubicBezTo>
                  <a:close/>
                  <a:moveTo>
                    <a:pt x="1376" y="66"/>
                  </a:moveTo>
                  <a:cubicBezTo>
                    <a:pt x="1375" y="66"/>
                    <a:pt x="1375" y="66"/>
                    <a:pt x="1375" y="66"/>
                  </a:cubicBezTo>
                  <a:cubicBezTo>
                    <a:pt x="1375" y="66"/>
                    <a:pt x="1376" y="66"/>
                    <a:pt x="1376" y="66"/>
                  </a:cubicBezTo>
                  <a:close/>
                  <a:moveTo>
                    <a:pt x="1180" y="99"/>
                  </a:moveTo>
                  <a:cubicBezTo>
                    <a:pt x="1180" y="99"/>
                    <a:pt x="1180" y="99"/>
                    <a:pt x="1179" y="99"/>
                  </a:cubicBezTo>
                  <a:cubicBezTo>
                    <a:pt x="1179" y="99"/>
                    <a:pt x="1180" y="99"/>
                    <a:pt x="1180" y="99"/>
                  </a:cubicBezTo>
                  <a:close/>
                  <a:moveTo>
                    <a:pt x="1544" y="66"/>
                  </a:moveTo>
                  <a:cubicBezTo>
                    <a:pt x="1545" y="66"/>
                    <a:pt x="1545" y="66"/>
                    <a:pt x="1545" y="66"/>
                  </a:cubicBezTo>
                  <a:cubicBezTo>
                    <a:pt x="1545" y="66"/>
                    <a:pt x="1545" y="66"/>
                    <a:pt x="1544" y="66"/>
                  </a:cubicBezTo>
                  <a:close/>
                  <a:moveTo>
                    <a:pt x="1735" y="21"/>
                  </a:moveTo>
                  <a:cubicBezTo>
                    <a:pt x="1735" y="21"/>
                    <a:pt x="1735" y="21"/>
                    <a:pt x="1735" y="21"/>
                  </a:cubicBezTo>
                  <a:cubicBezTo>
                    <a:pt x="1735" y="21"/>
                    <a:pt x="1735" y="21"/>
                    <a:pt x="1735" y="21"/>
                  </a:cubicBezTo>
                  <a:close/>
                  <a:moveTo>
                    <a:pt x="1455" y="99"/>
                  </a:moveTo>
                  <a:cubicBezTo>
                    <a:pt x="1454" y="99"/>
                    <a:pt x="1454" y="99"/>
                    <a:pt x="1454" y="99"/>
                  </a:cubicBezTo>
                  <a:cubicBezTo>
                    <a:pt x="1454" y="99"/>
                    <a:pt x="1455" y="99"/>
                    <a:pt x="1455" y="99"/>
                  </a:cubicBezTo>
                  <a:close/>
                  <a:moveTo>
                    <a:pt x="552" y="21"/>
                  </a:moveTo>
                  <a:cubicBezTo>
                    <a:pt x="552" y="21"/>
                    <a:pt x="552" y="21"/>
                    <a:pt x="552" y="21"/>
                  </a:cubicBezTo>
                  <a:cubicBezTo>
                    <a:pt x="552" y="21"/>
                    <a:pt x="552" y="21"/>
                    <a:pt x="552" y="21"/>
                  </a:cubicBezTo>
                  <a:close/>
                  <a:moveTo>
                    <a:pt x="585" y="21"/>
                  </a:moveTo>
                  <a:cubicBezTo>
                    <a:pt x="585" y="21"/>
                    <a:pt x="585" y="21"/>
                    <a:pt x="584" y="21"/>
                  </a:cubicBezTo>
                  <a:cubicBezTo>
                    <a:pt x="585" y="21"/>
                    <a:pt x="585" y="21"/>
                    <a:pt x="585" y="21"/>
                  </a:cubicBezTo>
                  <a:close/>
                  <a:moveTo>
                    <a:pt x="659" y="99"/>
                  </a:moveTo>
                  <a:cubicBezTo>
                    <a:pt x="659" y="99"/>
                    <a:pt x="658" y="99"/>
                    <a:pt x="658" y="99"/>
                  </a:cubicBezTo>
                  <a:cubicBezTo>
                    <a:pt x="658" y="99"/>
                    <a:pt x="658" y="99"/>
                    <a:pt x="659" y="99"/>
                  </a:cubicBezTo>
                  <a:close/>
                  <a:moveTo>
                    <a:pt x="1353" y="21"/>
                  </a:moveTo>
                  <a:cubicBezTo>
                    <a:pt x="1352" y="21"/>
                    <a:pt x="1352" y="21"/>
                    <a:pt x="1352" y="21"/>
                  </a:cubicBezTo>
                  <a:cubicBezTo>
                    <a:pt x="1352" y="21"/>
                    <a:pt x="1353" y="21"/>
                    <a:pt x="1353" y="21"/>
                  </a:cubicBezTo>
                  <a:close/>
                  <a:moveTo>
                    <a:pt x="762" y="99"/>
                  </a:moveTo>
                  <a:cubicBezTo>
                    <a:pt x="762" y="99"/>
                    <a:pt x="761" y="99"/>
                    <a:pt x="761" y="99"/>
                  </a:cubicBezTo>
                  <a:cubicBezTo>
                    <a:pt x="761" y="99"/>
                    <a:pt x="762" y="99"/>
                    <a:pt x="762" y="99"/>
                  </a:cubicBezTo>
                  <a:close/>
                  <a:moveTo>
                    <a:pt x="1498" y="21"/>
                  </a:moveTo>
                  <a:cubicBezTo>
                    <a:pt x="1498" y="21"/>
                    <a:pt x="1498" y="21"/>
                    <a:pt x="1498" y="21"/>
                  </a:cubicBezTo>
                  <a:cubicBezTo>
                    <a:pt x="1498" y="21"/>
                    <a:pt x="1498" y="21"/>
                    <a:pt x="1498" y="21"/>
                  </a:cubicBezTo>
                  <a:close/>
                  <a:moveTo>
                    <a:pt x="665" y="66"/>
                  </a:moveTo>
                  <a:cubicBezTo>
                    <a:pt x="665" y="66"/>
                    <a:pt x="664" y="66"/>
                    <a:pt x="664" y="66"/>
                  </a:cubicBezTo>
                  <a:cubicBezTo>
                    <a:pt x="664" y="66"/>
                    <a:pt x="664" y="66"/>
                    <a:pt x="665" y="66"/>
                  </a:cubicBezTo>
                  <a:close/>
                  <a:moveTo>
                    <a:pt x="1567" y="21"/>
                  </a:moveTo>
                  <a:cubicBezTo>
                    <a:pt x="1567" y="21"/>
                    <a:pt x="1567" y="21"/>
                    <a:pt x="1567" y="21"/>
                  </a:cubicBezTo>
                  <a:cubicBezTo>
                    <a:pt x="1567" y="21"/>
                    <a:pt x="1567" y="21"/>
                    <a:pt x="1567" y="21"/>
                  </a:cubicBezTo>
                  <a:close/>
                  <a:moveTo>
                    <a:pt x="1736" y="21"/>
                  </a:moveTo>
                  <a:cubicBezTo>
                    <a:pt x="1736" y="21"/>
                    <a:pt x="1735" y="21"/>
                    <a:pt x="1735" y="21"/>
                  </a:cubicBezTo>
                  <a:cubicBezTo>
                    <a:pt x="1735" y="21"/>
                    <a:pt x="1735" y="21"/>
                    <a:pt x="1736" y="21"/>
                  </a:cubicBezTo>
                  <a:close/>
                  <a:moveTo>
                    <a:pt x="1360" y="66"/>
                  </a:moveTo>
                  <a:cubicBezTo>
                    <a:pt x="1360" y="66"/>
                    <a:pt x="1360" y="66"/>
                    <a:pt x="1360" y="66"/>
                  </a:cubicBezTo>
                  <a:cubicBezTo>
                    <a:pt x="1360" y="66"/>
                    <a:pt x="1360" y="66"/>
                    <a:pt x="1360" y="66"/>
                  </a:cubicBezTo>
                  <a:close/>
                  <a:moveTo>
                    <a:pt x="1180" y="99"/>
                  </a:moveTo>
                  <a:cubicBezTo>
                    <a:pt x="1180" y="99"/>
                    <a:pt x="1180" y="99"/>
                    <a:pt x="1180" y="99"/>
                  </a:cubicBezTo>
                  <a:cubicBezTo>
                    <a:pt x="1180" y="99"/>
                    <a:pt x="1180" y="99"/>
                    <a:pt x="1180" y="99"/>
                  </a:cubicBezTo>
                  <a:close/>
                  <a:moveTo>
                    <a:pt x="962" y="22"/>
                  </a:moveTo>
                  <a:cubicBezTo>
                    <a:pt x="963" y="22"/>
                    <a:pt x="963" y="22"/>
                    <a:pt x="963" y="21"/>
                  </a:cubicBezTo>
                  <a:cubicBezTo>
                    <a:pt x="963" y="22"/>
                    <a:pt x="963" y="22"/>
                    <a:pt x="962" y="22"/>
                  </a:cubicBezTo>
                  <a:close/>
                  <a:moveTo>
                    <a:pt x="1021" y="22"/>
                  </a:moveTo>
                  <a:cubicBezTo>
                    <a:pt x="1021" y="22"/>
                    <a:pt x="1021" y="21"/>
                    <a:pt x="1021" y="21"/>
                  </a:cubicBezTo>
                  <a:cubicBezTo>
                    <a:pt x="1021" y="21"/>
                    <a:pt x="1021" y="21"/>
                    <a:pt x="1021" y="21"/>
                  </a:cubicBezTo>
                  <a:cubicBezTo>
                    <a:pt x="1021" y="21"/>
                    <a:pt x="1021" y="22"/>
                    <a:pt x="1021" y="22"/>
                  </a:cubicBezTo>
                  <a:close/>
                  <a:moveTo>
                    <a:pt x="1425" y="99"/>
                  </a:moveTo>
                  <a:cubicBezTo>
                    <a:pt x="1425" y="99"/>
                    <a:pt x="1425" y="99"/>
                    <a:pt x="1425" y="99"/>
                  </a:cubicBezTo>
                  <a:cubicBezTo>
                    <a:pt x="1425" y="99"/>
                    <a:pt x="1425" y="99"/>
                    <a:pt x="1425" y="99"/>
                  </a:cubicBezTo>
                  <a:close/>
                  <a:moveTo>
                    <a:pt x="1352" y="21"/>
                  </a:moveTo>
                  <a:cubicBezTo>
                    <a:pt x="1352" y="21"/>
                    <a:pt x="1352" y="21"/>
                    <a:pt x="1352" y="22"/>
                  </a:cubicBezTo>
                  <a:cubicBezTo>
                    <a:pt x="1352" y="22"/>
                    <a:pt x="1352" y="22"/>
                    <a:pt x="1352" y="21"/>
                  </a:cubicBezTo>
                  <a:close/>
                  <a:moveTo>
                    <a:pt x="1559" y="66"/>
                  </a:moveTo>
                  <a:cubicBezTo>
                    <a:pt x="1559" y="66"/>
                    <a:pt x="1559" y="66"/>
                    <a:pt x="1559" y="66"/>
                  </a:cubicBezTo>
                  <a:cubicBezTo>
                    <a:pt x="1559" y="66"/>
                    <a:pt x="1559" y="66"/>
                    <a:pt x="1559" y="66"/>
                  </a:cubicBezTo>
                  <a:close/>
                  <a:moveTo>
                    <a:pt x="1728" y="66"/>
                  </a:moveTo>
                  <a:cubicBezTo>
                    <a:pt x="1727" y="66"/>
                    <a:pt x="1727" y="66"/>
                    <a:pt x="1727" y="66"/>
                  </a:cubicBezTo>
                  <a:cubicBezTo>
                    <a:pt x="1727" y="66"/>
                    <a:pt x="1727" y="66"/>
                    <a:pt x="1728" y="66"/>
                  </a:cubicBezTo>
                  <a:close/>
                  <a:moveTo>
                    <a:pt x="1536" y="21"/>
                  </a:moveTo>
                  <a:cubicBezTo>
                    <a:pt x="1536" y="21"/>
                    <a:pt x="1536" y="22"/>
                    <a:pt x="1536" y="22"/>
                  </a:cubicBezTo>
                  <a:cubicBezTo>
                    <a:pt x="1536" y="22"/>
                    <a:pt x="1536" y="22"/>
                    <a:pt x="1536" y="21"/>
                  </a:cubicBezTo>
                  <a:close/>
                  <a:moveTo>
                    <a:pt x="1705" y="21"/>
                  </a:moveTo>
                  <a:cubicBezTo>
                    <a:pt x="1704" y="21"/>
                    <a:pt x="1704" y="22"/>
                    <a:pt x="1704" y="22"/>
                  </a:cubicBezTo>
                  <a:cubicBezTo>
                    <a:pt x="1704" y="22"/>
                    <a:pt x="1704" y="22"/>
                    <a:pt x="1705" y="21"/>
                  </a:cubicBezTo>
                  <a:close/>
                  <a:moveTo>
                    <a:pt x="962" y="22"/>
                  </a:moveTo>
                  <a:cubicBezTo>
                    <a:pt x="962" y="22"/>
                    <a:pt x="962" y="22"/>
                    <a:pt x="962" y="22"/>
                  </a:cubicBezTo>
                  <a:cubicBezTo>
                    <a:pt x="962" y="22"/>
                    <a:pt x="962" y="22"/>
                    <a:pt x="962" y="22"/>
                  </a:cubicBezTo>
                  <a:close/>
                  <a:moveTo>
                    <a:pt x="691" y="99"/>
                  </a:moveTo>
                  <a:cubicBezTo>
                    <a:pt x="690" y="99"/>
                    <a:pt x="690" y="100"/>
                    <a:pt x="690" y="100"/>
                  </a:cubicBezTo>
                  <a:cubicBezTo>
                    <a:pt x="690" y="100"/>
                    <a:pt x="690" y="100"/>
                    <a:pt x="691" y="99"/>
                  </a:cubicBezTo>
                  <a:close/>
                  <a:moveTo>
                    <a:pt x="721" y="100"/>
                  </a:moveTo>
                  <a:cubicBezTo>
                    <a:pt x="721" y="100"/>
                    <a:pt x="720" y="99"/>
                    <a:pt x="720" y="99"/>
                  </a:cubicBezTo>
                  <a:cubicBezTo>
                    <a:pt x="720" y="100"/>
                    <a:pt x="720" y="100"/>
                    <a:pt x="721" y="100"/>
                  </a:cubicBezTo>
                  <a:close/>
                  <a:moveTo>
                    <a:pt x="1359" y="67"/>
                  </a:moveTo>
                  <a:cubicBezTo>
                    <a:pt x="1359" y="67"/>
                    <a:pt x="1360" y="67"/>
                    <a:pt x="1360" y="66"/>
                  </a:cubicBezTo>
                  <a:cubicBezTo>
                    <a:pt x="1360" y="66"/>
                    <a:pt x="1359" y="67"/>
                    <a:pt x="1359" y="67"/>
                  </a:cubicBezTo>
                  <a:close/>
                  <a:moveTo>
                    <a:pt x="1375" y="66"/>
                  </a:moveTo>
                  <a:cubicBezTo>
                    <a:pt x="1374" y="66"/>
                    <a:pt x="1374" y="66"/>
                    <a:pt x="1374" y="67"/>
                  </a:cubicBezTo>
                  <a:cubicBezTo>
                    <a:pt x="1374" y="67"/>
                    <a:pt x="1374" y="66"/>
                    <a:pt x="1375" y="66"/>
                  </a:cubicBezTo>
                  <a:close/>
                  <a:moveTo>
                    <a:pt x="1384" y="22"/>
                  </a:moveTo>
                  <a:cubicBezTo>
                    <a:pt x="1384" y="22"/>
                    <a:pt x="1384" y="22"/>
                    <a:pt x="1383" y="22"/>
                  </a:cubicBezTo>
                  <a:cubicBezTo>
                    <a:pt x="1383" y="22"/>
                    <a:pt x="1383" y="22"/>
                    <a:pt x="1384" y="22"/>
                  </a:cubicBezTo>
                  <a:close/>
                  <a:moveTo>
                    <a:pt x="1543" y="67"/>
                  </a:moveTo>
                  <a:cubicBezTo>
                    <a:pt x="1544" y="67"/>
                    <a:pt x="1544" y="67"/>
                    <a:pt x="1544" y="66"/>
                  </a:cubicBezTo>
                  <a:cubicBezTo>
                    <a:pt x="1544" y="66"/>
                    <a:pt x="1544" y="67"/>
                    <a:pt x="1543" y="67"/>
                  </a:cubicBezTo>
                  <a:close/>
                  <a:moveTo>
                    <a:pt x="1536" y="22"/>
                  </a:moveTo>
                  <a:cubicBezTo>
                    <a:pt x="1536" y="22"/>
                    <a:pt x="1536" y="22"/>
                    <a:pt x="1536" y="22"/>
                  </a:cubicBezTo>
                  <a:cubicBezTo>
                    <a:pt x="1536" y="22"/>
                    <a:pt x="1536" y="22"/>
                    <a:pt x="1536" y="22"/>
                  </a:cubicBezTo>
                  <a:close/>
                  <a:moveTo>
                    <a:pt x="1671" y="66"/>
                  </a:moveTo>
                  <a:cubicBezTo>
                    <a:pt x="1671" y="67"/>
                    <a:pt x="1671" y="67"/>
                    <a:pt x="1671" y="67"/>
                  </a:cubicBezTo>
                  <a:cubicBezTo>
                    <a:pt x="1671" y="67"/>
                    <a:pt x="1671" y="66"/>
                    <a:pt x="1671" y="66"/>
                  </a:cubicBezTo>
                  <a:close/>
                  <a:moveTo>
                    <a:pt x="1180" y="100"/>
                  </a:moveTo>
                  <a:cubicBezTo>
                    <a:pt x="1180" y="99"/>
                    <a:pt x="1180" y="99"/>
                    <a:pt x="1180" y="99"/>
                  </a:cubicBezTo>
                  <a:cubicBezTo>
                    <a:pt x="1180" y="100"/>
                    <a:pt x="1180" y="100"/>
                    <a:pt x="1180" y="100"/>
                  </a:cubicBezTo>
                  <a:close/>
                  <a:moveTo>
                    <a:pt x="1222" y="100"/>
                  </a:moveTo>
                  <a:cubicBezTo>
                    <a:pt x="1222" y="100"/>
                    <a:pt x="1222" y="99"/>
                    <a:pt x="1222" y="99"/>
                  </a:cubicBezTo>
                  <a:cubicBezTo>
                    <a:pt x="1222" y="100"/>
                    <a:pt x="1222" y="100"/>
                    <a:pt x="1222" y="100"/>
                  </a:cubicBezTo>
                  <a:close/>
                  <a:moveTo>
                    <a:pt x="1712" y="67"/>
                  </a:moveTo>
                  <a:cubicBezTo>
                    <a:pt x="1712" y="67"/>
                    <a:pt x="1712" y="67"/>
                    <a:pt x="1712" y="66"/>
                  </a:cubicBezTo>
                  <a:cubicBezTo>
                    <a:pt x="1712" y="66"/>
                    <a:pt x="1712" y="67"/>
                    <a:pt x="1712" y="67"/>
                  </a:cubicBezTo>
                  <a:close/>
                  <a:moveTo>
                    <a:pt x="1704" y="22"/>
                  </a:moveTo>
                  <a:cubicBezTo>
                    <a:pt x="1704" y="22"/>
                    <a:pt x="1704" y="22"/>
                    <a:pt x="1704" y="22"/>
                  </a:cubicBezTo>
                  <a:cubicBezTo>
                    <a:pt x="1704" y="22"/>
                    <a:pt x="1704" y="22"/>
                    <a:pt x="1704" y="22"/>
                  </a:cubicBezTo>
                  <a:close/>
                  <a:moveTo>
                    <a:pt x="1454" y="99"/>
                  </a:moveTo>
                  <a:cubicBezTo>
                    <a:pt x="1453" y="99"/>
                    <a:pt x="1453" y="100"/>
                    <a:pt x="1453" y="100"/>
                  </a:cubicBezTo>
                  <a:cubicBezTo>
                    <a:pt x="1453" y="100"/>
                    <a:pt x="1454" y="100"/>
                    <a:pt x="1454" y="99"/>
                  </a:cubicBezTo>
                  <a:close/>
                  <a:moveTo>
                    <a:pt x="587" y="67"/>
                  </a:moveTo>
                  <a:cubicBezTo>
                    <a:pt x="587" y="67"/>
                    <a:pt x="587" y="67"/>
                    <a:pt x="587" y="67"/>
                  </a:cubicBezTo>
                  <a:cubicBezTo>
                    <a:pt x="587" y="67"/>
                    <a:pt x="587" y="67"/>
                    <a:pt x="587" y="67"/>
                  </a:cubicBezTo>
                  <a:close/>
                  <a:moveTo>
                    <a:pt x="962" y="23"/>
                  </a:moveTo>
                  <a:cubicBezTo>
                    <a:pt x="962" y="23"/>
                    <a:pt x="962" y="22"/>
                    <a:pt x="962" y="22"/>
                  </a:cubicBezTo>
                  <a:cubicBezTo>
                    <a:pt x="962" y="22"/>
                    <a:pt x="962" y="22"/>
                    <a:pt x="962" y="23"/>
                  </a:cubicBezTo>
                  <a:close/>
                  <a:moveTo>
                    <a:pt x="978" y="22"/>
                  </a:moveTo>
                  <a:cubicBezTo>
                    <a:pt x="978" y="22"/>
                    <a:pt x="977" y="22"/>
                    <a:pt x="977" y="22"/>
                  </a:cubicBezTo>
                  <a:cubicBezTo>
                    <a:pt x="978" y="22"/>
                    <a:pt x="978" y="22"/>
                    <a:pt x="978" y="22"/>
                  </a:cubicBezTo>
                  <a:close/>
                  <a:moveTo>
                    <a:pt x="690" y="100"/>
                  </a:moveTo>
                  <a:cubicBezTo>
                    <a:pt x="690" y="100"/>
                    <a:pt x="690" y="100"/>
                    <a:pt x="689" y="100"/>
                  </a:cubicBezTo>
                  <a:cubicBezTo>
                    <a:pt x="690" y="100"/>
                    <a:pt x="690" y="100"/>
                    <a:pt x="690" y="100"/>
                  </a:cubicBezTo>
                  <a:close/>
                  <a:moveTo>
                    <a:pt x="721" y="100"/>
                  </a:moveTo>
                  <a:cubicBezTo>
                    <a:pt x="721" y="100"/>
                    <a:pt x="721" y="100"/>
                    <a:pt x="721" y="100"/>
                  </a:cubicBezTo>
                  <a:cubicBezTo>
                    <a:pt x="721" y="100"/>
                    <a:pt x="721" y="100"/>
                    <a:pt x="721" y="100"/>
                  </a:cubicBezTo>
                  <a:close/>
                  <a:moveTo>
                    <a:pt x="666" y="67"/>
                  </a:moveTo>
                  <a:cubicBezTo>
                    <a:pt x="666" y="67"/>
                    <a:pt x="665" y="67"/>
                    <a:pt x="665" y="67"/>
                  </a:cubicBezTo>
                  <a:cubicBezTo>
                    <a:pt x="665" y="67"/>
                    <a:pt x="665" y="67"/>
                    <a:pt x="666" y="67"/>
                  </a:cubicBezTo>
                  <a:close/>
                  <a:moveTo>
                    <a:pt x="689" y="67"/>
                  </a:moveTo>
                  <a:cubicBezTo>
                    <a:pt x="689" y="67"/>
                    <a:pt x="689" y="67"/>
                    <a:pt x="689" y="67"/>
                  </a:cubicBezTo>
                  <a:cubicBezTo>
                    <a:pt x="689" y="67"/>
                    <a:pt x="689" y="67"/>
                    <a:pt x="689" y="67"/>
                  </a:cubicBezTo>
                  <a:close/>
                  <a:moveTo>
                    <a:pt x="1351" y="22"/>
                  </a:moveTo>
                  <a:cubicBezTo>
                    <a:pt x="1351" y="22"/>
                    <a:pt x="1351" y="22"/>
                    <a:pt x="1351" y="22"/>
                  </a:cubicBezTo>
                  <a:cubicBezTo>
                    <a:pt x="1351" y="22"/>
                    <a:pt x="1351" y="22"/>
                    <a:pt x="1351" y="22"/>
                  </a:cubicBezTo>
                  <a:close/>
                  <a:moveTo>
                    <a:pt x="1374" y="67"/>
                  </a:moveTo>
                  <a:cubicBezTo>
                    <a:pt x="1374" y="67"/>
                    <a:pt x="1374" y="67"/>
                    <a:pt x="1374" y="67"/>
                  </a:cubicBezTo>
                  <a:cubicBezTo>
                    <a:pt x="1374" y="67"/>
                    <a:pt x="1374" y="67"/>
                    <a:pt x="1374" y="67"/>
                  </a:cubicBezTo>
                  <a:close/>
                  <a:moveTo>
                    <a:pt x="1045" y="100"/>
                  </a:moveTo>
                  <a:cubicBezTo>
                    <a:pt x="1045" y="100"/>
                    <a:pt x="1045" y="100"/>
                    <a:pt x="1045" y="100"/>
                  </a:cubicBezTo>
                  <a:cubicBezTo>
                    <a:pt x="1045" y="100"/>
                    <a:pt x="1045" y="100"/>
                    <a:pt x="1045" y="100"/>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223" y="100"/>
                  </a:moveTo>
                  <a:cubicBezTo>
                    <a:pt x="1223" y="100"/>
                    <a:pt x="1223" y="100"/>
                    <a:pt x="1222" y="100"/>
                  </a:cubicBezTo>
                  <a:cubicBezTo>
                    <a:pt x="1223" y="100"/>
                    <a:pt x="1223" y="100"/>
                    <a:pt x="1223" y="100"/>
                  </a:cubicBezTo>
                  <a:close/>
                  <a:moveTo>
                    <a:pt x="1659" y="67"/>
                  </a:moveTo>
                  <a:cubicBezTo>
                    <a:pt x="1659" y="67"/>
                    <a:pt x="1659" y="67"/>
                    <a:pt x="1658" y="67"/>
                  </a:cubicBezTo>
                  <a:cubicBezTo>
                    <a:pt x="1658" y="67"/>
                    <a:pt x="1658" y="67"/>
                    <a:pt x="1659" y="67"/>
                  </a:cubicBezTo>
                  <a:close/>
                  <a:moveTo>
                    <a:pt x="1497" y="22"/>
                  </a:moveTo>
                  <a:cubicBezTo>
                    <a:pt x="1497" y="22"/>
                    <a:pt x="1497" y="22"/>
                    <a:pt x="1497" y="22"/>
                  </a:cubicBezTo>
                  <a:cubicBezTo>
                    <a:pt x="1497" y="22"/>
                    <a:pt x="1497" y="22"/>
                    <a:pt x="1497" y="22"/>
                  </a:cubicBezTo>
                  <a:close/>
                  <a:moveTo>
                    <a:pt x="1711" y="67"/>
                  </a:moveTo>
                  <a:cubicBezTo>
                    <a:pt x="1711" y="67"/>
                    <a:pt x="1712" y="67"/>
                    <a:pt x="1712" y="67"/>
                  </a:cubicBezTo>
                  <a:cubicBezTo>
                    <a:pt x="1711" y="67"/>
                    <a:pt x="1711" y="67"/>
                    <a:pt x="1711" y="67"/>
                  </a:cubicBezTo>
                  <a:close/>
                  <a:moveTo>
                    <a:pt x="1727" y="67"/>
                  </a:moveTo>
                  <a:cubicBezTo>
                    <a:pt x="1726" y="67"/>
                    <a:pt x="1726" y="67"/>
                    <a:pt x="1726" y="67"/>
                  </a:cubicBezTo>
                  <a:cubicBezTo>
                    <a:pt x="1726" y="67"/>
                    <a:pt x="1726" y="67"/>
                    <a:pt x="1727" y="67"/>
                  </a:cubicBezTo>
                  <a:close/>
                  <a:moveTo>
                    <a:pt x="1568" y="23"/>
                  </a:moveTo>
                  <a:cubicBezTo>
                    <a:pt x="1568" y="22"/>
                    <a:pt x="1568" y="22"/>
                    <a:pt x="1568" y="22"/>
                  </a:cubicBezTo>
                  <a:cubicBezTo>
                    <a:pt x="1568" y="22"/>
                    <a:pt x="1568" y="22"/>
                    <a:pt x="1568" y="23"/>
                  </a:cubicBezTo>
                  <a:close/>
                  <a:moveTo>
                    <a:pt x="666" y="67"/>
                  </a:moveTo>
                  <a:cubicBezTo>
                    <a:pt x="666" y="67"/>
                    <a:pt x="666" y="67"/>
                    <a:pt x="666" y="67"/>
                  </a:cubicBezTo>
                  <a:cubicBezTo>
                    <a:pt x="666" y="67"/>
                    <a:pt x="666" y="67"/>
                    <a:pt x="666" y="67"/>
                  </a:cubicBezTo>
                  <a:close/>
                  <a:moveTo>
                    <a:pt x="1736" y="23"/>
                  </a:moveTo>
                  <a:cubicBezTo>
                    <a:pt x="1736" y="22"/>
                    <a:pt x="1736" y="22"/>
                    <a:pt x="1736" y="22"/>
                  </a:cubicBezTo>
                  <a:cubicBezTo>
                    <a:pt x="1736" y="22"/>
                    <a:pt x="1736" y="22"/>
                    <a:pt x="1736" y="23"/>
                  </a:cubicBezTo>
                  <a:close/>
                  <a:moveTo>
                    <a:pt x="551" y="22"/>
                  </a:moveTo>
                  <a:cubicBezTo>
                    <a:pt x="551" y="22"/>
                    <a:pt x="551" y="23"/>
                    <a:pt x="551" y="23"/>
                  </a:cubicBezTo>
                  <a:cubicBezTo>
                    <a:pt x="551" y="23"/>
                    <a:pt x="551" y="23"/>
                    <a:pt x="551" y="22"/>
                  </a:cubicBezTo>
                  <a:close/>
                  <a:moveTo>
                    <a:pt x="1543" y="67"/>
                  </a:moveTo>
                  <a:cubicBezTo>
                    <a:pt x="1543" y="67"/>
                    <a:pt x="1543" y="67"/>
                    <a:pt x="1543" y="67"/>
                  </a:cubicBezTo>
                  <a:cubicBezTo>
                    <a:pt x="1543" y="67"/>
                    <a:pt x="1543" y="67"/>
                    <a:pt x="1543" y="67"/>
                  </a:cubicBezTo>
                  <a:close/>
                  <a:moveTo>
                    <a:pt x="1558" y="67"/>
                  </a:moveTo>
                  <a:cubicBezTo>
                    <a:pt x="1558" y="67"/>
                    <a:pt x="1558" y="67"/>
                    <a:pt x="1558" y="67"/>
                  </a:cubicBezTo>
                  <a:cubicBezTo>
                    <a:pt x="1558" y="67"/>
                    <a:pt x="1558" y="67"/>
                    <a:pt x="1558" y="67"/>
                  </a:cubicBezTo>
                  <a:close/>
                  <a:moveTo>
                    <a:pt x="1659" y="67"/>
                  </a:moveTo>
                  <a:cubicBezTo>
                    <a:pt x="1659" y="67"/>
                    <a:pt x="1659" y="67"/>
                    <a:pt x="1659" y="67"/>
                  </a:cubicBezTo>
                  <a:cubicBezTo>
                    <a:pt x="1659" y="67"/>
                    <a:pt x="1659" y="67"/>
                    <a:pt x="1659" y="67"/>
                  </a:cubicBezTo>
                  <a:close/>
                  <a:moveTo>
                    <a:pt x="1711" y="67"/>
                  </a:moveTo>
                  <a:cubicBezTo>
                    <a:pt x="1711" y="67"/>
                    <a:pt x="1711" y="67"/>
                    <a:pt x="1711" y="67"/>
                  </a:cubicBezTo>
                  <a:cubicBezTo>
                    <a:pt x="1711" y="67"/>
                    <a:pt x="1711" y="67"/>
                    <a:pt x="1711" y="67"/>
                  </a:cubicBezTo>
                  <a:close/>
                  <a:moveTo>
                    <a:pt x="1046" y="100"/>
                  </a:moveTo>
                  <a:cubicBezTo>
                    <a:pt x="1046" y="100"/>
                    <a:pt x="1046" y="100"/>
                    <a:pt x="1045" y="100"/>
                  </a:cubicBezTo>
                  <a:cubicBezTo>
                    <a:pt x="1045" y="100"/>
                    <a:pt x="1046" y="100"/>
                    <a:pt x="1046" y="100"/>
                  </a:cubicBezTo>
                  <a:close/>
                  <a:moveTo>
                    <a:pt x="1726" y="67"/>
                  </a:moveTo>
                  <a:cubicBezTo>
                    <a:pt x="1726" y="67"/>
                    <a:pt x="1726" y="67"/>
                    <a:pt x="1726" y="67"/>
                  </a:cubicBezTo>
                  <a:cubicBezTo>
                    <a:pt x="1726" y="67"/>
                    <a:pt x="1726" y="67"/>
                    <a:pt x="1726" y="67"/>
                  </a:cubicBezTo>
                  <a:close/>
                  <a:moveTo>
                    <a:pt x="1181" y="100"/>
                  </a:moveTo>
                  <a:cubicBezTo>
                    <a:pt x="1181" y="100"/>
                    <a:pt x="1181" y="100"/>
                    <a:pt x="1181" y="100"/>
                  </a:cubicBezTo>
                  <a:cubicBezTo>
                    <a:pt x="1181" y="100"/>
                    <a:pt x="1181" y="100"/>
                    <a:pt x="1181" y="100"/>
                  </a:cubicBezTo>
                  <a:close/>
                  <a:moveTo>
                    <a:pt x="587" y="67"/>
                  </a:moveTo>
                  <a:cubicBezTo>
                    <a:pt x="587" y="68"/>
                    <a:pt x="587" y="68"/>
                    <a:pt x="587" y="68"/>
                  </a:cubicBezTo>
                  <a:cubicBezTo>
                    <a:pt x="587" y="68"/>
                    <a:pt x="587" y="68"/>
                    <a:pt x="587" y="67"/>
                  </a:cubicBezTo>
                  <a:close/>
                  <a:moveTo>
                    <a:pt x="1351" y="22"/>
                  </a:moveTo>
                  <a:cubicBezTo>
                    <a:pt x="1351" y="22"/>
                    <a:pt x="1351" y="23"/>
                    <a:pt x="1351" y="23"/>
                  </a:cubicBezTo>
                  <a:cubicBezTo>
                    <a:pt x="1351" y="23"/>
                    <a:pt x="1351" y="23"/>
                    <a:pt x="1351" y="22"/>
                  </a:cubicBezTo>
                  <a:close/>
                  <a:moveTo>
                    <a:pt x="1535" y="23"/>
                  </a:moveTo>
                  <a:cubicBezTo>
                    <a:pt x="1535" y="23"/>
                    <a:pt x="1535" y="23"/>
                    <a:pt x="1535" y="23"/>
                  </a:cubicBezTo>
                  <a:cubicBezTo>
                    <a:pt x="1535" y="23"/>
                    <a:pt x="1535" y="23"/>
                    <a:pt x="1535" y="23"/>
                  </a:cubicBezTo>
                  <a:close/>
                  <a:moveTo>
                    <a:pt x="1703" y="23"/>
                  </a:moveTo>
                  <a:cubicBezTo>
                    <a:pt x="1703" y="23"/>
                    <a:pt x="1703" y="23"/>
                    <a:pt x="1703" y="23"/>
                  </a:cubicBezTo>
                  <a:cubicBezTo>
                    <a:pt x="1703" y="23"/>
                    <a:pt x="1703" y="23"/>
                    <a:pt x="1703" y="23"/>
                  </a:cubicBezTo>
                  <a:close/>
                  <a:moveTo>
                    <a:pt x="977" y="23"/>
                  </a:moveTo>
                  <a:cubicBezTo>
                    <a:pt x="977" y="23"/>
                    <a:pt x="976" y="23"/>
                    <a:pt x="976" y="23"/>
                  </a:cubicBezTo>
                  <a:cubicBezTo>
                    <a:pt x="976" y="23"/>
                    <a:pt x="977" y="23"/>
                    <a:pt x="977" y="23"/>
                  </a:cubicBezTo>
                  <a:close/>
                  <a:moveTo>
                    <a:pt x="1358" y="68"/>
                  </a:moveTo>
                  <a:cubicBezTo>
                    <a:pt x="1358" y="68"/>
                    <a:pt x="1358" y="68"/>
                    <a:pt x="1358" y="67"/>
                  </a:cubicBezTo>
                  <a:cubicBezTo>
                    <a:pt x="1358" y="67"/>
                    <a:pt x="1358" y="68"/>
                    <a:pt x="1358" y="68"/>
                  </a:cubicBezTo>
                  <a:close/>
                  <a:moveTo>
                    <a:pt x="1373" y="67"/>
                  </a:moveTo>
                  <a:cubicBezTo>
                    <a:pt x="1373" y="67"/>
                    <a:pt x="1373" y="68"/>
                    <a:pt x="1373" y="68"/>
                  </a:cubicBezTo>
                  <a:cubicBezTo>
                    <a:pt x="1373" y="68"/>
                    <a:pt x="1373" y="68"/>
                    <a:pt x="1373" y="67"/>
                  </a:cubicBezTo>
                  <a:close/>
                  <a:moveTo>
                    <a:pt x="1351" y="23"/>
                  </a:moveTo>
                  <a:cubicBezTo>
                    <a:pt x="1350" y="23"/>
                    <a:pt x="1350" y="23"/>
                    <a:pt x="1350" y="23"/>
                  </a:cubicBezTo>
                  <a:cubicBezTo>
                    <a:pt x="1350" y="23"/>
                    <a:pt x="1350" y="23"/>
                    <a:pt x="1351" y="23"/>
                  </a:cubicBezTo>
                  <a:close/>
                  <a:moveTo>
                    <a:pt x="1496" y="23"/>
                  </a:moveTo>
                  <a:cubicBezTo>
                    <a:pt x="1496" y="23"/>
                    <a:pt x="1496" y="23"/>
                    <a:pt x="1496" y="23"/>
                  </a:cubicBezTo>
                  <a:cubicBezTo>
                    <a:pt x="1496" y="23"/>
                    <a:pt x="1496" y="23"/>
                    <a:pt x="1496" y="23"/>
                  </a:cubicBezTo>
                  <a:close/>
                  <a:moveTo>
                    <a:pt x="1535" y="23"/>
                  </a:moveTo>
                  <a:cubicBezTo>
                    <a:pt x="1534" y="23"/>
                    <a:pt x="1534" y="23"/>
                    <a:pt x="1534" y="23"/>
                  </a:cubicBezTo>
                  <a:cubicBezTo>
                    <a:pt x="1534" y="23"/>
                    <a:pt x="1535" y="23"/>
                    <a:pt x="1535" y="23"/>
                  </a:cubicBezTo>
                  <a:close/>
                  <a:moveTo>
                    <a:pt x="722" y="101"/>
                  </a:moveTo>
                  <a:cubicBezTo>
                    <a:pt x="722" y="101"/>
                    <a:pt x="722" y="100"/>
                    <a:pt x="722" y="100"/>
                  </a:cubicBezTo>
                  <a:cubicBezTo>
                    <a:pt x="722" y="101"/>
                    <a:pt x="722" y="101"/>
                    <a:pt x="722" y="101"/>
                  </a:cubicBezTo>
                  <a:close/>
                  <a:moveTo>
                    <a:pt x="1703" y="23"/>
                  </a:moveTo>
                  <a:cubicBezTo>
                    <a:pt x="1703" y="23"/>
                    <a:pt x="1702" y="23"/>
                    <a:pt x="1702" y="23"/>
                  </a:cubicBezTo>
                  <a:cubicBezTo>
                    <a:pt x="1703" y="23"/>
                    <a:pt x="1703" y="23"/>
                    <a:pt x="1703" y="23"/>
                  </a:cubicBezTo>
                  <a:close/>
                  <a:moveTo>
                    <a:pt x="976" y="23"/>
                  </a:moveTo>
                  <a:cubicBezTo>
                    <a:pt x="976" y="23"/>
                    <a:pt x="976" y="23"/>
                    <a:pt x="976" y="23"/>
                  </a:cubicBezTo>
                  <a:cubicBezTo>
                    <a:pt x="976" y="23"/>
                    <a:pt x="976" y="23"/>
                    <a:pt x="976" y="23"/>
                  </a:cubicBezTo>
                  <a:close/>
                  <a:moveTo>
                    <a:pt x="1350" y="23"/>
                  </a:moveTo>
                  <a:cubicBezTo>
                    <a:pt x="1350" y="23"/>
                    <a:pt x="1350" y="23"/>
                    <a:pt x="1350" y="23"/>
                  </a:cubicBezTo>
                  <a:cubicBezTo>
                    <a:pt x="1350" y="23"/>
                    <a:pt x="1350" y="23"/>
                    <a:pt x="1350" y="23"/>
                  </a:cubicBezTo>
                  <a:close/>
                  <a:moveTo>
                    <a:pt x="1534" y="23"/>
                  </a:moveTo>
                  <a:cubicBezTo>
                    <a:pt x="1534" y="23"/>
                    <a:pt x="1534" y="23"/>
                    <a:pt x="1534" y="24"/>
                  </a:cubicBezTo>
                  <a:cubicBezTo>
                    <a:pt x="1534" y="23"/>
                    <a:pt x="1534" y="23"/>
                    <a:pt x="1534" y="23"/>
                  </a:cubicBezTo>
                  <a:close/>
                  <a:moveTo>
                    <a:pt x="1702" y="23"/>
                  </a:moveTo>
                  <a:cubicBezTo>
                    <a:pt x="1702" y="23"/>
                    <a:pt x="1702" y="23"/>
                    <a:pt x="1702" y="24"/>
                  </a:cubicBezTo>
                  <a:cubicBezTo>
                    <a:pt x="1702" y="23"/>
                    <a:pt x="1702" y="23"/>
                    <a:pt x="1702" y="23"/>
                  </a:cubicBezTo>
                  <a:close/>
                  <a:moveTo>
                    <a:pt x="961" y="24"/>
                  </a:moveTo>
                  <a:cubicBezTo>
                    <a:pt x="961" y="24"/>
                    <a:pt x="961" y="24"/>
                    <a:pt x="961" y="24"/>
                  </a:cubicBezTo>
                  <a:cubicBezTo>
                    <a:pt x="961" y="24"/>
                    <a:pt x="961" y="24"/>
                    <a:pt x="961" y="24"/>
                  </a:cubicBezTo>
                  <a:close/>
                  <a:moveTo>
                    <a:pt x="667" y="68"/>
                  </a:moveTo>
                  <a:cubicBezTo>
                    <a:pt x="667" y="68"/>
                    <a:pt x="667" y="68"/>
                    <a:pt x="667" y="68"/>
                  </a:cubicBezTo>
                  <a:cubicBezTo>
                    <a:pt x="667" y="68"/>
                    <a:pt x="667" y="68"/>
                    <a:pt x="667" y="68"/>
                  </a:cubicBezTo>
                  <a:close/>
                  <a:moveTo>
                    <a:pt x="690" y="68"/>
                  </a:moveTo>
                  <a:cubicBezTo>
                    <a:pt x="691" y="68"/>
                    <a:pt x="691" y="68"/>
                    <a:pt x="691" y="68"/>
                  </a:cubicBezTo>
                  <a:cubicBezTo>
                    <a:pt x="691" y="68"/>
                    <a:pt x="691" y="68"/>
                    <a:pt x="690" y="68"/>
                  </a:cubicBezTo>
                  <a:close/>
                  <a:moveTo>
                    <a:pt x="1495" y="24"/>
                  </a:moveTo>
                  <a:cubicBezTo>
                    <a:pt x="1495" y="24"/>
                    <a:pt x="1495" y="24"/>
                    <a:pt x="1495" y="24"/>
                  </a:cubicBezTo>
                  <a:cubicBezTo>
                    <a:pt x="1495" y="24"/>
                    <a:pt x="1495" y="24"/>
                    <a:pt x="1495" y="24"/>
                  </a:cubicBezTo>
                  <a:close/>
                  <a:moveTo>
                    <a:pt x="1358" y="68"/>
                  </a:moveTo>
                  <a:cubicBezTo>
                    <a:pt x="1358" y="68"/>
                    <a:pt x="1358" y="68"/>
                    <a:pt x="1358" y="68"/>
                  </a:cubicBezTo>
                  <a:cubicBezTo>
                    <a:pt x="1358" y="68"/>
                    <a:pt x="1358" y="68"/>
                    <a:pt x="1358" y="68"/>
                  </a:cubicBezTo>
                  <a:close/>
                  <a:moveTo>
                    <a:pt x="1534" y="23"/>
                  </a:moveTo>
                  <a:cubicBezTo>
                    <a:pt x="1534" y="24"/>
                    <a:pt x="1534" y="24"/>
                    <a:pt x="1534" y="24"/>
                  </a:cubicBezTo>
                  <a:cubicBezTo>
                    <a:pt x="1534" y="24"/>
                    <a:pt x="1534" y="24"/>
                    <a:pt x="1534" y="23"/>
                  </a:cubicBezTo>
                  <a:close/>
                  <a:moveTo>
                    <a:pt x="1557" y="68"/>
                  </a:moveTo>
                  <a:cubicBezTo>
                    <a:pt x="1557" y="68"/>
                    <a:pt x="1557" y="68"/>
                    <a:pt x="1557" y="68"/>
                  </a:cubicBezTo>
                  <a:cubicBezTo>
                    <a:pt x="1557" y="68"/>
                    <a:pt x="1557" y="68"/>
                    <a:pt x="1557" y="68"/>
                  </a:cubicBezTo>
                  <a:close/>
                  <a:moveTo>
                    <a:pt x="1710" y="68"/>
                  </a:moveTo>
                  <a:cubicBezTo>
                    <a:pt x="1710" y="68"/>
                    <a:pt x="1710" y="68"/>
                    <a:pt x="1710" y="68"/>
                  </a:cubicBezTo>
                  <a:cubicBezTo>
                    <a:pt x="1710" y="68"/>
                    <a:pt x="1710" y="68"/>
                    <a:pt x="1710" y="68"/>
                  </a:cubicBezTo>
                  <a:close/>
                  <a:moveTo>
                    <a:pt x="1725" y="68"/>
                  </a:moveTo>
                  <a:cubicBezTo>
                    <a:pt x="1725" y="68"/>
                    <a:pt x="1725" y="68"/>
                    <a:pt x="1725" y="68"/>
                  </a:cubicBezTo>
                  <a:cubicBezTo>
                    <a:pt x="1725" y="68"/>
                    <a:pt x="1725" y="68"/>
                    <a:pt x="1725" y="68"/>
                  </a:cubicBezTo>
                  <a:close/>
                  <a:moveTo>
                    <a:pt x="1702" y="23"/>
                  </a:moveTo>
                  <a:cubicBezTo>
                    <a:pt x="1702" y="24"/>
                    <a:pt x="1702" y="24"/>
                    <a:pt x="1702" y="24"/>
                  </a:cubicBezTo>
                  <a:cubicBezTo>
                    <a:pt x="1702" y="24"/>
                    <a:pt x="1702" y="24"/>
                    <a:pt x="1702" y="23"/>
                  </a:cubicBezTo>
                  <a:close/>
                  <a:moveTo>
                    <a:pt x="960" y="24"/>
                  </a:moveTo>
                  <a:cubicBezTo>
                    <a:pt x="961" y="24"/>
                    <a:pt x="961" y="24"/>
                    <a:pt x="961" y="24"/>
                  </a:cubicBezTo>
                  <a:cubicBezTo>
                    <a:pt x="961" y="24"/>
                    <a:pt x="960" y="24"/>
                    <a:pt x="960" y="24"/>
                  </a:cubicBezTo>
                  <a:close/>
                  <a:moveTo>
                    <a:pt x="1534" y="24"/>
                  </a:moveTo>
                  <a:cubicBezTo>
                    <a:pt x="1533" y="24"/>
                    <a:pt x="1533" y="24"/>
                    <a:pt x="1533" y="24"/>
                  </a:cubicBezTo>
                  <a:cubicBezTo>
                    <a:pt x="1533" y="24"/>
                    <a:pt x="1534" y="24"/>
                    <a:pt x="1534" y="24"/>
                  </a:cubicBezTo>
                  <a:close/>
                  <a:moveTo>
                    <a:pt x="1702" y="24"/>
                  </a:moveTo>
                  <a:cubicBezTo>
                    <a:pt x="1702" y="24"/>
                    <a:pt x="1701" y="24"/>
                    <a:pt x="1701" y="24"/>
                  </a:cubicBezTo>
                  <a:cubicBezTo>
                    <a:pt x="1702" y="24"/>
                    <a:pt x="1702" y="24"/>
                    <a:pt x="1702" y="24"/>
                  </a:cubicBezTo>
                  <a:close/>
                  <a:moveTo>
                    <a:pt x="1357" y="68"/>
                  </a:moveTo>
                  <a:cubicBezTo>
                    <a:pt x="1357" y="68"/>
                    <a:pt x="1358" y="68"/>
                    <a:pt x="1358" y="68"/>
                  </a:cubicBezTo>
                  <a:cubicBezTo>
                    <a:pt x="1357" y="68"/>
                    <a:pt x="1357" y="68"/>
                    <a:pt x="1357" y="68"/>
                  </a:cubicBezTo>
                  <a:close/>
                  <a:moveTo>
                    <a:pt x="1541" y="68"/>
                  </a:moveTo>
                  <a:cubicBezTo>
                    <a:pt x="1542" y="68"/>
                    <a:pt x="1542" y="68"/>
                    <a:pt x="1542" y="68"/>
                  </a:cubicBezTo>
                  <a:cubicBezTo>
                    <a:pt x="1542" y="68"/>
                    <a:pt x="1541" y="68"/>
                    <a:pt x="1541" y="68"/>
                  </a:cubicBezTo>
                  <a:close/>
                  <a:moveTo>
                    <a:pt x="975" y="24"/>
                  </a:moveTo>
                  <a:cubicBezTo>
                    <a:pt x="975" y="24"/>
                    <a:pt x="975" y="24"/>
                    <a:pt x="975" y="25"/>
                  </a:cubicBezTo>
                  <a:cubicBezTo>
                    <a:pt x="975" y="24"/>
                    <a:pt x="975" y="24"/>
                    <a:pt x="975" y="24"/>
                  </a:cubicBezTo>
                  <a:close/>
                  <a:moveTo>
                    <a:pt x="1494" y="24"/>
                  </a:moveTo>
                  <a:cubicBezTo>
                    <a:pt x="1494" y="24"/>
                    <a:pt x="1494" y="24"/>
                    <a:pt x="1494" y="25"/>
                  </a:cubicBezTo>
                  <a:cubicBezTo>
                    <a:pt x="1494" y="25"/>
                    <a:pt x="1494" y="24"/>
                    <a:pt x="1494" y="24"/>
                  </a:cubicBezTo>
                  <a:close/>
                  <a:moveTo>
                    <a:pt x="1202" y="101"/>
                  </a:moveTo>
                  <a:cubicBezTo>
                    <a:pt x="1202" y="101"/>
                    <a:pt x="1202" y="101"/>
                    <a:pt x="1202" y="101"/>
                  </a:cubicBezTo>
                  <a:cubicBezTo>
                    <a:pt x="1202" y="101"/>
                    <a:pt x="1202" y="101"/>
                    <a:pt x="1202" y="101"/>
                  </a:cubicBezTo>
                  <a:close/>
                  <a:moveTo>
                    <a:pt x="1709" y="68"/>
                  </a:moveTo>
                  <a:cubicBezTo>
                    <a:pt x="1710" y="68"/>
                    <a:pt x="1710" y="68"/>
                    <a:pt x="1710" y="68"/>
                  </a:cubicBezTo>
                  <a:cubicBezTo>
                    <a:pt x="1710" y="68"/>
                    <a:pt x="1710" y="68"/>
                    <a:pt x="1709" y="68"/>
                  </a:cubicBezTo>
                  <a:close/>
                  <a:moveTo>
                    <a:pt x="1533" y="24"/>
                  </a:moveTo>
                  <a:cubicBezTo>
                    <a:pt x="1533" y="24"/>
                    <a:pt x="1533" y="24"/>
                    <a:pt x="1533" y="25"/>
                  </a:cubicBezTo>
                  <a:cubicBezTo>
                    <a:pt x="1533" y="24"/>
                    <a:pt x="1533" y="24"/>
                    <a:pt x="1533" y="24"/>
                  </a:cubicBezTo>
                  <a:close/>
                  <a:moveTo>
                    <a:pt x="1701" y="24"/>
                  </a:moveTo>
                  <a:cubicBezTo>
                    <a:pt x="1701" y="24"/>
                    <a:pt x="1701" y="24"/>
                    <a:pt x="1701" y="25"/>
                  </a:cubicBezTo>
                  <a:cubicBezTo>
                    <a:pt x="1701" y="24"/>
                    <a:pt x="1701" y="24"/>
                    <a:pt x="1701" y="24"/>
                  </a:cubicBezTo>
                  <a:close/>
                  <a:moveTo>
                    <a:pt x="692" y="69"/>
                  </a:moveTo>
                  <a:cubicBezTo>
                    <a:pt x="692" y="69"/>
                    <a:pt x="692" y="69"/>
                    <a:pt x="692" y="69"/>
                  </a:cubicBezTo>
                  <a:cubicBezTo>
                    <a:pt x="692" y="69"/>
                    <a:pt x="692" y="69"/>
                    <a:pt x="692" y="69"/>
                  </a:cubicBezTo>
                  <a:close/>
                  <a:moveTo>
                    <a:pt x="975" y="25"/>
                  </a:moveTo>
                  <a:cubicBezTo>
                    <a:pt x="974" y="25"/>
                    <a:pt x="974" y="25"/>
                    <a:pt x="974" y="25"/>
                  </a:cubicBezTo>
                  <a:cubicBezTo>
                    <a:pt x="974" y="25"/>
                    <a:pt x="975" y="25"/>
                    <a:pt x="975" y="25"/>
                  </a:cubicBezTo>
                  <a:close/>
                  <a:moveTo>
                    <a:pt x="1675" y="53"/>
                  </a:moveTo>
                  <a:cubicBezTo>
                    <a:pt x="1675" y="53"/>
                    <a:pt x="1675" y="53"/>
                    <a:pt x="1675" y="53"/>
                  </a:cubicBezTo>
                  <a:cubicBezTo>
                    <a:pt x="1675" y="53"/>
                    <a:pt x="1675" y="53"/>
                    <a:pt x="1675" y="53"/>
                  </a:cubicBezTo>
                  <a:close/>
                  <a:moveTo>
                    <a:pt x="1372" y="68"/>
                  </a:moveTo>
                  <a:cubicBezTo>
                    <a:pt x="1372" y="68"/>
                    <a:pt x="1371" y="69"/>
                    <a:pt x="1371" y="69"/>
                  </a:cubicBezTo>
                  <a:cubicBezTo>
                    <a:pt x="1372" y="69"/>
                    <a:pt x="1372" y="69"/>
                    <a:pt x="1372" y="68"/>
                  </a:cubicBezTo>
                  <a:close/>
                  <a:moveTo>
                    <a:pt x="1541" y="69"/>
                  </a:moveTo>
                  <a:cubicBezTo>
                    <a:pt x="1541" y="69"/>
                    <a:pt x="1541" y="69"/>
                    <a:pt x="1541" y="68"/>
                  </a:cubicBezTo>
                  <a:cubicBezTo>
                    <a:pt x="1541" y="69"/>
                    <a:pt x="1541" y="69"/>
                    <a:pt x="1541" y="69"/>
                  </a:cubicBezTo>
                  <a:close/>
                  <a:moveTo>
                    <a:pt x="1660" y="69"/>
                  </a:moveTo>
                  <a:cubicBezTo>
                    <a:pt x="1660" y="69"/>
                    <a:pt x="1660" y="68"/>
                    <a:pt x="1660" y="68"/>
                  </a:cubicBezTo>
                  <a:cubicBezTo>
                    <a:pt x="1660" y="69"/>
                    <a:pt x="1660" y="69"/>
                    <a:pt x="1660" y="69"/>
                  </a:cubicBezTo>
                  <a:close/>
                  <a:moveTo>
                    <a:pt x="1709" y="69"/>
                  </a:moveTo>
                  <a:cubicBezTo>
                    <a:pt x="1709" y="69"/>
                    <a:pt x="1709" y="69"/>
                    <a:pt x="1710" y="68"/>
                  </a:cubicBezTo>
                  <a:cubicBezTo>
                    <a:pt x="1709" y="69"/>
                    <a:pt x="1709" y="69"/>
                    <a:pt x="1709" y="69"/>
                  </a:cubicBezTo>
                  <a:close/>
                  <a:moveTo>
                    <a:pt x="1724" y="68"/>
                  </a:moveTo>
                  <a:cubicBezTo>
                    <a:pt x="1724" y="68"/>
                    <a:pt x="1724" y="69"/>
                    <a:pt x="1724" y="69"/>
                  </a:cubicBezTo>
                  <a:cubicBezTo>
                    <a:pt x="1724" y="69"/>
                    <a:pt x="1724" y="69"/>
                    <a:pt x="1724" y="68"/>
                  </a:cubicBezTo>
                  <a:close/>
                  <a:moveTo>
                    <a:pt x="1533" y="24"/>
                  </a:moveTo>
                  <a:cubicBezTo>
                    <a:pt x="1533" y="25"/>
                    <a:pt x="1533" y="25"/>
                    <a:pt x="1533" y="25"/>
                  </a:cubicBezTo>
                  <a:cubicBezTo>
                    <a:pt x="1533" y="25"/>
                    <a:pt x="1533" y="25"/>
                    <a:pt x="1533" y="24"/>
                  </a:cubicBezTo>
                  <a:close/>
                  <a:moveTo>
                    <a:pt x="1701" y="24"/>
                  </a:moveTo>
                  <a:cubicBezTo>
                    <a:pt x="1701" y="25"/>
                    <a:pt x="1701" y="25"/>
                    <a:pt x="1701" y="25"/>
                  </a:cubicBezTo>
                  <a:cubicBezTo>
                    <a:pt x="1701" y="25"/>
                    <a:pt x="1701" y="25"/>
                    <a:pt x="1701" y="24"/>
                  </a:cubicBezTo>
                  <a:close/>
                  <a:moveTo>
                    <a:pt x="960" y="25"/>
                  </a:moveTo>
                  <a:cubicBezTo>
                    <a:pt x="960" y="25"/>
                    <a:pt x="960" y="25"/>
                    <a:pt x="960" y="25"/>
                  </a:cubicBezTo>
                  <a:cubicBezTo>
                    <a:pt x="960" y="25"/>
                    <a:pt x="960" y="25"/>
                    <a:pt x="960" y="25"/>
                  </a:cubicBezTo>
                  <a:close/>
                  <a:moveTo>
                    <a:pt x="974" y="25"/>
                  </a:moveTo>
                  <a:cubicBezTo>
                    <a:pt x="974" y="25"/>
                    <a:pt x="974" y="25"/>
                    <a:pt x="974" y="25"/>
                  </a:cubicBezTo>
                  <a:cubicBezTo>
                    <a:pt x="974" y="25"/>
                    <a:pt x="974" y="25"/>
                    <a:pt x="974" y="25"/>
                  </a:cubicBezTo>
                  <a:close/>
                  <a:moveTo>
                    <a:pt x="669" y="69"/>
                  </a:moveTo>
                  <a:cubicBezTo>
                    <a:pt x="669" y="69"/>
                    <a:pt x="669" y="69"/>
                    <a:pt x="668" y="69"/>
                  </a:cubicBezTo>
                  <a:cubicBezTo>
                    <a:pt x="668" y="69"/>
                    <a:pt x="669" y="69"/>
                    <a:pt x="669" y="69"/>
                  </a:cubicBezTo>
                  <a:close/>
                  <a:moveTo>
                    <a:pt x="1533" y="25"/>
                  </a:moveTo>
                  <a:cubicBezTo>
                    <a:pt x="1532" y="25"/>
                    <a:pt x="1532" y="25"/>
                    <a:pt x="1532" y="25"/>
                  </a:cubicBezTo>
                  <a:cubicBezTo>
                    <a:pt x="1532" y="25"/>
                    <a:pt x="1533" y="25"/>
                    <a:pt x="1533" y="25"/>
                  </a:cubicBezTo>
                  <a:close/>
                  <a:moveTo>
                    <a:pt x="1701" y="25"/>
                  </a:moveTo>
                  <a:cubicBezTo>
                    <a:pt x="1700" y="25"/>
                    <a:pt x="1700" y="25"/>
                    <a:pt x="1700" y="25"/>
                  </a:cubicBezTo>
                  <a:cubicBezTo>
                    <a:pt x="1701" y="25"/>
                    <a:pt x="1701" y="25"/>
                    <a:pt x="1701" y="25"/>
                  </a:cubicBezTo>
                  <a:close/>
                  <a:moveTo>
                    <a:pt x="974" y="25"/>
                  </a:moveTo>
                  <a:cubicBezTo>
                    <a:pt x="974" y="25"/>
                    <a:pt x="974" y="25"/>
                    <a:pt x="974" y="26"/>
                  </a:cubicBezTo>
                  <a:cubicBezTo>
                    <a:pt x="974" y="25"/>
                    <a:pt x="974" y="25"/>
                    <a:pt x="974" y="25"/>
                  </a:cubicBezTo>
                  <a:close/>
                  <a:moveTo>
                    <a:pt x="1532" y="25"/>
                  </a:moveTo>
                  <a:cubicBezTo>
                    <a:pt x="1532" y="25"/>
                    <a:pt x="1532" y="25"/>
                    <a:pt x="1532" y="26"/>
                  </a:cubicBezTo>
                  <a:cubicBezTo>
                    <a:pt x="1532" y="26"/>
                    <a:pt x="1532" y="25"/>
                    <a:pt x="1532" y="25"/>
                  </a:cubicBezTo>
                  <a:close/>
                  <a:moveTo>
                    <a:pt x="1541" y="69"/>
                  </a:moveTo>
                  <a:cubicBezTo>
                    <a:pt x="1541" y="69"/>
                    <a:pt x="1541" y="69"/>
                    <a:pt x="1541" y="69"/>
                  </a:cubicBezTo>
                  <a:cubicBezTo>
                    <a:pt x="1541" y="69"/>
                    <a:pt x="1541" y="69"/>
                    <a:pt x="1541" y="69"/>
                  </a:cubicBezTo>
                  <a:close/>
                  <a:moveTo>
                    <a:pt x="1556" y="69"/>
                  </a:moveTo>
                  <a:cubicBezTo>
                    <a:pt x="1555" y="69"/>
                    <a:pt x="1555" y="69"/>
                    <a:pt x="1555" y="69"/>
                  </a:cubicBezTo>
                  <a:cubicBezTo>
                    <a:pt x="1555" y="69"/>
                    <a:pt x="1556" y="69"/>
                    <a:pt x="1556" y="69"/>
                  </a:cubicBezTo>
                  <a:close/>
                  <a:moveTo>
                    <a:pt x="1700" y="25"/>
                  </a:moveTo>
                  <a:cubicBezTo>
                    <a:pt x="1700" y="25"/>
                    <a:pt x="1700" y="25"/>
                    <a:pt x="1700" y="26"/>
                  </a:cubicBezTo>
                  <a:cubicBezTo>
                    <a:pt x="1700" y="26"/>
                    <a:pt x="1700" y="25"/>
                    <a:pt x="1700" y="25"/>
                  </a:cubicBezTo>
                  <a:close/>
                  <a:moveTo>
                    <a:pt x="974" y="26"/>
                  </a:moveTo>
                  <a:cubicBezTo>
                    <a:pt x="973" y="26"/>
                    <a:pt x="973" y="26"/>
                    <a:pt x="973" y="26"/>
                  </a:cubicBezTo>
                  <a:cubicBezTo>
                    <a:pt x="973" y="26"/>
                    <a:pt x="973" y="26"/>
                    <a:pt x="974" y="26"/>
                  </a:cubicBezTo>
                  <a:close/>
                  <a:moveTo>
                    <a:pt x="1709" y="69"/>
                  </a:moveTo>
                  <a:cubicBezTo>
                    <a:pt x="1709" y="69"/>
                    <a:pt x="1709" y="69"/>
                    <a:pt x="1709" y="69"/>
                  </a:cubicBezTo>
                  <a:cubicBezTo>
                    <a:pt x="1709" y="69"/>
                    <a:pt x="1709" y="69"/>
                    <a:pt x="1709" y="69"/>
                  </a:cubicBezTo>
                  <a:close/>
                  <a:moveTo>
                    <a:pt x="1724" y="69"/>
                  </a:moveTo>
                  <a:cubicBezTo>
                    <a:pt x="1724" y="69"/>
                    <a:pt x="1723" y="69"/>
                    <a:pt x="1723" y="69"/>
                  </a:cubicBezTo>
                  <a:cubicBezTo>
                    <a:pt x="1723" y="69"/>
                    <a:pt x="1724" y="69"/>
                    <a:pt x="1724" y="69"/>
                  </a:cubicBezTo>
                  <a:close/>
                  <a:moveTo>
                    <a:pt x="1492" y="26"/>
                  </a:moveTo>
                  <a:cubicBezTo>
                    <a:pt x="1491" y="26"/>
                    <a:pt x="1491" y="26"/>
                    <a:pt x="1491" y="26"/>
                  </a:cubicBezTo>
                  <a:cubicBezTo>
                    <a:pt x="1491" y="26"/>
                    <a:pt x="1491" y="26"/>
                    <a:pt x="1492" y="26"/>
                  </a:cubicBezTo>
                  <a:close/>
                  <a:moveTo>
                    <a:pt x="1532" y="26"/>
                  </a:moveTo>
                  <a:cubicBezTo>
                    <a:pt x="1532" y="26"/>
                    <a:pt x="1532" y="26"/>
                    <a:pt x="1531" y="26"/>
                  </a:cubicBezTo>
                  <a:cubicBezTo>
                    <a:pt x="1532" y="26"/>
                    <a:pt x="1532" y="26"/>
                    <a:pt x="1532" y="26"/>
                  </a:cubicBezTo>
                  <a:close/>
                  <a:moveTo>
                    <a:pt x="1356" y="70"/>
                  </a:moveTo>
                  <a:cubicBezTo>
                    <a:pt x="1356" y="70"/>
                    <a:pt x="1356" y="69"/>
                    <a:pt x="1356" y="69"/>
                  </a:cubicBezTo>
                  <a:cubicBezTo>
                    <a:pt x="1356" y="69"/>
                    <a:pt x="1356" y="69"/>
                    <a:pt x="1356" y="70"/>
                  </a:cubicBezTo>
                  <a:close/>
                  <a:moveTo>
                    <a:pt x="1371" y="69"/>
                  </a:moveTo>
                  <a:cubicBezTo>
                    <a:pt x="1371" y="69"/>
                    <a:pt x="1370" y="69"/>
                    <a:pt x="1370" y="69"/>
                  </a:cubicBezTo>
                  <a:cubicBezTo>
                    <a:pt x="1371" y="69"/>
                    <a:pt x="1371" y="69"/>
                    <a:pt x="1371" y="69"/>
                  </a:cubicBezTo>
                  <a:close/>
                  <a:moveTo>
                    <a:pt x="1700" y="26"/>
                  </a:moveTo>
                  <a:cubicBezTo>
                    <a:pt x="1700" y="26"/>
                    <a:pt x="1700" y="26"/>
                    <a:pt x="1700" y="26"/>
                  </a:cubicBezTo>
                  <a:cubicBezTo>
                    <a:pt x="1700" y="26"/>
                    <a:pt x="1700" y="26"/>
                    <a:pt x="1700" y="26"/>
                  </a:cubicBezTo>
                  <a:close/>
                  <a:moveTo>
                    <a:pt x="959" y="26"/>
                  </a:moveTo>
                  <a:cubicBezTo>
                    <a:pt x="959" y="26"/>
                    <a:pt x="959" y="26"/>
                    <a:pt x="959" y="26"/>
                  </a:cubicBezTo>
                  <a:cubicBezTo>
                    <a:pt x="959" y="26"/>
                    <a:pt x="959" y="26"/>
                    <a:pt x="959" y="26"/>
                  </a:cubicBezTo>
                  <a:close/>
                  <a:moveTo>
                    <a:pt x="973" y="26"/>
                  </a:moveTo>
                  <a:cubicBezTo>
                    <a:pt x="973" y="26"/>
                    <a:pt x="973" y="26"/>
                    <a:pt x="973" y="26"/>
                  </a:cubicBezTo>
                  <a:cubicBezTo>
                    <a:pt x="973" y="26"/>
                    <a:pt x="973" y="26"/>
                    <a:pt x="973" y="26"/>
                  </a:cubicBezTo>
                  <a:close/>
                  <a:moveTo>
                    <a:pt x="1491" y="26"/>
                  </a:moveTo>
                  <a:cubicBezTo>
                    <a:pt x="1491" y="26"/>
                    <a:pt x="1490" y="26"/>
                    <a:pt x="1490" y="26"/>
                  </a:cubicBezTo>
                  <a:cubicBezTo>
                    <a:pt x="1491" y="26"/>
                    <a:pt x="1491" y="26"/>
                    <a:pt x="1491" y="26"/>
                  </a:cubicBezTo>
                  <a:close/>
                  <a:moveTo>
                    <a:pt x="1532" y="26"/>
                  </a:moveTo>
                  <a:cubicBezTo>
                    <a:pt x="1531" y="26"/>
                    <a:pt x="1531" y="26"/>
                    <a:pt x="1531" y="26"/>
                  </a:cubicBezTo>
                  <a:cubicBezTo>
                    <a:pt x="1531" y="26"/>
                    <a:pt x="1531" y="26"/>
                    <a:pt x="1532" y="26"/>
                  </a:cubicBezTo>
                  <a:close/>
                  <a:moveTo>
                    <a:pt x="1700" y="26"/>
                  </a:moveTo>
                  <a:cubicBezTo>
                    <a:pt x="1699" y="26"/>
                    <a:pt x="1699" y="26"/>
                    <a:pt x="1699" y="26"/>
                  </a:cubicBezTo>
                  <a:cubicBezTo>
                    <a:pt x="1699" y="26"/>
                    <a:pt x="1700" y="26"/>
                    <a:pt x="1700" y="26"/>
                  </a:cubicBezTo>
                  <a:close/>
                  <a:moveTo>
                    <a:pt x="973" y="26"/>
                  </a:moveTo>
                  <a:cubicBezTo>
                    <a:pt x="973" y="26"/>
                    <a:pt x="973" y="26"/>
                    <a:pt x="973" y="27"/>
                  </a:cubicBezTo>
                  <a:cubicBezTo>
                    <a:pt x="973" y="27"/>
                    <a:pt x="973" y="26"/>
                    <a:pt x="973" y="26"/>
                  </a:cubicBezTo>
                  <a:close/>
                  <a:moveTo>
                    <a:pt x="1390" y="53"/>
                  </a:moveTo>
                  <a:cubicBezTo>
                    <a:pt x="1390" y="53"/>
                    <a:pt x="1390" y="53"/>
                    <a:pt x="1390" y="53"/>
                  </a:cubicBezTo>
                  <a:cubicBezTo>
                    <a:pt x="1390" y="53"/>
                    <a:pt x="1390" y="53"/>
                    <a:pt x="1390" y="53"/>
                  </a:cubicBezTo>
                  <a:close/>
                  <a:moveTo>
                    <a:pt x="693" y="70"/>
                  </a:moveTo>
                  <a:cubicBezTo>
                    <a:pt x="693" y="70"/>
                    <a:pt x="693" y="70"/>
                    <a:pt x="693" y="70"/>
                  </a:cubicBezTo>
                  <a:cubicBezTo>
                    <a:pt x="693" y="70"/>
                    <a:pt x="693" y="70"/>
                    <a:pt x="693" y="70"/>
                  </a:cubicBezTo>
                  <a:close/>
                  <a:moveTo>
                    <a:pt x="973" y="27"/>
                  </a:moveTo>
                  <a:cubicBezTo>
                    <a:pt x="972" y="27"/>
                    <a:pt x="972" y="27"/>
                    <a:pt x="972" y="27"/>
                  </a:cubicBezTo>
                  <a:cubicBezTo>
                    <a:pt x="972" y="27"/>
                    <a:pt x="972" y="27"/>
                    <a:pt x="973" y="27"/>
                  </a:cubicBezTo>
                  <a:close/>
                  <a:moveTo>
                    <a:pt x="958" y="27"/>
                  </a:moveTo>
                  <a:cubicBezTo>
                    <a:pt x="959" y="27"/>
                    <a:pt x="959" y="27"/>
                    <a:pt x="959" y="27"/>
                  </a:cubicBezTo>
                  <a:cubicBezTo>
                    <a:pt x="958" y="27"/>
                    <a:pt x="958" y="27"/>
                    <a:pt x="958" y="27"/>
                  </a:cubicBezTo>
                  <a:close/>
                  <a:moveTo>
                    <a:pt x="1355" y="70"/>
                  </a:moveTo>
                  <a:cubicBezTo>
                    <a:pt x="1356" y="70"/>
                    <a:pt x="1356" y="70"/>
                    <a:pt x="1356" y="70"/>
                  </a:cubicBezTo>
                  <a:cubicBezTo>
                    <a:pt x="1356" y="70"/>
                    <a:pt x="1356" y="70"/>
                    <a:pt x="1355" y="70"/>
                  </a:cubicBezTo>
                  <a:close/>
                  <a:moveTo>
                    <a:pt x="1370" y="69"/>
                  </a:moveTo>
                  <a:cubicBezTo>
                    <a:pt x="1370" y="69"/>
                    <a:pt x="1370" y="70"/>
                    <a:pt x="1370" y="70"/>
                  </a:cubicBezTo>
                  <a:cubicBezTo>
                    <a:pt x="1370" y="70"/>
                    <a:pt x="1370" y="70"/>
                    <a:pt x="1370" y="69"/>
                  </a:cubicBezTo>
                  <a:close/>
                  <a:moveTo>
                    <a:pt x="971" y="28"/>
                  </a:moveTo>
                  <a:cubicBezTo>
                    <a:pt x="971" y="28"/>
                    <a:pt x="971" y="28"/>
                    <a:pt x="971" y="28"/>
                  </a:cubicBezTo>
                  <a:cubicBezTo>
                    <a:pt x="971" y="28"/>
                    <a:pt x="971" y="28"/>
                    <a:pt x="971" y="28"/>
                  </a:cubicBezTo>
                  <a:close/>
                  <a:moveTo>
                    <a:pt x="1376" y="54"/>
                  </a:moveTo>
                  <a:cubicBezTo>
                    <a:pt x="1376" y="54"/>
                    <a:pt x="1376" y="53"/>
                    <a:pt x="1376" y="53"/>
                  </a:cubicBezTo>
                  <a:cubicBezTo>
                    <a:pt x="1376" y="53"/>
                    <a:pt x="1376" y="53"/>
                    <a:pt x="1376" y="54"/>
                  </a:cubicBezTo>
                  <a:close/>
                  <a:moveTo>
                    <a:pt x="1555" y="70"/>
                  </a:moveTo>
                  <a:cubicBezTo>
                    <a:pt x="1554" y="70"/>
                    <a:pt x="1554" y="70"/>
                    <a:pt x="1554" y="70"/>
                  </a:cubicBezTo>
                  <a:cubicBezTo>
                    <a:pt x="1554" y="70"/>
                    <a:pt x="1554" y="70"/>
                    <a:pt x="1555" y="70"/>
                  </a:cubicBezTo>
                  <a:close/>
                  <a:moveTo>
                    <a:pt x="1487" y="28"/>
                  </a:moveTo>
                  <a:cubicBezTo>
                    <a:pt x="1486" y="28"/>
                    <a:pt x="1486" y="28"/>
                    <a:pt x="1486" y="28"/>
                  </a:cubicBezTo>
                  <a:cubicBezTo>
                    <a:pt x="1486" y="28"/>
                    <a:pt x="1487" y="28"/>
                    <a:pt x="1487" y="28"/>
                  </a:cubicBezTo>
                  <a:close/>
                  <a:moveTo>
                    <a:pt x="971" y="28"/>
                  </a:moveTo>
                  <a:cubicBezTo>
                    <a:pt x="971" y="28"/>
                    <a:pt x="971" y="29"/>
                    <a:pt x="971" y="29"/>
                  </a:cubicBezTo>
                  <a:cubicBezTo>
                    <a:pt x="971" y="29"/>
                    <a:pt x="971" y="29"/>
                    <a:pt x="971" y="28"/>
                  </a:cubicBezTo>
                  <a:close/>
                  <a:moveTo>
                    <a:pt x="1723" y="70"/>
                  </a:moveTo>
                  <a:cubicBezTo>
                    <a:pt x="1722" y="70"/>
                    <a:pt x="1722" y="70"/>
                    <a:pt x="1722" y="70"/>
                  </a:cubicBezTo>
                  <a:cubicBezTo>
                    <a:pt x="1722" y="70"/>
                    <a:pt x="1723" y="70"/>
                    <a:pt x="1723" y="70"/>
                  </a:cubicBezTo>
                  <a:close/>
                  <a:moveTo>
                    <a:pt x="957" y="30"/>
                  </a:moveTo>
                  <a:cubicBezTo>
                    <a:pt x="957" y="30"/>
                    <a:pt x="957" y="30"/>
                    <a:pt x="957" y="29"/>
                  </a:cubicBezTo>
                  <a:cubicBezTo>
                    <a:pt x="957" y="30"/>
                    <a:pt x="957" y="30"/>
                    <a:pt x="957" y="30"/>
                  </a:cubicBezTo>
                  <a:close/>
                  <a:moveTo>
                    <a:pt x="970" y="30"/>
                  </a:moveTo>
                  <a:cubicBezTo>
                    <a:pt x="970" y="30"/>
                    <a:pt x="970" y="30"/>
                    <a:pt x="970" y="30"/>
                  </a:cubicBezTo>
                  <a:cubicBezTo>
                    <a:pt x="970" y="30"/>
                    <a:pt x="970" y="30"/>
                    <a:pt x="970" y="30"/>
                  </a:cubicBezTo>
                  <a:close/>
                  <a:moveTo>
                    <a:pt x="957" y="31"/>
                  </a:moveTo>
                  <a:cubicBezTo>
                    <a:pt x="957" y="31"/>
                    <a:pt x="957" y="30"/>
                    <a:pt x="957" y="30"/>
                  </a:cubicBezTo>
                  <a:cubicBezTo>
                    <a:pt x="957" y="30"/>
                    <a:pt x="957" y="30"/>
                    <a:pt x="957" y="31"/>
                  </a:cubicBezTo>
                  <a:close/>
                  <a:moveTo>
                    <a:pt x="969" y="31"/>
                  </a:moveTo>
                  <a:cubicBezTo>
                    <a:pt x="969" y="31"/>
                    <a:pt x="969" y="31"/>
                    <a:pt x="969" y="31"/>
                  </a:cubicBezTo>
                  <a:cubicBezTo>
                    <a:pt x="969" y="31"/>
                    <a:pt x="969" y="31"/>
                    <a:pt x="969" y="31"/>
                  </a:cubicBezTo>
                  <a:close/>
                  <a:moveTo>
                    <a:pt x="693" y="70"/>
                  </a:moveTo>
                  <a:cubicBezTo>
                    <a:pt x="693" y="70"/>
                    <a:pt x="694" y="70"/>
                    <a:pt x="694" y="70"/>
                  </a:cubicBezTo>
                  <a:cubicBezTo>
                    <a:pt x="694" y="70"/>
                    <a:pt x="693" y="70"/>
                    <a:pt x="693" y="70"/>
                  </a:cubicBezTo>
                  <a:close/>
                  <a:moveTo>
                    <a:pt x="969" y="32"/>
                  </a:moveTo>
                  <a:cubicBezTo>
                    <a:pt x="968" y="32"/>
                    <a:pt x="968" y="32"/>
                    <a:pt x="968" y="32"/>
                  </a:cubicBezTo>
                  <a:cubicBezTo>
                    <a:pt x="968" y="32"/>
                    <a:pt x="969" y="32"/>
                    <a:pt x="969" y="32"/>
                  </a:cubicBezTo>
                  <a:close/>
                  <a:moveTo>
                    <a:pt x="1355" y="70"/>
                  </a:moveTo>
                  <a:cubicBezTo>
                    <a:pt x="1355" y="70"/>
                    <a:pt x="1355" y="70"/>
                    <a:pt x="1355" y="70"/>
                  </a:cubicBezTo>
                  <a:cubicBezTo>
                    <a:pt x="1355" y="70"/>
                    <a:pt x="1355" y="70"/>
                    <a:pt x="1355" y="70"/>
                  </a:cubicBezTo>
                  <a:close/>
                  <a:moveTo>
                    <a:pt x="956" y="33"/>
                  </a:moveTo>
                  <a:cubicBezTo>
                    <a:pt x="956" y="33"/>
                    <a:pt x="956" y="32"/>
                    <a:pt x="956" y="32"/>
                  </a:cubicBezTo>
                  <a:cubicBezTo>
                    <a:pt x="956" y="32"/>
                    <a:pt x="956" y="33"/>
                    <a:pt x="956" y="33"/>
                  </a:cubicBezTo>
                  <a:close/>
                  <a:moveTo>
                    <a:pt x="1539" y="70"/>
                  </a:moveTo>
                  <a:cubicBezTo>
                    <a:pt x="1539" y="70"/>
                    <a:pt x="1540" y="70"/>
                    <a:pt x="1540" y="70"/>
                  </a:cubicBezTo>
                  <a:cubicBezTo>
                    <a:pt x="1539" y="70"/>
                    <a:pt x="1539" y="70"/>
                    <a:pt x="1539" y="70"/>
                  </a:cubicBezTo>
                  <a:close/>
                  <a:moveTo>
                    <a:pt x="1554" y="70"/>
                  </a:moveTo>
                  <a:cubicBezTo>
                    <a:pt x="1554" y="70"/>
                    <a:pt x="1554" y="70"/>
                    <a:pt x="1554" y="70"/>
                  </a:cubicBezTo>
                  <a:cubicBezTo>
                    <a:pt x="1554" y="70"/>
                    <a:pt x="1554" y="70"/>
                    <a:pt x="1554" y="70"/>
                  </a:cubicBezTo>
                  <a:close/>
                  <a:moveTo>
                    <a:pt x="1707" y="70"/>
                  </a:moveTo>
                  <a:cubicBezTo>
                    <a:pt x="1708" y="70"/>
                    <a:pt x="1708" y="70"/>
                    <a:pt x="1708" y="70"/>
                  </a:cubicBezTo>
                  <a:cubicBezTo>
                    <a:pt x="1708" y="70"/>
                    <a:pt x="1707" y="70"/>
                    <a:pt x="1707" y="70"/>
                  </a:cubicBezTo>
                  <a:close/>
                  <a:moveTo>
                    <a:pt x="1722" y="70"/>
                  </a:moveTo>
                  <a:cubicBezTo>
                    <a:pt x="1722" y="70"/>
                    <a:pt x="1722" y="70"/>
                    <a:pt x="1722" y="70"/>
                  </a:cubicBezTo>
                  <a:cubicBezTo>
                    <a:pt x="1722" y="70"/>
                    <a:pt x="1722" y="70"/>
                    <a:pt x="1722" y="70"/>
                  </a:cubicBezTo>
                  <a:close/>
                  <a:moveTo>
                    <a:pt x="1143" y="35"/>
                  </a:moveTo>
                  <a:cubicBezTo>
                    <a:pt x="1143" y="35"/>
                    <a:pt x="1143" y="35"/>
                    <a:pt x="1143" y="35"/>
                  </a:cubicBezTo>
                  <a:cubicBezTo>
                    <a:pt x="1143" y="35"/>
                    <a:pt x="1143" y="35"/>
                    <a:pt x="1143" y="35"/>
                  </a:cubicBezTo>
                  <a:close/>
                  <a:moveTo>
                    <a:pt x="669" y="35"/>
                  </a:moveTo>
                  <a:cubicBezTo>
                    <a:pt x="670" y="35"/>
                    <a:pt x="670" y="35"/>
                    <a:pt x="670" y="35"/>
                  </a:cubicBezTo>
                  <a:cubicBezTo>
                    <a:pt x="670" y="35"/>
                    <a:pt x="669" y="35"/>
                    <a:pt x="669" y="35"/>
                  </a:cubicBezTo>
                  <a:close/>
                  <a:moveTo>
                    <a:pt x="1355" y="71"/>
                  </a:moveTo>
                  <a:cubicBezTo>
                    <a:pt x="1355" y="71"/>
                    <a:pt x="1355" y="70"/>
                    <a:pt x="1355" y="70"/>
                  </a:cubicBezTo>
                  <a:cubicBezTo>
                    <a:pt x="1355" y="70"/>
                    <a:pt x="1355" y="70"/>
                    <a:pt x="1355" y="71"/>
                  </a:cubicBezTo>
                  <a:close/>
                  <a:moveTo>
                    <a:pt x="1369" y="70"/>
                  </a:moveTo>
                  <a:cubicBezTo>
                    <a:pt x="1369" y="70"/>
                    <a:pt x="1369" y="70"/>
                    <a:pt x="1369" y="71"/>
                  </a:cubicBezTo>
                  <a:cubicBezTo>
                    <a:pt x="1369" y="70"/>
                    <a:pt x="1369" y="70"/>
                    <a:pt x="1369" y="70"/>
                  </a:cubicBezTo>
                  <a:close/>
                  <a:moveTo>
                    <a:pt x="1539" y="71"/>
                  </a:moveTo>
                  <a:cubicBezTo>
                    <a:pt x="1539" y="71"/>
                    <a:pt x="1539" y="70"/>
                    <a:pt x="1539" y="70"/>
                  </a:cubicBezTo>
                  <a:cubicBezTo>
                    <a:pt x="1539" y="70"/>
                    <a:pt x="1539" y="70"/>
                    <a:pt x="1539" y="71"/>
                  </a:cubicBezTo>
                  <a:close/>
                  <a:moveTo>
                    <a:pt x="859" y="35"/>
                  </a:moveTo>
                  <a:cubicBezTo>
                    <a:pt x="859" y="35"/>
                    <a:pt x="859" y="35"/>
                    <a:pt x="859" y="35"/>
                  </a:cubicBezTo>
                  <a:cubicBezTo>
                    <a:pt x="859" y="35"/>
                    <a:pt x="859" y="35"/>
                    <a:pt x="859" y="35"/>
                  </a:cubicBezTo>
                  <a:close/>
                  <a:moveTo>
                    <a:pt x="1661" y="71"/>
                  </a:moveTo>
                  <a:cubicBezTo>
                    <a:pt x="1661" y="70"/>
                    <a:pt x="1661" y="70"/>
                    <a:pt x="1661" y="70"/>
                  </a:cubicBezTo>
                  <a:cubicBezTo>
                    <a:pt x="1661" y="70"/>
                    <a:pt x="1661" y="70"/>
                    <a:pt x="1661" y="71"/>
                  </a:cubicBezTo>
                  <a:close/>
                  <a:moveTo>
                    <a:pt x="879" y="35"/>
                  </a:moveTo>
                  <a:cubicBezTo>
                    <a:pt x="879" y="35"/>
                    <a:pt x="879" y="35"/>
                    <a:pt x="879" y="35"/>
                  </a:cubicBezTo>
                  <a:cubicBezTo>
                    <a:pt x="879" y="35"/>
                    <a:pt x="879" y="35"/>
                    <a:pt x="879" y="35"/>
                  </a:cubicBezTo>
                  <a:close/>
                  <a:moveTo>
                    <a:pt x="1707" y="71"/>
                  </a:moveTo>
                  <a:cubicBezTo>
                    <a:pt x="1707" y="71"/>
                    <a:pt x="1707" y="70"/>
                    <a:pt x="1707" y="70"/>
                  </a:cubicBezTo>
                  <a:cubicBezTo>
                    <a:pt x="1707" y="70"/>
                    <a:pt x="1707" y="70"/>
                    <a:pt x="1707" y="71"/>
                  </a:cubicBezTo>
                  <a:close/>
                  <a:moveTo>
                    <a:pt x="902" y="35"/>
                  </a:moveTo>
                  <a:cubicBezTo>
                    <a:pt x="902" y="35"/>
                    <a:pt x="902" y="35"/>
                    <a:pt x="902" y="35"/>
                  </a:cubicBezTo>
                  <a:cubicBezTo>
                    <a:pt x="902" y="35"/>
                    <a:pt x="902" y="35"/>
                    <a:pt x="902" y="35"/>
                  </a:cubicBezTo>
                  <a:close/>
                  <a:moveTo>
                    <a:pt x="1144" y="35"/>
                  </a:moveTo>
                  <a:cubicBezTo>
                    <a:pt x="1144" y="35"/>
                    <a:pt x="1144" y="35"/>
                    <a:pt x="1144" y="35"/>
                  </a:cubicBezTo>
                  <a:cubicBezTo>
                    <a:pt x="1144" y="35"/>
                    <a:pt x="1144" y="35"/>
                    <a:pt x="1144" y="35"/>
                  </a:cubicBezTo>
                  <a:close/>
                  <a:moveTo>
                    <a:pt x="1297" y="35"/>
                  </a:moveTo>
                  <a:cubicBezTo>
                    <a:pt x="1298" y="35"/>
                    <a:pt x="1298" y="35"/>
                    <a:pt x="1298" y="35"/>
                  </a:cubicBezTo>
                  <a:cubicBezTo>
                    <a:pt x="1298" y="35"/>
                    <a:pt x="1297" y="35"/>
                    <a:pt x="1297" y="35"/>
                  </a:cubicBezTo>
                  <a:close/>
                  <a:moveTo>
                    <a:pt x="669" y="36"/>
                  </a:moveTo>
                  <a:cubicBezTo>
                    <a:pt x="669" y="36"/>
                    <a:pt x="669" y="36"/>
                    <a:pt x="669" y="35"/>
                  </a:cubicBezTo>
                  <a:cubicBezTo>
                    <a:pt x="669" y="35"/>
                    <a:pt x="669" y="36"/>
                    <a:pt x="669" y="36"/>
                  </a:cubicBezTo>
                  <a:close/>
                  <a:moveTo>
                    <a:pt x="837" y="36"/>
                  </a:moveTo>
                  <a:cubicBezTo>
                    <a:pt x="837" y="36"/>
                    <a:pt x="837" y="36"/>
                    <a:pt x="837" y="35"/>
                  </a:cubicBezTo>
                  <a:cubicBezTo>
                    <a:pt x="837" y="36"/>
                    <a:pt x="837" y="36"/>
                    <a:pt x="837" y="36"/>
                  </a:cubicBezTo>
                  <a:close/>
                  <a:moveTo>
                    <a:pt x="878" y="36"/>
                  </a:moveTo>
                  <a:cubicBezTo>
                    <a:pt x="878" y="36"/>
                    <a:pt x="878" y="36"/>
                    <a:pt x="878" y="35"/>
                  </a:cubicBezTo>
                  <a:cubicBezTo>
                    <a:pt x="878" y="35"/>
                    <a:pt x="878" y="36"/>
                    <a:pt x="878" y="36"/>
                  </a:cubicBezTo>
                  <a:close/>
                  <a:moveTo>
                    <a:pt x="1354" y="71"/>
                  </a:moveTo>
                  <a:cubicBezTo>
                    <a:pt x="1355" y="71"/>
                    <a:pt x="1355" y="71"/>
                    <a:pt x="1355" y="71"/>
                  </a:cubicBezTo>
                  <a:cubicBezTo>
                    <a:pt x="1355" y="71"/>
                    <a:pt x="1355" y="71"/>
                    <a:pt x="1354" y="71"/>
                  </a:cubicBezTo>
                  <a:close/>
                  <a:moveTo>
                    <a:pt x="1369" y="70"/>
                  </a:moveTo>
                  <a:cubicBezTo>
                    <a:pt x="1369" y="71"/>
                    <a:pt x="1369" y="71"/>
                    <a:pt x="1369" y="71"/>
                  </a:cubicBezTo>
                  <a:cubicBezTo>
                    <a:pt x="1369" y="71"/>
                    <a:pt x="1369" y="71"/>
                    <a:pt x="1369" y="70"/>
                  </a:cubicBezTo>
                  <a:close/>
                  <a:moveTo>
                    <a:pt x="1539" y="71"/>
                  </a:moveTo>
                  <a:cubicBezTo>
                    <a:pt x="1539" y="71"/>
                    <a:pt x="1539" y="71"/>
                    <a:pt x="1539" y="71"/>
                  </a:cubicBezTo>
                  <a:cubicBezTo>
                    <a:pt x="1539" y="71"/>
                    <a:pt x="1539" y="71"/>
                    <a:pt x="1539" y="71"/>
                  </a:cubicBezTo>
                  <a:close/>
                  <a:moveTo>
                    <a:pt x="1553" y="71"/>
                  </a:moveTo>
                  <a:cubicBezTo>
                    <a:pt x="1553" y="71"/>
                    <a:pt x="1553" y="71"/>
                    <a:pt x="1553" y="71"/>
                  </a:cubicBezTo>
                  <a:cubicBezTo>
                    <a:pt x="1553" y="71"/>
                    <a:pt x="1553" y="71"/>
                    <a:pt x="1553" y="71"/>
                  </a:cubicBezTo>
                  <a:close/>
                  <a:moveTo>
                    <a:pt x="1707" y="71"/>
                  </a:moveTo>
                  <a:cubicBezTo>
                    <a:pt x="1707" y="71"/>
                    <a:pt x="1707" y="71"/>
                    <a:pt x="1707" y="71"/>
                  </a:cubicBezTo>
                  <a:cubicBezTo>
                    <a:pt x="1707" y="71"/>
                    <a:pt x="1707" y="71"/>
                    <a:pt x="1707" y="71"/>
                  </a:cubicBezTo>
                  <a:close/>
                  <a:moveTo>
                    <a:pt x="1721" y="71"/>
                  </a:moveTo>
                  <a:cubicBezTo>
                    <a:pt x="1721" y="71"/>
                    <a:pt x="1721" y="71"/>
                    <a:pt x="1721" y="71"/>
                  </a:cubicBezTo>
                  <a:cubicBezTo>
                    <a:pt x="1721" y="71"/>
                    <a:pt x="1721" y="71"/>
                    <a:pt x="1721" y="71"/>
                  </a:cubicBezTo>
                  <a:close/>
                  <a:moveTo>
                    <a:pt x="902" y="35"/>
                  </a:moveTo>
                  <a:cubicBezTo>
                    <a:pt x="903" y="36"/>
                    <a:pt x="903" y="36"/>
                    <a:pt x="903" y="36"/>
                  </a:cubicBezTo>
                  <a:cubicBezTo>
                    <a:pt x="903" y="36"/>
                    <a:pt x="903" y="35"/>
                    <a:pt x="902" y="35"/>
                  </a:cubicBezTo>
                  <a:close/>
                  <a:moveTo>
                    <a:pt x="764" y="36"/>
                  </a:moveTo>
                  <a:cubicBezTo>
                    <a:pt x="764" y="36"/>
                    <a:pt x="764" y="36"/>
                    <a:pt x="764" y="36"/>
                  </a:cubicBezTo>
                  <a:cubicBezTo>
                    <a:pt x="764" y="36"/>
                    <a:pt x="764" y="36"/>
                    <a:pt x="764" y="36"/>
                  </a:cubicBezTo>
                  <a:close/>
                  <a:moveTo>
                    <a:pt x="1074" y="36"/>
                  </a:moveTo>
                  <a:cubicBezTo>
                    <a:pt x="1074" y="36"/>
                    <a:pt x="1074" y="36"/>
                    <a:pt x="1075" y="36"/>
                  </a:cubicBezTo>
                  <a:cubicBezTo>
                    <a:pt x="1074" y="36"/>
                    <a:pt x="1074" y="36"/>
                    <a:pt x="1074" y="36"/>
                  </a:cubicBezTo>
                  <a:close/>
                  <a:moveTo>
                    <a:pt x="1145" y="36"/>
                  </a:moveTo>
                  <a:cubicBezTo>
                    <a:pt x="1145" y="36"/>
                    <a:pt x="1145" y="36"/>
                    <a:pt x="1145" y="36"/>
                  </a:cubicBezTo>
                  <a:cubicBezTo>
                    <a:pt x="1145" y="36"/>
                    <a:pt x="1145" y="36"/>
                    <a:pt x="1145" y="36"/>
                  </a:cubicBezTo>
                  <a:close/>
                  <a:moveTo>
                    <a:pt x="1252" y="36"/>
                  </a:moveTo>
                  <a:cubicBezTo>
                    <a:pt x="1252" y="36"/>
                    <a:pt x="1252" y="36"/>
                    <a:pt x="1252" y="36"/>
                  </a:cubicBezTo>
                  <a:cubicBezTo>
                    <a:pt x="1252" y="36"/>
                    <a:pt x="1252" y="36"/>
                    <a:pt x="1252" y="36"/>
                  </a:cubicBezTo>
                  <a:close/>
                  <a:moveTo>
                    <a:pt x="763" y="36"/>
                  </a:moveTo>
                  <a:cubicBezTo>
                    <a:pt x="764" y="36"/>
                    <a:pt x="764" y="36"/>
                    <a:pt x="764" y="36"/>
                  </a:cubicBezTo>
                  <a:cubicBezTo>
                    <a:pt x="764" y="36"/>
                    <a:pt x="763" y="36"/>
                    <a:pt x="763" y="36"/>
                  </a:cubicBezTo>
                  <a:close/>
                  <a:moveTo>
                    <a:pt x="861" y="36"/>
                  </a:moveTo>
                  <a:cubicBezTo>
                    <a:pt x="861" y="36"/>
                    <a:pt x="861" y="36"/>
                    <a:pt x="861" y="36"/>
                  </a:cubicBezTo>
                  <a:cubicBezTo>
                    <a:pt x="861" y="36"/>
                    <a:pt x="861" y="36"/>
                    <a:pt x="861" y="36"/>
                  </a:cubicBezTo>
                  <a:close/>
                  <a:moveTo>
                    <a:pt x="904" y="36"/>
                  </a:moveTo>
                  <a:cubicBezTo>
                    <a:pt x="904" y="36"/>
                    <a:pt x="904" y="36"/>
                    <a:pt x="904" y="36"/>
                  </a:cubicBezTo>
                  <a:cubicBezTo>
                    <a:pt x="904" y="36"/>
                    <a:pt x="904" y="36"/>
                    <a:pt x="904" y="36"/>
                  </a:cubicBezTo>
                  <a:close/>
                  <a:moveTo>
                    <a:pt x="1538" y="71"/>
                  </a:moveTo>
                  <a:cubicBezTo>
                    <a:pt x="1538" y="71"/>
                    <a:pt x="1539" y="71"/>
                    <a:pt x="1539" y="71"/>
                  </a:cubicBezTo>
                  <a:cubicBezTo>
                    <a:pt x="1538" y="71"/>
                    <a:pt x="1538" y="71"/>
                    <a:pt x="1538" y="71"/>
                  </a:cubicBezTo>
                  <a:close/>
                  <a:moveTo>
                    <a:pt x="1553" y="71"/>
                  </a:moveTo>
                  <a:cubicBezTo>
                    <a:pt x="1553" y="71"/>
                    <a:pt x="1552" y="71"/>
                    <a:pt x="1552" y="71"/>
                  </a:cubicBezTo>
                  <a:cubicBezTo>
                    <a:pt x="1553" y="71"/>
                    <a:pt x="1553" y="71"/>
                    <a:pt x="1553" y="71"/>
                  </a:cubicBezTo>
                  <a:close/>
                  <a:moveTo>
                    <a:pt x="1661" y="71"/>
                  </a:moveTo>
                  <a:cubicBezTo>
                    <a:pt x="1661" y="71"/>
                    <a:pt x="1661" y="71"/>
                    <a:pt x="1661" y="71"/>
                  </a:cubicBezTo>
                  <a:cubicBezTo>
                    <a:pt x="1661" y="71"/>
                    <a:pt x="1661" y="71"/>
                    <a:pt x="1661" y="71"/>
                  </a:cubicBezTo>
                  <a:close/>
                  <a:moveTo>
                    <a:pt x="1075" y="36"/>
                  </a:moveTo>
                  <a:cubicBezTo>
                    <a:pt x="1075" y="36"/>
                    <a:pt x="1075" y="36"/>
                    <a:pt x="1075" y="36"/>
                  </a:cubicBezTo>
                  <a:cubicBezTo>
                    <a:pt x="1075" y="36"/>
                    <a:pt x="1075" y="36"/>
                    <a:pt x="1075" y="36"/>
                  </a:cubicBezTo>
                  <a:close/>
                  <a:moveTo>
                    <a:pt x="1706" y="71"/>
                  </a:moveTo>
                  <a:cubicBezTo>
                    <a:pt x="1707" y="71"/>
                    <a:pt x="1707" y="71"/>
                    <a:pt x="1707" y="71"/>
                  </a:cubicBezTo>
                  <a:cubicBezTo>
                    <a:pt x="1707" y="71"/>
                    <a:pt x="1706" y="71"/>
                    <a:pt x="1706" y="71"/>
                  </a:cubicBezTo>
                  <a:close/>
                  <a:moveTo>
                    <a:pt x="1721" y="71"/>
                  </a:moveTo>
                  <a:cubicBezTo>
                    <a:pt x="1721" y="71"/>
                    <a:pt x="1721" y="71"/>
                    <a:pt x="1720" y="71"/>
                  </a:cubicBezTo>
                  <a:cubicBezTo>
                    <a:pt x="1721" y="71"/>
                    <a:pt x="1721" y="71"/>
                    <a:pt x="1721" y="71"/>
                  </a:cubicBezTo>
                  <a:close/>
                  <a:moveTo>
                    <a:pt x="1118" y="36"/>
                  </a:moveTo>
                  <a:cubicBezTo>
                    <a:pt x="1119" y="36"/>
                    <a:pt x="1119" y="36"/>
                    <a:pt x="1119" y="36"/>
                  </a:cubicBezTo>
                  <a:cubicBezTo>
                    <a:pt x="1119" y="36"/>
                    <a:pt x="1118" y="36"/>
                    <a:pt x="1118" y="36"/>
                  </a:cubicBezTo>
                  <a:close/>
                  <a:moveTo>
                    <a:pt x="1368" y="71"/>
                  </a:moveTo>
                  <a:cubicBezTo>
                    <a:pt x="1368" y="71"/>
                    <a:pt x="1368" y="71"/>
                    <a:pt x="1368" y="72"/>
                  </a:cubicBezTo>
                  <a:cubicBezTo>
                    <a:pt x="1368" y="71"/>
                    <a:pt x="1368" y="71"/>
                    <a:pt x="1368" y="71"/>
                  </a:cubicBezTo>
                  <a:close/>
                  <a:moveTo>
                    <a:pt x="1538" y="72"/>
                  </a:moveTo>
                  <a:cubicBezTo>
                    <a:pt x="1538" y="72"/>
                    <a:pt x="1538" y="71"/>
                    <a:pt x="1538" y="71"/>
                  </a:cubicBezTo>
                  <a:cubicBezTo>
                    <a:pt x="1538" y="71"/>
                    <a:pt x="1538" y="71"/>
                    <a:pt x="1538" y="72"/>
                  </a:cubicBezTo>
                  <a:close/>
                  <a:moveTo>
                    <a:pt x="667" y="37"/>
                  </a:moveTo>
                  <a:cubicBezTo>
                    <a:pt x="667" y="37"/>
                    <a:pt x="667" y="37"/>
                    <a:pt x="667" y="36"/>
                  </a:cubicBezTo>
                  <a:cubicBezTo>
                    <a:pt x="667" y="36"/>
                    <a:pt x="667" y="37"/>
                    <a:pt x="667" y="37"/>
                  </a:cubicBezTo>
                  <a:close/>
                  <a:moveTo>
                    <a:pt x="793" y="36"/>
                  </a:moveTo>
                  <a:cubicBezTo>
                    <a:pt x="793" y="37"/>
                    <a:pt x="793" y="37"/>
                    <a:pt x="794" y="37"/>
                  </a:cubicBezTo>
                  <a:cubicBezTo>
                    <a:pt x="794" y="37"/>
                    <a:pt x="793" y="36"/>
                    <a:pt x="793" y="36"/>
                  </a:cubicBezTo>
                  <a:close/>
                  <a:moveTo>
                    <a:pt x="1706" y="72"/>
                  </a:moveTo>
                  <a:cubicBezTo>
                    <a:pt x="1706" y="72"/>
                    <a:pt x="1706" y="71"/>
                    <a:pt x="1706" y="71"/>
                  </a:cubicBezTo>
                  <a:cubicBezTo>
                    <a:pt x="1706" y="71"/>
                    <a:pt x="1706" y="71"/>
                    <a:pt x="1706" y="72"/>
                  </a:cubicBezTo>
                  <a:close/>
                  <a:moveTo>
                    <a:pt x="861" y="36"/>
                  </a:moveTo>
                  <a:cubicBezTo>
                    <a:pt x="861" y="37"/>
                    <a:pt x="861" y="37"/>
                    <a:pt x="862" y="37"/>
                  </a:cubicBezTo>
                  <a:cubicBezTo>
                    <a:pt x="861" y="37"/>
                    <a:pt x="861" y="37"/>
                    <a:pt x="861" y="36"/>
                  </a:cubicBezTo>
                  <a:close/>
                  <a:moveTo>
                    <a:pt x="904" y="36"/>
                  </a:moveTo>
                  <a:cubicBezTo>
                    <a:pt x="904" y="37"/>
                    <a:pt x="904" y="37"/>
                    <a:pt x="904" y="37"/>
                  </a:cubicBezTo>
                  <a:cubicBezTo>
                    <a:pt x="904" y="37"/>
                    <a:pt x="904" y="37"/>
                    <a:pt x="904" y="36"/>
                  </a:cubicBezTo>
                  <a:close/>
                  <a:moveTo>
                    <a:pt x="1045" y="37"/>
                  </a:moveTo>
                  <a:cubicBezTo>
                    <a:pt x="1045" y="37"/>
                    <a:pt x="1045" y="37"/>
                    <a:pt x="1045" y="36"/>
                  </a:cubicBezTo>
                  <a:cubicBezTo>
                    <a:pt x="1045" y="37"/>
                    <a:pt x="1045" y="37"/>
                    <a:pt x="1045" y="37"/>
                  </a:cubicBezTo>
                  <a:close/>
                  <a:moveTo>
                    <a:pt x="1146" y="36"/>
                  </a:moveTo>
                  <a:cubicBezTo>
                    <a:pt x="1146" y="37"/>
                    <a:pt x="1146" y="37"/>
                    <a:pt x="1146" y="37"/>
                  </a:cubicBezTo>
                  <a:cubicBezTo>
                    <a:pt x="1146" y="37"/>
                    <a:pt x="1146" y="36"/>
                    <a:pt x="1146" y="36"/>
                  </a:cubicBezTo>
                  <a:close/>
                  <a:moveTo>
                    <a:pt x="1295" y="37"/>
                  </a:moveTo>
                  <a:cubicBezTo>
                    <a:pt x="1295" y="37"/>
                    <a:pt x="1296" y="37"/>
                    <a:pt x="1296" y="36"/>
                  </a:cubicBezTo>
                  <a:cubicBezTo>
                    <a:pt x="1295" y="36"/>
                    <a:pt x="1295" y="37"/>
                    <a:pt x="1295" y="37"/>
                  </a:cubicBezTo>
                  <a:close/>
                  <a:moveTo>
                    <a:pt x="835" y="37"/>
                  </a:moveTo>
                  <a:cubicBezTo>
                    <a:pt x="835" y="37"/>
                    <a:pt x="835" y="37"/>
                    <a:pt x="835" y="37"/>
                  </a:cubicBezTo>
                  <a:cubicBezTo>
                    <a:pt x="835" y="37"/>
                    <a:pt x="835" y="37"/>
                    <a:pt x="835" y="37"/>
                  </a:cubicBezTo>
                  <a:close/>
                  <a:moveTo>
                    <a:pt x="1368" y="72"/>
                  </a:moveTo>
                  <a:cubicBezTo>
                    <a:pt x="1367" y="72"/>
                    <a:pt x="1367" y="72"/>
                    <a:pt x="1367" y="72"/>
                  </a:cubicBezTo>
                  <a:cubicBezTo>
                    <a:pt x="1367" y="72"/>
                    <a:pt x="1368" y="72"/>
                    <a:pt x="1368" y="72"/>
                  </a:cubicBezTo>
                  <a:close/>
                  <a:moveTo>
                    <a:pt x="1537" y="72"/>
                  </a:moveTo>
                  <a:cubicBezTo>
                    <a:pt x="1538" y="72"/>
                    <a:pt x="1538" y="72"/>
                    <a:pt x="1538" y="72"/>
                  </a:cubicBezTo>
                  <a:cubicBezTo>
                    <a:pt x="1538" y="72"/>
                    <a:pt x="1538" y="72"/>
                    <a:pt x="1537" y="72"/>
                  </a:cubicBezTo>
                  <a:close/>
                  <a:moveTo>
                    <a:pt x="1552" y="72"/>
                  </a:moveTo>
                  <a:cubicBezTo>
                    <a:pt x="1552" y="72"/>
                    <a:pt x="1551" y="72"/>
                    <a:pt x="1551" y="72"/>
                  </a:cubicBezTo>
                  <a:cubicBezTo>
                    <a:pt x="1552" y="72"/>
                    <a:pt x="1552" y="72"/>
                    <a:pt x="1552" y="72"/>
                  </a:cubicBezTo>
                  <a:close/>
                  <a:moveTo>
                    <a:pt x="876" y="37"/>
                  </a:moveTo>
                  <a:cubicBezTo>
                    <a:pt x="876" y="37"/>
                    <a:pt x="876" y="37"/>
                    <a:pt x="876" y="37"/>
                  </a:cubicBezTo>
                  <a:cubicBezTo>
                    <a:pt x="876" y="37"/>
                    <a:pt x="876" y="37"/>
                    <a:pt x="876" y="37"/>
                  </a:cubicBezTo>
                  <a:close/>
                  <a:moveTo>
                    <a:pt x="1706" y="72"/>
                  </a:moveTo>
                  <a:cubicBezTo>
                    <a:pt x="1706" y="72"/>
                    <a:pt x="1706" y="72"/>
                    <a:pt x="1706" y="72"/>
                  </a:cubicBezTo>
                  <a:cubicBezTo>
                    <a:pt x="1706" y="72"/>
                    <a:pt x="1706" y="72"/>
                    <a:pt x="1706" y="72"/>
                  </a:cubicBezTo>
                  <a:close/>
                  <a:moveTo>
                    <a:pt x="1720" y="72"/>
                  </a:moveTo>
                  <a:cubicBezTo>
                    <a:pt x="1720" y="72"/>
                    <a:pt x="1720" y="72"/>
                    <a:pt x="1720" y="72"/>
                  </a:cubicBezTo>
                  <a:cubicBezTo>
                    <a:pt x="1720" y="72"/>
                    <a:pt x="1720" y="72"/>
                    <a:pt x="1720" y="72"/>
                  </a:cubicBezTo>
                  <a:close/>
                  <a:moveTo>
                    <a:pt x="1076" y="37"/>
                  </a:moveTo>
                  <a:cubicBezTo>
                    <a:pt x="1076" y="37"/>
                    <a:pt x="1076" y="37"/>
                    <a:pt x="1076" y="37"/>
                  </a:cubicBezTo>
                  <a:cubicBezTo>
                    <a:pt x="1076" y="37"/>
                    <a:pt x="1076" y="37"/>
                    <a:pt x="1076" y="37"/>
                  </a:cubicBezTo>
                  <a:close/>
                  <a:moveTo>
                    <a:pt x="1117" y="37"/>
                  </a:moveTo>
                  <a:cubicBezTo>
                    <a:pt x="1118" y="37"/>
                    <a:pt x="1118" y="37"/>
                    <a:pt x="1118" y="37"/>
                  </a:cubicBezTo>
                  <a:cubicBezTo>
                    <a:pt x="1118" y="37"/>
                    <a:pt x="1117" y="37"/>
                    <a:pt x="1117" y="37"/>
                  </a:cubicBezTo>
                  <a:close/>
                  <a:moveTo>
                    <a:pt x="1222" y="37"/>
                  </a:moveTo>
                  <a:cubicBezTo>
                    <a:pt x="1222" y="37"/>
                    <a:pt x="1222" y="37"/>
                    <a:pt x="1223" y="37"/>
                  </a:cubicBezTo>
                  <a:cubicBezTo>
                    <a:pt x="1222" y="37"/>
                    <a:pt x="1222" y="37"/>
                    <a:pt x="1222" y="37"/>
                  </a:cubicBezTo>
                  <a:close/>
                  <a:moveTo>
                    <a:pt x="1254" y="37"/>
                  </a:moveTo>
                  <a:cubicBezTo>
                    <a:pt x="1254" y="37"/>
                    <a:pt x="1254" y="37"/>
                    <a:pt x="1254" y="37"/>
                  </a:cubicBezTo>
                  <a:cubicBezTo>
                    <a:pt x="1254" y="37"/>
                    <a:pt x="1254" y="37"/>
                    <a:pt x="1254" y="37"/>
                  </a:cubicBezTo>
                  <a:close/>
                  <a:moveTo>
                    <a:pt x="1295" y="37"/>
                  </a:moveTo>
                  <a:cubicBezTo>
                    <a:pt x="1295" y="37"/>
                    <a:pt x="1295" y="37"/>
                    <a:pt x="1295" y="37"/>
                  </a:cubicBezTo>
                  <a:cubicBezTo>
                    <a:pt x="1295" y="37"/>
                    <a:pt x="1295" y="37"/>
                    <a:pt x="1295" y="37"/>
                  </a:cubicBezTo>
                  <a:close/>
                  <a:moveTo>
                    <a:pt x="666" y="38"/>
                  </a:moveTo>
                  <a:cubicBezTo>
                    <a:pt x="666" y="37"/>
                    <a:pt x="666" y="37"/>
                    <a:pt x="666" y="37"/>
                  </a:cubicBezTo>
                  <a:cubicBezTo>
                    <a:pt x="666" y="37"/>
                    <a:pt x="666" y="37"/>
                    <a:pt x="666" y="38"/>
                  </a:cubicBezTo>
                  <a:close/>
                  <a:moveTo>
                    <a:pt x="1537" y="72"/>
                  </a:moveTo>
                  <a:cubicBezTo>
                    <a:pt x="1537" y="72"/>
                    <a:pt x="1537" y="72"/>
                    <a:pt x="1538" y="72"/>
                  </a:cubicBezTo>
                  <a:cubicBezTo>
                    <a:pt x="1537" y="72"/>
                    <a:pt x="1537" y="72"/>
                    <a:pt x="1537" y="72"/>
                  </a:cubicBezTo>
                  <a:close/>
                  <a:moveTo>
                    <a:pt x="1551" y="72"/>
                  </a:moveTo>
                  <a:cubicBezTo>
                    <a:pt x="1551" y="72"/>
                    <a:pt x="1551" y="72"/>
                    <a:pt x="1551" y="72"/>
                  </a:cubicBezTo>
                  <a:cubicBezTo>
                    <a:pt x="1551" y="72"/>
                    <a:pt x="1551" y="72"/>
                    <a:pt x="1551" y="72"/>
                  </a:cubicBezTo>
                  <a:close/>
                  <a:moveTo>
                    <a:pt x="762" y="37"/>
                  </a:moveTo>
                  <a:cubicBezTo>
                    <a:pt x="762" y="37"/>
                    <a:pt x="762" y="37"/>
                    <a:pt x="762" y="37"/>
                  </a:cubicBezTo>
                  <a:cubicBezTo>
                    <a:pt x="762" y="37"/>
                    <a:pt x="762" y="37"/>
                    <a:pt x="762" y="37"/>
                  </a:cubicBezTo>
                  <a:close/>
                  <a:moveTo>
                    <a:pt x="1705" y="72"/>
                  </a:moveTo>
                  <a:cubicBezTo>
                    <a:pt x="1705" y="72"/>
                    <a:pt x="1706" y="72"/>
                    <a:pt x="1706" y="72"/>
                  </a:cubicBezTo>
                  <a:cubicBezTo>
                    <a:pt x="1706" y="72"/>
                    <a:pt x="1705" y="72"/>
                    <a:pt x="1705" y="72"/>
                  </a:cubicBezTo>
                  <a:close/>
                  <a:moveTo>
                    <a:pt x="1720" y="72"/>
                  </a:moveTo>
                  <a:cubicBezTo>
                    <a:pt x="1719" y="72"/>
                    <a:pt x="1719" y="72"/>
                    <a:pt x="1719" y="72"/>
                  </a:cubicBezTo>
                  <a:cubicBezTo>
                    <a:pt x="1719" y="72"/>
                    <a:pt x="1719" y="72"/>
                    <a:pt x="1720" y="72"/>
                  </a:cubicBezTo>
                  <a:close/>
                  <a:moveTo>
                    <a:pt x="794" y="37"/>
                  </a:moveTo>
                  <a:cubicBezTo>
                    <a:pt x="794" y="37"/>
                    <a:pt x="794" y="37"/>
                    <a:pt x="795" y="37"/>
                  </a:cubicBezTo>
                  <a:cubicBezTo>
                    <a:pt x="795" y="37"/>
                    <a:pt x="794" y="37"/>
                    <a:pt x="794" y="37"/>
                  </a:cubicBezTo>
                  <a:close/>
                  <a:moveTo>
                    <a:pt x="862" y="37"/>
                  </a:moveTo>
                  <a:cubicBezTo>
                    <a:pt x="862" y="37"/>
                    <a:pt x="862" y="38"/>
                    <a:pt x="862" y="38"/>
                  </a:cubicBezTo>
                  <a:cubicBezTo>
                    <a:pt x="862" y="37"/>
                    <a:pt x="862" y="37"/>
                    <a:pt x="862" y="37"/>
                  </a:cubicBezTo>
                  <a:close/>
                  <a:moveTo>
                    <a:pt x="1117" y="37"/>
                  </a:moveTo>
                  <a:cubicBezTo>
                    <a:pt x="1117" y="37"/>
                    <a:pt x="1117" y="37"/>
                    <a:pt x="1117" y="37"/>
                  </a:cubicBezTo>
                  <a:cubicBezTo>
                    <a:pt x="1117" y="37"/>
                    <a:pt x="1117" y="37"/>
                    <a:pt x="1117" y="37"/>
                  </a:cubicBezTo>
                  <a:close/>
                  <a:moveTo>
                    <a:pt x="1537" y="73"/>
                  </a:moveTo>
                  <a:cubicBezTo>
                    <a:pt x="1537" y="73"/>
                    <a:pt x="1537" y="72"/>
                    <a:pt x="1537" y="72"/>
                  </a:cubicBezTo>
                  <a:cubicBezTo>
                    <a:pt x="1537" y="72"/>
                    <a:pt x="1537" y="73"/>
                    <a:pt x="1537" y="73"/>
                  </a:cubicBezTo>
                  <a:close/>
                  <a:moveTo>
                    <a:pt x="1254" y="37"/>
                  </a:moveTo>
                  <a:cubicBezTo>
                    <a:pt x="1254" y="37"/>
                    <a:pt x="1254" y="37"/>
                    <a:pt x="1255" y="37"/>
                  </a:cubicBezTo>
                  <a:cubicBezTo>
                    <a:pt x="1254" y="37"/>
                    <a:pt x="1254" y="37"/>
                    <a:pt x="1254" y="37"/>
                  </a:cubicBezTo>
                  <a:close/>
                  <a:moveTo>
                    <a:pt x="1295" y="37"/>
                  </a:moveTo>
                  <a:cubicBezTo>
                    <a:pt x="1295" y="37"/>
                    <a:pt x="1295" y="37"/>
                    <a:pt x="1295" y="37"/>
                  </a:cubicBezTo>
                  <a:cubicBezTo>
                    <a:pt x="1295" y="37"/>
                    <a:pt x="1295" y="37"/>
                    <a:pt x="1295" y="37"/>
                  </a:cubicBezTo>
                  <a:close/>
                  <a:moveTo>
                    <a:pt x="1705" y="73"/>
                  </a:moveTo>
                  <a:cubicBezTo>
                    <a:pt x="1705" y="73"/>
                    <a:pt x="1705" y="72"/>
                    <a:pt x="1705" y="72"/>
                  </a:cubicBezTo>
                  <a:cubicBezTo>
                    <a:pt x="1705" y="72"/>
                    <a:pt x="1705" y="72"/>
                    <a:pt x="1705" y="73"/>
                  </a:cubicBezTo>
                  <a:close/>
                  <a:moveTo>
                    <a:pt x="666" y="38"/>
                  </a:moveTo>
                  <a:cubicBezTo>
                    <a:pt x="666" y="38"/>
                    <a:pt x="666" y="38"/>
                    <a:pt x="666" y="37"/>
                  </a:cubicBezTo>
                  <a:cubicBezTo>
                    <a:pt x="666" y="38"/>
                    <a:pt x="666" y="38"/>
                    <a:pt x="666" y="38"/>
                  </a:cubicBezTo>
                  <a:close/>
                  <a:moveTo>
                    <a:pt x="795" y="37"/>
                  </a:moveTo>
                  <a:cubicBezTo>
                    <a:pt x="795" y="38"/>
                    <a:pt x="795" y="38"/>
                    <a:pt x="795" y="38"/>
                  </a:cubicBezTo>
                  <a:cubicBezTo>
                    <a:pt x="795" y="38"/>
                    <a:pt x="795" y="38"/>
                    <a:pt x="795" y="37"/>
                  </a:cubicBezTo>
                  <a:close/>
                  <a:moveTo>
                    <a:pt x="862" y="38"/>
                  </a:moveTo>
                  <a:cubicBezTo>
                    <a:pt x="863" y="38"/>
                    <a:pt x="863" y="38"/>
                    <a:pt x="863" y="38"/>
                  </a:cubicBezTo>
                  <a:cubicBezTo>
                    <a:pt x="863" y="38"/>
                    <a:pt x="863" y="38"/>
                    <a:pt x="862" y="38"/>
                  </a:cubicBezTo>
                  <a:close/>
                  <a:moveTo>
                    <a:pt x="875" y="38"/>
                  </a:moveTo>
                  <a:cubicBezTo>
                    <a:pt x="875" y="38"/>
                    <a:pt x="875" y="38"/>
                    <a:pt x="875" y="38"/>
                  </a:cubicBezTo>
                  <a:cubicBezTo>
                    <a:pt x="875" y="38"/>
                    <a:pt x="875" y="38"/>
                    <a:pt x="875" y="38"/>
                  </a:cubicBezTo>
                  <a:close/>
                  <a:moveTo>
                    <a:pt x="905" y="38"/>
                  </a:moveTo>
                  <a:cubicBezTo>
                    <a:pt x="905" y="38"/>
                    <a:pt x="905" y="38"/>
                    <a:pt x="906" y="38"/>
                  </a:cubicBezTo>
                  <a:cubicBezTo>
                    <a:pt x="906" y="38"/>
                    <a:pt x="905" y="38"/>
                    <a:pt x="905" y="38"/>
                  </a:cubicBezTo>
                  <a:close/>
                  <a:moveTo>
                    <a:pt x="696" y="73"/>
                  </a:moveTo>
                  <a:cubicBezTo>
                    <a:pt x="696" y="73"/>
                    <a:pt x="696" y="73"/>
                    <a:pt x="696" y="73"/>
                  </a:cubicBezTo>
                  <a:cubicBezTo>
                    <a:pt x="696" y="73"/>
                    <a:pt x="696" y="73"/>
                    <a:pt x="696" y="73"/>
                  </a:cubicBezTo>
                  <a:close/>
                  <a:moveTo>
                    <a:pt x="1043" y="38"/>
                  </a:moveTo>
                  <a:cubicBezTo>
                    <a:pt x="1043" y="38"/>
                    <a:pt x="1044" y="38"/>
                    <a:pt x="1044" y="38"/>
                  </a:cubicBezTo>
                  <a:cubicBezTo>
                    <a:pt x="1043" y="38"/>
                    <a:pt x="1043" y="38"/>
                    <a:pt x="1043" y="38"/>
                  </a:cubicBezTo>
                  <a:close/>
                  <a:moveTo>
                    <a:pt x="1366" y="73"/>
                  </a:moveTo>
                  <a:cubicBezTo>
                    <a:pt x="1366" y="73"/>
                    <a:pt x="1366" y="73"/>
                    <a:pt x="1366" y="73"/>
                  </a:cubicBezTo>
                  <a:cubicBezTo>
                    <a:pt x="1366" y="73"/>
                    <a:pt x="1366" y="73"/>
                    <a:pt x="1366" y="73"/>
                  </a:cubicBezTo>
                  <a:close/>
                  <a:moveTo>
                    <a:pt x="1536" y="73"/>
                  </a:moveTo>
                  <a:cubicBezTo>
                    <a:pt x="1537" y="73"/>
                    <a:pt x="1537" y="73"/>
                    <a:pt x="1537" y="73"/>
                  </a:cubicBezTo>
                  <a:cubicBezTo>
                    <a:pt x="1537" y="73"/>
                    <a:pt x="1537" y="73"/>
                    <a:pt x="1536" y="73"/>
                  </a:cubicBezTo>
                  <a:close/>
                  <a:moveTo>
                    <a:pt x="1705" y="73"/>
                  </a:moveTo>
                  <a:cubicBezTo>
                    <a:pt x="1705" y="73"/>
                    <a:pt x="1705" y="73"/>
                    <a:pt x="1705" y="73"/>
                  </a:cubicBezTo>
                  <a:cubicBezTo>
                    <a:pt x="1705" y="73"/>
                    <a:pt x="1705" y="73"/>
                    <a:pt x="1705" y="73"/>
                  </a:cubicBezTo>
                  <a:close/>
                  <a:moveTo>
                    <a:pt x="1147" y="38"/>
                  </a:moveTo>
                  <a:cubicBezTo>
                    <a:pt x="1147" y="38"/>
                    <a:pt x="1147" y="38"/>
                    <a:pt x="1148" y="38"/>
                  </a:cubicBezTo>
                  <a:cubicBezTo>
                    <a:pt x="1148" y="38"/>
                    <a:pt x="1147" y="38"/>
                    <a:pt x="1147" y="38"/>
                  </a:cubicBezTo>
                  <a:close/>
                  <a:moveTo>
                    <a:pt x="696" y="73"/>
                  </a:moveTo>
                  <a:cubicBezTo>
                    <a:pt x="696" y="73"/>
                    <a:pt x="697" y="73"/>
                    <a:pt x="697" y="73"/>
                  </a:cubicBezTo>
                  <a:cubicBezTo>
                    <a:pt x="697" y="73"/>
                    <a:pt x="697" y="73"/>
                    <a:pt x="696" y="73"/>
                  </a:cubicBezTo>
                  <a:close/>
                  <a:moveTo>
                    <a:pt x="1366" y="73"/>
                  </a:moveTo>
                  <a:cubicBezTo>
                    <a:pt x="1366" y="73"/>
                    <a:pt x="1365" y="73"/>
                    <a:pt x="1365" y="73"/>
                  </a:cubicBezTo>
                  <a:cubicBezTo>
                    <a:pt x="1366" y="73"/>
                    <a:pt x="1366" y="73"/>
                    <a:pt x="1366" y="73"/>
                  </a:cubicBezTo>
                  <a:close/>
                  <a:moveTo>
                    <a:pt x="1221" y="38"/>
                  </a:moveTo>
                  <a:cubicBezTo>
                    <a:pt x="1221" y="38"/>
                    <a:pt x="1221" y="38"/>
                    <a:pt x="1222" y="38"/>
                  </a:cubicBezTo>
                  <a:cubicBezTo>
                    <a:pt x="1221" y="38"/>
                    <a:pt x="1221" y="38"/>
                    <a:pt x="1221" y="38"/>
                  </a:cubicBezTo>
                  <a:close/>
                  <a:moveTo>
                    <a:pt x="1536" y="73"/>
                  </a:moveTo>
                  <a:cubicBezTo>
                    <a:pt x="1536" y="73"/>
                    <a:pt x="1536" y="73"/>
                    <a:pt x="1536" y="73"/>
                  </a:cubicBezTo>
                  <a:cubicBezTo>
                    <a:pt x="1536" y="73"/>
                    <a:pt x="1536" y="73"/>
                    <a:pt x="1536" y="73"/>
                  </a:cubicBezTo>
                  <a:close/>
                  <a:moveTo>
                    <a:pt x="1550" y="73"/>
                  </a:moveTo>
                  <a:cubicBezTo>
                    <a:pt x="1550" y="73"/>
                    <a:pt x="1550" y="73"/>
                    <a:pt x="1550" y="73"/>
                  </a:cubicBezTo>
                  <a:cubicBezTo>
                    <a:pt x="1550" y="73"/>
                    <a:pt x="1550" y="73"/>
                    <a:pt x="1550" y="73"/>
                  </a:cubicBezTo>
                  <a:close/>
                  <a:moveTo>
                    <a:pt x="550" y="38"/>
                  </a:moveTo>
                  <a:cubicBezTo>
                    <a:pt x="550" y="38"/>
                    <a:pt x="550" y="38"/>
                    <a:pt x="551" y="38"/>
                  </a:cubicBezTo>
                  <a:cubicBezTo>
                    <a:pt x="551" y="38"/>
                    <a:pt x="550" y="38"/>
                    <a:pt x="550" y="38"/>
                  </a:cubicBezTo>
                  <a:close/>
                  <a:moveTo>
                    <a:pt x="1704" y="73"/>
                  </a:moveTo>
                  <a:cubicBezTo>
                    <a:pt x="1704" y="73"/>
                    <a:pt x="1705" y="73"/>
                    <a:pt x="1705" y="73"/>
                  </a:cubicBezTo>
                  <a:cubicBezTo>
                    <a:pt x="1704" y="73"/>
                    <a:pt x="1704" y="73"/>
                    <a:pt x="1704" y="73"/>
                  </a:cubicBezTo>
                  <a:close/>
                  <a:moveTo>
                    <a:pt x="1718" y="73"/>
                  </a:moveTo>
                  <a:cubicBezTo>
                    <a:pt x="1718" y="73"/>
                    <a:pt x="1718" y="73"/>
                    <a:pt x="1718" y="73"/>
                  </a:cubicBezTo>
                  <a:cubicBezTo>
                    <a:pt x="1718" y="73"/>
                    <a:pt x="1718" y="73"/>
                    <a:pt x="1718" y="73"/>
                  </a:cubicBezTo>
                  <a:close/>
                  <a:moveTo>
                    <a:pt x="611" y="118"/>
                  </a:moveTo>
                  <a:cubicBezTo>
                    <a:pt x="611" y="118"/>
                    <a:pt x="611" y="118"/>
                    <a:pt x="611" y="118"/>
                  </a:cubicBezTo>
                  <a:cubicBezTo>
                    <a:pt x="611" y="118"/>
                    <a:pt x="611" y="118"/>
                    <a:pt x="611" y="118"/>
                  </a:cubicBezTo>
                  <a:close/>
                  <a:moveTo>
                    <a:pt x="833" y="38"/>
                  </a:moveTo>
                  <a:cubicBezTo>
                    <a:pt x="834" y="38"/>
                    <a:pt x="834" y="38"/>
                    <a:pt x="834" y="38"/>
                  </a:cubicBezTo>
                  <a:cubicBezTo>
                    <a:pt x="834" y="38"/>
                    <a:pt x="833" y="38"/>
                    <a:pt x="833" y="38"/>
                  </a:cubicBezTo>
                  <a:close/>
                  <a:moveTo>
                    <a:pt x="863" y="38"/>
                  </a:moveTo>
                  <a:cubicBezTo>
                    <a:pt x="863" y="38"/>
                    <a:pt x="863" y="38"/>
                    <a:pt x="863" y="38"/>
                  </a:cubicBezTo>
                  <a:cubicBezTo>
                    <a:pt x="863" y="38"/>
                    <a:pt x="863" y="38"/>
                    <a:pt x="863" y="38"/>
                  </a:cubicBezTo>
                  <a:close/>
                  <a:moveTo>
                    <a:pt x="610" y="119"/>
                  </a:moveTo>
                  <a:cubicBezTo>
                    <a:pt x="610" y="119"/>
                    <a:pt x="611" y="119"/>
                    <a:pt x="611" y="119"/>
                  </a:cubicBezTo>
                  <a:cubicBezTo>
                    <a:pt x="610" y="119"/>
                    <a:pt x="610" y="119"/>
                    <a:pt x="610" y="119"/>
                  </a:cubicBezTo>
                  <a:close/>
                  <a:moveTo>
                    <a:pt x="874" y="38"/>
                  </a:moveTo>
                  <a:cubicBezTo>
                    <a:pt x="875" y="38"/>
                    <a:pt x="875" y="38"/>
                    <a:pt x="875" y="38"/>
                  </a:cubicBezTo>
                  <a:cubicBezTo>
                    <a:pt x="875" y="38"/>
                    <a:pt x="874" y="38"/>
                    <a:pt x="874" y="38"/>
                  </a:cubicBezTo>
                  <a:close/>
                  <a:moveTo>
                    <a:pt x="610" y="119"/>
                  </a:moveTo>
                  <a:cubicBezTo>
                    <a:pt x="610" y="119"/>
                    <a:pt x="610" y="119"/>
                    <a:pt x="610" y="119"/>
                  </a:cubicBezTo>
                  <a:cubicBezTo>
                    <a:pt x="610" y="119"/>
                    <a:pt x="610" y="119"/>
                    <a:pt x="610" y="119"/>
                  </a:cubicBezTo>
                  <a:close/>
                  <a:moveTo>
                    <a:pt x="610" y="120"/>
                  </a:moveTo>
                  <a:cubicBezTo>
                    <a:pt x="610" y="120"/>
                    <a:pt x="610" y="120"/>
                    <a:pt x="610" y="119"/>
                  </a:cubicBezTo>
                  <a:cubicBezTo>
                    <a:pt x="610" y="119"/>
                    <a:pt x="610" y="119"/>
                    <a:pt x="610" y="120"/>
                  </a:cubicBezTo>
                  <a:close/>
                  <a:moveTo>
                    <a:pt x="906" y="38"/>
                  </a:moveTo>
                  <a:cubicBezTo>
                    <a:pt x="906" y="38"/>
                    <a:pt x="906" y="38"/>
                    <a:pt x="906" y="38"/>
                  </a:cubicBezTo>
                  <a:cubicBezTo>
                    <a:pt x="906" y="38"/>
                    <a:pt x="906" y="38"/>
                    <a:pt x="906" y="38"/>
                  </a:cubicBezTo>
                  <a:close/>
                  <a:moveTo>
                    <a:pt x="609" y="120"/>
                  </a:moveTo>
                  <a:cubicBezTo>
                    <a:pt x="609" y="120"/>
                    <a:pt x="610" y="120"/>
                    <a:pt x="610" y="120"/>
                  </a:cubicBezTo>
                  <a:cubicBezTo>
                    <a:pt x="609" y="120"/>
                    <a:pt x="609" y="120"/>
                    <a:pt x="609" y="120"/>
                  </a:cubicBezTo>
                  <a:close/>
                  <a:moveTo>
                    <a:pt x="609" y="120"/>
                  </a:moveTo>
                  <a:cubicBezTo>
                    <a:pt x="609" y="120"/>
                    <a:pt x="609" y="120"/>
                    <a:pt x="609" y="120"/>
                  </a:cubicBezTo>
                  <a:cubicBezTo>
                    <a:pt x="609" y="120"/>
                    <a:pt x="609" y="120"/>
                    <a:pt x="609" y="120"/>
                  </a:cubicBezTo>
                  <a:close/>
                  <a:moveTo>
                    <a:pt x="621" y="120"/>
                  </a:moveTo>
                  <a:cubicBezTo>
                    <a:pt x="621" y="120"/>
                    <a:pt x="621" y="120"/>
                    <a:pt x="621" y="120"/>
                  </a:cubicBezTo>
                  <a:cubicBezTo>
                    <a:pt x="621" y="120"/>
                    <a:pt x="621" y="120"/>
                    <a:pt x="621" y="120"/>
                  </a:cubicBezTo>
                  <a:close/>
                  <a:moveTo>
                    <a:pt x="609" y="121"/>
                  </a:moveTo>
                  <a:cubicBezTo>
                    <a:pt x="609" y="121"/>
                    <a:pt x="609" y="121"/>
                    <a:pt x="609" y="120"/>
                  </a:cubicBezTo>
                  <a:cubicBezTo>
                    <a:pt x="609" y="120"/>
                    <a:pt x="609" y="121"/>
                    <a:pt x="609" y="121"/>
                  </a:cubicBezTo>
                  <a:close/>
                  <a:moveTo>
                    <a:pt x="1043" y="38"/>
                  </a:moveTo>
                  <a:cubicBezTo>
                    <a:pt x="1043" y="38"/>
                    <a:pt x="1043" y="38"/>
                    <a:pt x="1043" y="38"/>
                  </a:cubicBezTo>
                  <a:cubicBezTo>
                    <a:pt x="1043" y="38"/>
                    <a:pt x="1043" y="38"/>
                    <a:pt x="1043" y="38"/>
                  </a:cubicBezTo>
                  <a:close/>
                  <a:moveTo>
                    <a:pt x="608" y="121"/>
                  </a:moveTo>
                  <a:cubicBezTo>
                    <a:pt x="608" y="121"/>
                    <a:pt x="608" y="121"/>
                    <a:pt x="609" y="121"/>
                  </a:cubicBezTo>
                  <a:cubicBezTo>
                    <a:pt x="608" y="121"/>
                    <a:pt x="608" y="121"/>
                    <a:pt x="608" y="121"/>
                  </a:cubicBezTo>
                  <a:close/>
                  <a:moveTo>
                    <a:pt x="608" y="121"/>
                  </a:moveTo>
                  <a:cubicBezTo>
                    <a:pt x="608" y="121"/>
                    <a:pt x="608" y="121"/>
                    <a:pt x="608" y="121"/>
                  </a:cubicBezTo>
                  <a:cubicBezTo>
                    <a:pt x="608" y="121"/>
                    <a:pt x="608" y="121"/>
                    <a:pt x="608" y="121"/>
                  </a:cubicBezTo>
                  <a:close/>
                  <a:moveTo>
                    <a:pt x="1077" y="38"/>
                  </a:moveTo>
                  <a:cubicBezTo>
                    <a:pt x="1077" y="38"/>
                    <a:pt x="1077" y="38"/>
                    <a:pt x="1078" y="38"/>
                  </a:cubicBezTo>
                  <a:cubicBezTo>
                    <a:pt x="1078" y="38"/>
                    <a:pt x="1077" y="38"/>
                    <a:pt x="1077" y="38"/>
                  </a:cubicBezTo>
                  <a:close/>
                  <a:moveTo>
                    <a:pt x="1148" y="38"/>
                  </a:moveTo>
                  <a:cubicBezTo>
                    <a:pt x="1148" y="38"/>
                    <a:pt x="1148" y="38"/>
                    <a:pt x="1148" y="38"/>
                  </a:cubicBezTo>
                  <a:cubicBezTo>
                    <a:pt x="1148" y="38"/>
                    <a:pt x="1148" y="38"/>
                    <a:pt x="1148" y="38"/>
                  </a:cubicBezTo>
                  <a:close/>
                  <a:moveTo>
                    <a:pt x="620" y="122"/>
                  </a:moveTo>
                  <a:cubicBezTo>
                    <a:pt x="620" y="122"/>
                    <a:pt x="620" y="122"/>
                    <a:pt x="620" y="122"/>
                  </a:cubicBezTo>
                  <a:cubicBezTo>
                    <a:pt x="620" y="122"/>
                    <a:pt x="620" y="122"/>
                    <a:pt x="620" y="122"/>
                  </a:cubicBezTo>
                  <a:close/>
                  <a:moveTo>
                    <a:pt x="1255" y="38"/>
                  </a:moveTo>
                  <a:cubicBezTo>
                    <a:pt x="1255" y="38"/>
                    <a:pt x="1255" y="38"/>
                    <a:pt x="1256" y="38"/>
                  </a:cubicBezTo>
                  <a:cubicBezTo>
                    <a:pt x="1255" y="38"/>
                    <a:pt x="1255" y="38"/>
                    <a:pt x="1255" y="38"/>
                  </a:cubicBezTo>
                  <a:close/>
                  <a:moveTo>
                    <a:pt x="760" y="39"/>
                  </a:moveTo>
                  <a:cubicBezTo>
                    <a:pt x="760" y="38"/>
                    <a:pt x="761" y="38"/>
                    <a:pt x="761" y="38"/>
                  </a:cubicBezTo>
                  <a:cubicBezTo>
                    <a:pt x="760" y="38"/>
                    <a:pt x="760" y="38"/>
                    <a:pt x="760" y="39"/>
                  </a:cubicBezTo>
                  <a:close/>
                  <a:moveTo>
                    <a:pt x="796" y="38"/>
                  </a:moveTo>
                  <a:cubicBezTo>
                    <a:pt x="796" y="38"/>
                    <a:pt x="796" y="39"/>
                    <a:pt x="796" y="39"/>
                  </a:cubicBezTo>
                  <a:cubicBezTo>
                    <a:pt x="796" y="38"/>
                    <a:pt x="796" y="38"/>
                    <a:pt x="796" y="38"/>
                  </a:cubicBezTo>
                  <a:close/>
                  <a:moveTo>
                    <a:pt x="1536" y="74"/>
                  </a:moveTo>
                  <a:cubicBezTo>
                    <a:pt x="1536" y="74"/>
                    <a:pt x="1536" y="74"/>
                    <a:pt x="1536" y="73"/>
                  </a:cubicBezTo>
                  <a:cubicBezTo>
                    <a:pt x="1536" y="73"/>
                    <a:pt x="1536" y="74"/>
                    <a:pt x="1536" y="74"/>
                  </a:cubicBezTo>
                  <a:close/>
                  <a:moveTo>
                    <a:pt x="1550" y="73"/>
                  </a:moveTo>
                  <a:cubicBezTo>
                    <a:pt x="1549" y="73"/>
                    <a:pt x="1549" y="73"/>
                    <a:pt x="1549" y="74"/>
                  </a:cubicBezTo>
                  <a:cubicBezTo>
                    <a:pt x="1549" y="74"/>
                    <a:pt x="1550" y="73"/>
                    <a:pt x="1550" y="73"/>
                  </a:cubicBezTo>
                  <a:close/>
                  <a:moveTo>
                    <a:pt x="1675" y="73"/>
                  </a:moveTo>
                  <a:cubicBezTo>
                    <a:pt x="1675" y="74"/>
                    <a:pt x="1675" y="74"/>
                    <a:pt x="1675" y="74"/>
                  </a:cubicBezTo>
                  <a:cubicBezTo>
                    <a:pt x="1675" y="74"/>
                    <a:pt x="1675" y="73"/>
                    <a:pt x="1675" y="73"/>
                  </a:cubicBezTo>
                  <a:close/>
                  <a:moveTo>
                    <a:pt x="620" y="123"/>
                  </a:moveTo>
                  <a:cubicBezTo>
                    <a:pt x="619" y="123"/>
                    <a:pt x="619" y="123"/>
                    <a:pt x="619" y="123"/>
                  </a:cubicBezTo>
                  <a:cubicBezTo>
                    <a:pt x="619" y="123"/>
                    <a:pt x="619" y="123"/>
                    <a:pt x="620" y="123"/>
                  </a:cubicBezTo>
                  <a:close/>
                  <a:moveTo>
                    <a:pt x="1704" y="74"/>
                  </a:moveTo>
                  <a:cubicBezTo>
                    <a:pt x="1704" y="74"/>
                    <a:pt x="1704" y="74"/>
                    <a:pt x="1704" y="73"/>
                  </a:cubicBezTo>
                  <a:cubicBezTo>
                    <a:pt x="1704" y="73"/>
                    <a:pt x="1704" y="74"/>
                    <a:pt x="1704" y="74"/>
                  </a:cubicBezTo>
                  <a:close/>
                  <a:moveTo>
                    <a:pt x="1718" y="73"/>
                  </a:moveTo>
                  <a:cubicBezTo>
                    <a:pt x="1718" y="73"/>
                    <a:pt x="1717" y="73"/>
                    <a:pt x="1717" y="74"/>
                  </a:cubicBezTo>
                  <a:cubicBezTo>
                    <a:pt x="1718" y="74"/>
                    <a:pt x="1718" y="73"/>
                    <a:pt x="1718" y="73"/>
                  </a:cubicBezTo>
                  <a:close/>
                  <a:moveTo>
                    <a:pt x="833" y="39"/>
                  </a:moveTo>
                  <a:cubicBezTo>
                    <a:pt x="833" y="39"/>
                    <a:pt x="833" y="38"/>
                    <a:pt x="833" y="38"/>
                  </a:cubicBezTo>
                  <a:cubicBezTo>
                    <a:pt x="833" y="38"/>
                    <a:pt x="833" y="38"/>
                    <a:pt x="833" y="39"/>
                  </a:cubicBezTo>
                  <a:close/>
                  <a:moveTo>
                    <a:pt x="863" y="38"/>
                  </a:moveTo>
                  <a:cubicBezTo>
                    <a:pt x="863" y="38"/>
                    <a:pt x="863" y="39"/>
                    <a:pt x="864" y="39"/>
                  </a:cubicBezTo>
                  <a:cubicBezTo>
                    <a:pt x="864" y="38"/>
                    <a:pt x="863" y="38"/>
                    <a:pt x="863" y="38"/>
                  </a:cubicBezTo>
                  <a:close/>
                  <a:moveTo>
                    <a:pt x="618" y="124"/>
                  </a:moveTo>
                  <a:cubicBezTo>
                    <a:pt x="618" y="124"/>
                    <a:pt x="618" y="124"/>
                    <a:pt x="618" y="124"/>
                  </a:cubicBezTo>
                  <a:cubicBezTo>
                    <a:pt x="618" y="124"/>
                    <a:pt x="618" y="124"/>
                    <a:pt x="618" y="124"/>
                  </a:cubicBezTo>
                  <a:close/>
                  <a:moveTo>
                    <a:pt x="618" y="124"/>
                  </a:moveTo>
                  <a:cubicBezTo>
                    <a:pt x="618" y="125"/>
                    <a:pt x="618" y="125"/>
                    <a:pt x="618" y="125"/>
                  </a:cubicBezTo>
                  <a:cubicBezTo>
                    <a:pt x="618" y="125"/>
                    <a:pt x="618" y="125"/>
                    <a:pt x="618" y="124"/>
                  </a:cubicBezTo>
                  <a:close/>
                  <a:moveTo>
                    <a:pt x="874" y="39"/>
                  </a:moveTo>
                  <a:cubicBezTo>
                    <a:pt x="874" y="38"/>
                    <a:pt x="874" y="38"/>
                    <a:pt x="874" y="38"/>
                  </a:cubicBezTo>
                  <a:cubicBezTo>
                    <a:pt x="874" y="38"/>
                    <a:pt x="874" y="38"/>
                    <a:pt x="874" y="39"/>
                  </a:cubicBezTo>
                  <a:close/>
                  <a:moveTo>
                    <a:pt x="617" y="126"/>
                  </a:moveTo>
                  <a:cubicBezTo>
                    <a:pt x="617" y="126"/>
                    <a:pt x="617" y="126"/>
                    <a:pt x="617" y="126"/>
                  </a:cubicBezTo>
                  <a:cubicBezTo>
                    <a:pt x="617" y="126"/>
                    <a:pt x="617" y="126"/>
                    <a:pt x="617" y="126"/>
                  </a:cubicBezTo>
                  <a:close/>
                  <a:moveTo>
                    <a:pt x="617" y="126"/>
                  </a:moveTo>
                  <a:cubicBezTo>
                    <a:pt x="617" y="126"/>
                    <a:pt x="616" y="126"/>
                    <a:pt x="616" y="127"/>
                  </a:cubicBezTo>
                  <a:cubicBezTo>
                    <a:pt x="617" y="126"/>
                    <a:pt x="617" y="126"/>
                    <a:pt x="617" y="126"/>
                  </a:cubicBezTo>
                  <a:close/>
                  <a:moveTo>
                    <a:pt x="616" y="126"/>
                  </a:moveTo>
                  <a:cubicBezTo>
                    <a:pt x="616" y="127"/>
                    <a:pt x="616" y="127"/>
                    <a:pt x="616" y="127"/>
                  </a:cubicBezTo>
                  <a:cubicBezTo>
                    <a:pt x="616" y="127"/>
                    <a:pt x="616" y="127"/>
                    <a:pt x="616" y="126"/>
                  </a:cubicBezTo>
                  <a:close/>
                  <a:moveTo>
                    <a:pt x="616" y="127"/>
                  </a:moveTo>
                  <a:cubicBezTo>
                    <a:pt x="616" y="127"/>
                    <a:pt x="616" y="127"/>
                    <a:pt x="616" y="127"/>
                  </a:cubicBezTo>
                  <a:cubicBezTo>
                    <a:pt x="616" y="127"/>
                    <a:pt x="616" y="127"/>
                    <a:pt x="616" y="127"/>
                  </a:cubicBezTo>
                  <a:close/>
                  <a:moveTo>
                    <a:pt x="616" y="127"/>
                  </a:moveTo>
                  <a:cubicBezTo>
                    <a:pt x="615" y="127"/>
                    <a:pt x="615" y="127"/>
                    <a:pt x="615" y="128"/>
                  </a:cubicBezTo>
                  <a:cubicBezTo>
                    <a:pt x="616" y="128"/>
                    <a:pt x="616" y="127"/>
                    <a:pt x="616" y="127"/>
                  </a:cubicBezTo>
                  <a:close/>
                  <a:moveTo>
                    <a:pt x="615" y="128"/>
                  </a:moveTo>
                  <a:cubicBezTo>
                    <a:pt x="615" y="128"/>
                    <a:pt x="615" y="128"/>
                    <a:pt x="615" y="128"/>
                  </a:cubicBezTo>
                  <a:cubicBezTo>
                    <a:pt x="615" y="128"/>
                    <a:pt x="615" y="128"/>
                    <a:pt x="615" y="128"/>
                  </a:cubicBezTo>
                  <a:close/>
                  <a:moveTo>
                    <a:pt x="1365" y="74"/>
                  </a:moveTo>
                  <a:cubicBezTo>
                    <a:pt x="1365" y="74"/>
                    <a:pt x="1365" y="74"/>
                    <a:pt x="1364" y="74"/>
                  </a:cubicBezTo>
                  <a:cubicBezTo>
                    <a:pt x="1365" y="74"/>
                    <a:pt x="1365" y="74"/>
                    <a:pt x="1365" y="74"/>
                  </a:cubicBezTo>
                  <a:close/>
                  <a:moveTo>
                    <a:pt x="614" y="129"/>
                  </a:moveTo>
                  <a:cubicBezTo>
                    <a:pt x="614" y="129"/>
                    <a:pt x="614" y="129"/>
                    <a:pt x="614" y="129"/>
                  </a:cubicBezTo>
                  <a:cubicBezTo>
                    <a:pt x="614" y="129"/>
                    <a:pt x="614" y="129"/>
                    <a:pt x="614" y="129"/>
                  </a:cubicBezTo>
                  <a:close/>
                  <a:moveTo>
                    <a:pt x="614" y="129"/>
                  </a:moveTo>
                  <a:cubicBezTo>
                    <a:pt x="613" y="129"/>
                    <a:pt x="613" y="129"/>
                    <a:pt x="613" y="129"/>
                  </a:cubicBezTo>
                  <a:cubicBezTo>
                    <a:pt x="613" y="129"/>
                    <a:pt x="614" y="129"/>
                    <a:pt x="614" y="129"/>
                  </a:cubicBezTo>
                  <a:close/>
                  <a:moveTo>
                    <a:pt x="1535" y="74"/>
                  </a:moveTo>
                  <a:cubicBezTo>
                    <a:pt x="1536" y="74"/>
                    <a:pt x="1536" y="74"/>
                    <a:pt x="1536" y="74"/>
                  </a:cubicBezTo>
                  <a:cubicBezTo>
                    <a:pt x="1536" y="74"/>
                    <a:pt x="1536" y="74"/>
                    <a:pt x="1535" y="74"/>
                  </a:cubicBezTo>
                  <a:close/>
                  <a:moveTo>
                    <a:pt x="613" y="130"/>
                  </a:moveTo>
                  <a:cubicBezTo>
                    <a:pt x="612" y="130"/>
                    <a:pt x="612" y="130"/>
                    <a:pt x="612" y="130"/>
                  </a:cubicBezTo>
                  <a:cubicBezTo>
                    <a:pt x="612" y="130"/>
                    <a:pt x="612" y="130"/>
                    <a:pt x="613" y="130"/>
                  </a:cubicBezTo>
                  <a:close/>
                  <a:moveTo>
                    <a:pt x="906" y="38"/>
                  </a:moveTo>
                  <a:cubicBezTo>
                    <a:pt x="906" y="38"/>
                    <a:pt x="906" y="39"/>
                    <a:pt x="906" y="39"/>
                  </a:cubicBezTo>
                  <a:cubicBezTo>
                    <a:pt x="906" y="38"/>
                    <a:pt x="906" y="38"/>
                    <a:pt x="906" y="38"/>
                  </a:cubicBezTo>
                  <a:close/>
                  <a:moveTo>
                    <a:pt x="612" y="130"/>
                  </a:moveTo>
                  <a:cubicBezTo>
                    <a:pt x="611" y="130"/>
                    <a:pt x="611" y="130"/>
                    <a:pt x="611" y="131"/>
                  </a:cubicBezTo>
                  <a:cubicBezTo>
                    <a:pt x="611" y="131"/>
                    <a:pt x="611" y="131"/>
                    <a:pt x="612" y="130"/>
                  </a:cubicBezTo>
                  <a:close/>
                  <a:moveTo>
                    <a:pt x="611" y="131"/>
                  </a:moveTo>
                  <a:cubicBezTo>
                    <a:pt x="611" y="131"/>
                    <a:pt x="611" y="131"/>
                    <a:pt x="610" y="131"/>
                  </a:cubicBezTo>
                  <a:cubicBezTo>
                    <a:pt x="611" y="131"/>
                    <a:pt x="611" y="131"/>
                    <a:pt x="611" y="131"/>
                  </a:cubicBezTo>
                  <a:close/>
                  <a:moveTo>
                    <a:pt x="1078" y="38"/>
                  </a:moveTo>
                  <a:cubicBezTo>
                    <a:pt x="1078" y="38"/>
                    <a:pt x="1078" y="38"/>
                    <a:pt x="1078" y="38"/>
                  </a:cubicBezTo>
                  <a:cubicBezTo>
                    <a:pt x="1078" y="38"/>
                    <a:pt x="1078" y="38"/>
                    <a:pt x="1078" y="38"/>
                  </a:cubicBezTo>
                  <a:close/>
                  <a:moveTo>
                    <a:pt x="1704" y="74"/>
                  </a:moveTo>
                  <a:cubicBezTo>
                    <a:pt x="1704" y="74"/>
                    <a:pt x="1704" y="74"/>
                    <a:pt x="1704" y="74"/>
                  </a:cubicBezTo>
                  <a:cubicBezTo>
                    <a:pt x="1704" y="74"/>
                    <a:pt x="1704" y="74"/>
                    <a:pt x="1704" y="74"/>
                  </a:cubicBezTo>
                  <a:close/>
                  <a:moveTo>
                    <a:pt x="1116" y="39"/>
                  </a:moveTo>
                  <a:cubicBezTo>
                    <a:pt x="1116" y="39"/>
                    <a:pt x="1116" y="38"/>
                    <a:pt x="1116" y="38"/>
                  </a:cubicBezTo>
                  <a:cubicBezTo>
                    <a:pt x="1116" y="38"/>
                    <a:pt x="1116" y="38"/>
                    <a:pt x="1116" y="39"/>
                  </a:cubicBezTo>
                  <a:close/>
                  <a:moveTo>
                    <a:pt x="1148" y="38"/>
                  </a:moveTo>
                  <a:cubicBezTo>
                    <a:pt x="1148" y="38"/>
                    <a:pt x="1148" y="39"/>
                    <a:pt x="1148" y="39"/>
                  </a:cubicBezTo>
                  <a:cubicBezTo>
                    <a:pt x="1148" y="38"/>
                    <a:pt x="1148" y="38"/>
                    <a:pt x="1148" y="38"/>
                  </a:cubicBezTo>
                  <a:close/>
                  <a:moveTo>
                    <a:pt x="1255" y="38"/>
                  </a:moveTo>
                  <a:cubicBezTo>
                    <a:pt x="1256" y="38"/>
                    <a:pt x="1256" y="39"/>
                    <a:pt x="1256" y="39"/>
                  </a:cubicBezTo>
                  <a:cubicBezTo>
                    <a:pt x="1256" y="38"/>
                    <a:pt x="1256" y="38"/>
                    <a:pt x="1255" y="38"/>
                  </a:cubicBezTo>
                  <a:close/>
                  <a:moveTo>
                    <a:pt x="664" y="39"/>
                  </a:moveTo>
                  <a:cubicBezTo>
                    <a:pt x="664" y="39"/>
                    <a:pt x="665" y="39"/>
                    <a:pt x="665" y="39"/>
                  </a:cubicBezTo>
                  <a:cubicBezTo>
                    <a:pt x="664" y="39"/>
                    <a:pt x="664" y="39"/>
                    <a:pt x="664" y="39"/>
                  </a:cubicBezTo>
                  <a:close/>
                  <a:moveTo>
                    <a:pt x="1044" y="84"/>
                  </a:moveTo>
                  <a:cubicBezTo>
                    <a:pt x="1044" y="84"/>
                    <a:pt x="1044" y="84"/>
                    <a:pt x="1044" y="84"/>
                  </a:cubicBezTo>
                  <a:cubicBezTo>
                    <a:pt x="1044" y="84"/>
                    <a:pt x="1044" y="84"/>
                    <a:pt x="1044" y="84"/>
                  </a:cubicBezTo>
                  <a:close/>
                  <a:moveTo>
                    <a:pt x="1638" y="50"/>
                  </a:moveTo>
                  <a:cubicBezTo>
                    <a:pt x="1638" y="51"/>
                    <a:pt x="1639" y="51"/>
                    <a:pt x="1639" y="51"/>
                  </a:cubicBezTo>
                  <a:cubicBezTo>
                    <a:pt x="1645" y="51"/>
                    <a:pt x="1650" y="52"/>
                    <a:pt x="1655" y="51"/>
                  </a:cubicBezTo>
                  <a:cubicBezTo>
                    <a:pt x="1659" y="51"/>
                    <a:pt x="1663" y="50"/>
                    <a:pt x="1665" y="48"/>
                  </a:cubicBezTo>
                  <a:cubicBezTo>
                    <a:pt x="1672" y="43"/>
                    <a:pt x="1673" y="37"/>
                    <a:pt x="1672" y="30"/>
                  </a:cubicBezTo>
                  <a:cubicBezTo>
                    <a:pt x="1671" y="24"/>
                    <a:pt x="1668" y="21"/>
                    <a:pt x="1663" y="19"/>
                  </a:cubicBezTo>
                  <a:cubicBezTo>
                    <a:pt x="1661" y="18"/>
                    <a:pt x="1659" y="18"/>
                    <a:pt x="1657" y="18"/>
                  </a:cubicBezTo>
                  <a:cubicBezTo>
                    <a:pt x="1651" y="17"/>
                    <a:pt x="1646" y="17"/>
                    <a:pt x="1640" y="17"/>
                  </a:cubicBezTo>
                  <a:cubicBezTo>
                    <a:pt x="1639" y="17"/>
                    <a:pt x="1639" y="17"/>
                    <a:pt x="1639" y="19"/>
                  </a:cubicBezTo>
                  <a:cubicBezTo>
                    <a:pt x="1638" y="24"/>
                    <a:pt x="1638" y="29"/>
                    <a:pt x="1638" y="34"/>
                  </a:cubicBezTo>
                  <a:cubicBezTo>
                    <a:pt x="1638" y="40"/>
                    <a:pt x="1639" y="45"/>
                    <a:pt x="1638" y="50"/>
                  </a:cubicBezTo>
                  <a:close/>
                  <a:moveTo>
                    <a:pt x="1422" y="75"/>
                  </a:moveTo>
                  <a:cubicBezTo>
                    <a:pt x="1423" y="79"/>
                    <a:pt x="1425" y="84"/>
                    <a:pt x="1427" y="87"/>
                  </a:cubicBezTo>
                  <a:cubicBezTo>
                    <a:pt x="1432" y="94"/>
                    <a:pt x="1439" y="95"/>
                    <a:pt x="1445" y="93"/>
                  </a:cubicBezTo>
                  <a:cubicBezTo>
                    <a:pt x="1450" y="92"/>
                    <a:pt x="1452" y="89"/>
                    <a:pt x="1455" y="85"/>
                  </a:cubicBezTo>
                  <a:cubicBezTo>
                    <a:pt x="1457" y="80"/>
                    <a:pt x="1458" y="75"/>
                    <a:pt x="1459" y="70"/>
                  </a:cubicBezTo>
                  <a:cubicBezTo>
                    <a:pt x="1460" y="64"/>
                    <a:pt x="1460" y="57"/>
                    <a:pt x="1460" y="51"/>
                  </a:cubicBezTo>
                  <a:cubicBezTo>
                    <a:pt x="1459" y="45"/>
                    <a:pt x="1459" y="38"/>
                    <a:pt x="1457" y="32"/>
                  </a:cubicBezTo>
                  <a:cubicBezTo>
                    <a:pt x="1456" y="28"/>
                    <a:pt x="1455" y="25"/>
                    <a:pt x="1453" y="21"/>
                  </a:cubicBezTo>
                  <a:cubicBezTo>
                    <a:pt x="1449" y="16"/>
                    <a:pt x="1444" y="14"/>
                    <a:pt x="1437" y="15"/>
                  </a:cubicBezTo>
                  <a:cubicBezTo>
                    <a:pt x="1432" y="16"/>
                    <a:pt x="1429" y="19"/>
                    <a:pt x="1427" y="23"/>
                  </a:cubicBezTo>
                  <a:cubicBezTo>
                    <a:pt x="1425" y="26"/>
                    <a:pt x="1424" y="30"/>
                    <a:pt x="1423" y="34"/>
                  </a:cubicBezTo>
                  <a:cubicBezTo>
                    <a:pt x="1421" y="41"/>
                    <a:pt x="1421" y="48"/>
                    <a:pt x="1421" y="54"/>
                  </a:cubicBezTo>
                  <a:cubicBezTo>
                    <a:pt x="1421" y="62"/>
                    <a:pt x="1421" y="69"/>
                    <a:pt x="1422" y="75"/>
                  </a:cubicBezTo>
                  <a:close/>
                  <a:moveTo>
                    <a:pt x="1043" y="61"/>
                  </a:moveTo>
                  <a:cubicBezTo>
                    <a:pt x="1052" y="61"/>
                    <a:pt x="1062" y="61"/>
                    <a:pt x="1072" y="61"/>
                  </a:cubicBezTo>
                  <a:cubicBezTo>
                    <a:pt x="1073" y="61"/>
                    <a:pt x="1075" y="61"/>
                    <a:pt x="1076" y="61"/>
                  </a:cubicBezTo>
                  <a:cubicBezTo>
                    <a:pt x="1077" y="61"/>
                    <a:pt x="1077" y="61"/>
                    <a:pt x="1077" y="60"/>
                  </a:cubicBezTo>
                  <a:cubicBezTo>
                    <a:pt x="1077" y="57"/>
                    <a:pt x="1076" y="54"/>
                    <a:pt x="1075" y="51"/>
                  </a:cubicBezTo>
                  <a:cubicBezTo>
                    <a:pt x="1073" y="47"/>
                    <a:pt x="1070" y="44"/>
                    <a:pt x="1066" y="43"/>
                  </a:cubicBezTo>
                  <a:cubicBezTo>
                    <a:pt x="1062" y="42"/>
                    <a:pt x="1059" y="42"/>
                    <a:pt x="1055" y="43"/>
                  </a:cubicBezTo>
                  <a:cubicBezTo>
                    <a:pt x="1048" y="44"/>
                    <a:pt x="1042" y="52"/>
                    <a:pt x="1041" y="61"/>
                  </a:cubicBezTo>
                  <a:cubicBezTo>
                    <a:pt x="1041" y="61"/>
                    <a:pt x="1042" y="61"/>
                    <a:pt x="1043" y="61"/>
                  </a:cubicBezTo>
                  <a:close/>
                  <a:moveTo>
                    <a:pt x="760" y="61"/>
                  </a:moveTo>
                  <a:cubicBezTo>
                    <a:pt x="771" y="61"/>
                    <a:pt x="782" y="61"/>
                    <a:pt x="793" y="61"/>
                  </a:cubicBezTo>
                  <a:cubicBezTo>
                    <a:pt x="793" y="61"/>
                    <a:pt x="793" y="61"/>
                    <a:pt x="794" y="61"/>
                  </a:cubicBezTo>
                  <a:cubicBezTo>
                    <a:pt x="794" y="62"/>
                    <a:pt x="795" y="61"/>
                    <a:pt x="795" y="60"/>
                  </a:cubicBezTo>
                  <a:cubicBezTo>
                    <a:pt x="794" y="57"/>
                    <a:pt x="794" y="53"/>
                    <a:pt x="792" y="49"/>
                  </a:cubicBezTo>
                  <a:cubicBezTo>
                    <a:pt x="790" y="47"/>
                    <a:pt x="788" y="44"/>
                    <a:pt x="785" y="43"/>
                  </a:cubicBezTo>
                  <a:cubicBezTo>
                    <a:pt x="779" y="41"/>
                    <a:pt x="773" y="41"/>
                    <a:pt x="767" y="45"/>
                  </a:cubicBezTo>
                  <a:cubicBezTo>
                    <a:pt x="762" y="49"/>
                    <a:pt x="760" y="55"/>
                    <a:pt x="758" y="61"/>
                  </a:cubicBezTo>
                  <a:cubicBezTo>
                    <a:pt x="759" y="62"/>
                    <a:pt x="760" y="61"/>
                    <a:pt x="760" y="61"/>
                  </a:cubicBezTo>
                  <a:close/>
                  <a:moveTo>
                    <a:pt x="1221" y="61"/>
                  </a:moveTo>
                  <a:cubicBezTo>
                    <a:pt x="1229" y="61"/>
                    <a:pt x="1238" y="61"/>
                    <a:pt x="1247" y="61"/>
                  </a:cubicBezTo>
                  <a:cubicBezTo>
                    <a:pt x="1249" y="61"/>
                    <a:pt x="1251" y="61"/>
                    <a:pt x="1254" y="61"/>
                  </a:cubicBezTo>
                  <a:cubicBezTo>
                    <a:pt x="1254" y="61"/>
                    <a:pt x="1255" y="61"/>
                    <a:pt x="1255" y="60"/>
                  </a:cubicBezTo>
                  <a:cubicBezTo>
                    <a:pt x="1254" y="57"/>
                    <a:pt x="1254" y="53"/>
                    <a:pt x="1252" y="50"/>
                  </a:cubicBezTo>
                  <a:cubicBezTo>
                    <a:pt x="1250" y="47"/>
                    <a:pt x="1248" y="44"/>
                    <a:pt x="1245" y="43"/>
                  </a:cubicBezTo>
                  <a:cubicBezTo>
                    <a:pt x="1239" y="41"/>
                    <a:pt x="1234" y="41"/>
                    <a:pt x="1229" y="45"/>
                  </a:cubicBezTo>
                  <a:cubicBezTo>
                    <a:pt x="1222" y="48"/>
                    <a:pt x="1220" y="54"/>
                    <a:pt x="1218" y="61"/>
                  </a:cubicBezTo>
                  <a:cubicBezTo>
                    <a:pt x="1219" y="61"/>
                    <a:pt x="1220" y="61"/>
                    <a:pt x="1221" y="61"/>
                  </a:cubicBezTo>
                  <a:close/>
                  <a:moveTo>
                    <a:pt x="248" y="73"/>
                  </a:moveTo>
                  <a:cubicBezTo>
                    <a:pt x="248" y="75"/>
                    <a:pt x="248" y="77"/>
                    <a:pt x="249" y="78"/>
                  </a:cubicBezTo>
                  <a:cubicBezTo>
                    <a:pt x="251" y="85"/>
                    <a:pt x="255" y="90"/>
                    <a:pt x="262" y="93"/>
                  </a:cubicBezTo>
                  <a:cubicBezTo>
                    <a:pt x="265" y="94"/>
                    <a:pt x="269" y="94"/>
                    <a:pt x="272" y="94"/>
                  </a:cubicBezTo>
                  <a:cubicBezTo>
                    <a:pt x="281" y="93"/>
                    <a:pt x="286" y="89"/>
                    <a:pt x="289" y="81"/>
                  </a:cubicBezTo>
                  <a:cubicBezTo>
                    <a:pt x="290" y="78"/>
                    <a:pt x="291" y="75"/>
                    <a:pt x="291" y="72"/>
                  </a:cubicBezTo>
                  <a:cubicBezTo>
                    <a:pt x="292" y="66"/>
                    <a:pt x="291" y="60"/>
                    <a:pt x="289" y="55"/>
                  </a:cubicBezTo>
                  <a:cubicBezTo>
                    <a:pt x="287" y="49"/>
                    <a:pt x="283" y="45"/>
                    <a:pt x="277" y="43"/>
                  </a:cubicBezTo>
                  <a:cubicBezTo>
                    <a:pt x="274" y="42"/>
                    <a:pt x="271" y="42"/>
                    <a:pt x="269" y="42"/>
                  </a:cubicBezTo>
                  <a:cubicBezTo>
                    <a:pt x="260" y="42"/>
                    <a:pt x="253" y="47"/>
                    <a:pt x="250" y="55"/>
                  </a:cubicBezTo>
                  <a:cubicBezTo>
                    <a:pt x="248" y="59"/>
                    <a:pt x="247" y="64"/>
                    <a:pt x="247" y="68"/>
                  </a:cubicBezTo>
                  <a:cubicBezTo>
                    <a:pt x="247" y="70"/>
                    <a:pt x="247" y="72"/>
                    <a:pt x="248" y="73"/>
                  </a:cubicBezTo>
                  <a:close/>
                  <a:moveTo>
                    <a:pt x="370" y="78"/>
                  </a:moveTo>
                  <a:cubicBezTo>
                    <a:pt x="372" y="86"/>
                    <a:pt x="377" y="91"/>
                    <a:pt x="384" y="93"/>
                  </a:cubicBezTo>
                  <a:cubicBezTo>
                    <a:pt x="387" y="94"/>
                    <a:pt x="391" y="94"/>
                    <a:pt x="394" y="94"/>
                  </a:cubicBezTo>
                  <a:cubicBezTo>
                    <a:pt x="402" y="93"/>
                    <a:pt x="408" y="89"/>
                    <a:pt x="411" y="81"/>
                  </a:cubicBezTo>
                  <a:cubicBezTo>
                    <a:pt x="412" y="78"/>
                    <a:pt x="412" y="75"/>
                    <a:pt x="413" y="71"/>
                  </a:cubicBezTo>
                  <a:cubicBezTo>
                    <a:pt x="413" y="65"/>
                    <a:pt x="413" y="60"/>
                    <a:pt x="410" y="54"/>
                  </a:cubicBezTo>
                  <a:cubicBezTo>
                    <a:pt x="408" y="48"/>
                    <a:pt x="404" y="45"/>
                    <a:pt x="398" y="43"/>
                  </a:cubicBezTo>
                  <a:cubicBezTo>
                    <a:pt x="395" y="42"/>
                    <a:pt x="393" y="42"/>
                    <a:pt x="390" y="42"/>
                  </a:cubicBezTo>
                  <a:cubicBezTo>
                    <a:pt x="381" y="42"/>
                    <a:pt x="374" y="47"/>
                    <a:pt x="371" y="55"/>
                  </a:cubicBezTo>
                  <a:cubicBezTo>
                    <a:pt x="369" y="59"/>
                    <a:pt x="369" y="64"/>
                    <a:pt x="369" y="68"/>
                  </a:cubicBezTo>
                  <a:cubicBezTo>
                    <a:pt x="369" y="72"/>
                    <a:pt x="369" y="75"/>
                    <a:pt x="370" y="78"/>
                  </a:cubicBezTo>
                  <a:close/>
                </a:path>
              </a:pathLst>
            </a:custGeom>
            <a:solidFill>
              <a:schemeClr val="tx2"/>
            </a:solidFill>
            <a:ln>
              <a:noFill/>
            </a:ln>
          </p:spPr>
          <p:txBody>
            <a:bodyPr vert="horz" wrap="square" lIns="89606" tIns="44804" rIns="89606" bIns="44804" numCol="1" anchor="t" anchorCtr="0" compatLnSpc="1">
              <a:prstTxWarp prst="textNoShape">
                <a:avLst/>
              </a:prstTxWarp>
            </a:bodyPr>
            <a:lstStyle/>
            <a:p>
              <a:pPr defTabSz="914005"/>
              <a:endParaRPr lang="en-US" sz="1763">
                <a:solidFill>
                  <a:srgbClr val="505050"/>
                </a:solidFill>
              </a:endParaRPr>
            </a:p>
          </p:txBody>
        </p:sp>
        <p:pic>
          <p:nvPicPr>
            <p:cNvPr id="28" name="Picture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69239" y="4219720"/>
              <a:ext cx="412401" cy="412402"/>
            </a:xfrm>
            <a:prstGeom prst="rect">
              <a:avLst/>
            </a:prstGeom>
          </p:spPr>
        </p:pic>
      </p:grpSp>
    </p:spTree>
    <p:extLst>
      <p:ext uri="{BB962C8B-B14F-4D97-AF65-F5344CB8AC3E}">
        <p14:creationId xmlns:p14="http://schemas.microsoft.com/office/powerpoint/2010/main" val="1134468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 name="Group 418"/>
          <p:cNvGrpSpPr/>
          <p:nvPr/>
        </p:nvGrpSpPr>
        <p:grpSpPr>
          <a:xfrm>
            <a:off x="2564608" y="958554"/>
            <a:ext cx="2114904" cy="1535522"/>
            <a:chOff x="2711279" y="955944"/>
            <a:chExt cx="2115204" cy="1535739"/>
          </a:xfrm>
        </p:grpSpPr>
        <p:grpSp>
          <p:nvGrpSpPr>
            <p:cNvPr id="469" name="Group 468"/>
            <p:cNvGrpSpPr/>
            <p:nvPr/>
          </p:nvGrpSpPr>
          <p:grpSpPr>
            <a:xfrm>
              <a:off x="2711279" y="955944"/>
              <a:ext cx="2115204" cy="1535739"/>
              <a:chOff x="7292775" y="5113197"/>
              <a:chExt cx="1764250" cy="1382158"/>
            </a:xfrm>
          </p:grpSpPr>
          <p:sp>
            <p:nvSpPr>
              <p:cNvPr id="471" name="Oval 470"/>
              <p:cNvSpPr/>
              <p:nvPr>
                <p:custDataLst>
                  <p:tags r:id="rId3"/>
                </p:custDataLst>
              </p:nvPr>
            </p:nvSpPr>
            <p:spPr bwMode="auto">
              <a:xfrm>
                <a:off x="7292775" y="5113197"/>
                <a:ext cx="1764250" cy="1382158"/>
              </a:xfrm>
              <a:prstGeom prst="ellipse">
                <a:avLst/>
              </a:prstGeom>
              <a:noFill/>
              <a:ln w="19050" cap="flat" cmpd="sng" algn="ctr">
                <a:solidFill>
                  <a:srgbClr val="FFFFFF"/>
                </a:solidFill>
                <a:prstDash val="solid"/>
                <a:headEnd type="none" w="med" len="med"/>
                <a:tailEnd type="none" w="med" len="med"/>
              </a:ln>
              <a:effectLst/>
            </p:spPr>
            <p:txBody>
              <a:bodyPr vert="horz" wrap="square" lIns="111899" tIns="55949" rIns="111899" bIns="55949" numCol="1" rtlCol="0" anchor="ctr" anchorCtr="0" compatLnSpc="1">
                <a:prstTxWarp prst="textNoShape">
                  <a:avLst/>
                </a:prstTxWarp>
              </a:bodyPr>
              <a:lstStyle/>
              <a:p>
                <a:pPr algn="ctr" defTabSz="1118705" fontAlgn="base">
                  <a:spcBef>
                    <a:spcPct val="0"/>
                  </a:spcBef>
                  <a:spcAft>
                    <a:spcPct val="0"/>
                  </a:spcAft>
                  <a:defRPr/>
                </a:pPr>
                <a:endParaRPr lang="en-US" sz="2754" kern="0" dirty="0">
                  <a:solidFill>
                    <a:srgbClr val="FFFFFF"/>
                  </a:solidFill>
                </a:endParaRPr>
              </a:p>
            </p:txBody>
          </p:sp>
          <p:sp>
            <p:nvSpPr>
              <p:cNvPr id="472" name="Rounded Rectangle 2058"/>
              <p:cNvSpPr>
                <a:spLocks noChangeAspect="1"/>
              </p:cNvSpPr>
              <p:nvPr/>
            </p:nvSpPr>
            <p:spPr bwMode="auto">
              <a:xfrm>
                <a:off x="8032894" y="5248824"/>
                <a:ext cx="284007" cy="559483"/>
              </a:xfrm>
              <a:custGeom>
                <a:avLst/>
                <a:gdLst/>
                <a:ahLst/>
                <a:cxnLst/>
                <a:rect l="l" t="t" r="r" b="b"/>
                <a:pathLst>
                  <a:path w="235932" h="524825">
                    <a:moveTo>
                      <a:pt x="26526" y="453142"/>
                    </a:moveTo>
                    <a:lnTo>
                      <a:pt x="26526" y="471430"/>
                    </a:lnTo>
                    <a:lnTo>
                      <a:pt x="209406" y="471430"/>
                    </a:lnTo>
                    <a:lnTo>
                      <a:pt x="209406" y="453142"/>
                    </a:lnTo>
                    <a:close/>
                    <a:moveTo>
                      <a:pt x="26526" y="412660"/>
                    </a:moveTo>
                    <a:lnTo>
                      <a:pt x="26526" y="430948"/>
                    </a:lnTo>
                    <a:lnTo>
                      <a:pt x="63102" y="430948"/>
                    </a:lnTo>
                    <a:lnTo>
                      <a:pt x="63102" y="412660"/>
                    </a:lnTo>
                    <a:close/>
                    <a:moveTo>
                      <a:pt x="26526" y="372178"/>
                    </a:moveTo>
                    <a:lnTo>
                      <a:pt x="26526" y="390466"/>
                    </a:lnTo>
                    <a:lnTo>
                      <a:pt x="63102" y="390466"/>
                    </a:lnTo>
                    <a:lnTo>
                      <a:pt x="63102" y="372178"/>
                    </a:lnTo>
                    <a:close/>
                    <a:moveTo>
                      <a:pt x="26526" y="97526"/>
                    </a:moveTo>
                    <a:lnTo>
                      <a:pt x="26526" y="124958"/>
                    </a:lnTo>
                    <a:lnTo>
                      <a:pt x="209406" y="124958"/>
                    </a:lnTo>
                    <a:lnTo>
                      <a:pt x="209406" y="97526"/>
                    </a:lnTo>
                    <a:close/>
                    <a:moveTo>
                      <a:pt x="26526" y="53758"/>
                    </a:moveTo>
                    <a:lnTo>
                      <a:pt x="26526" y="72046"/>
                    </a:lnTo>
                    <a:lnTo>
                      <a:pt x="209406" y="72046"/>
                    </a:lnTo>
                    <a:lnTo>
                      <a:pt x="209406" y="53758"/>
                    </a:lnTo>
                    <a:close/>
                    <a:moveTo>
                      <a:pt x="31386" y="0"/>
                    </a:moveTo>
                    <a:lnTo>
                      <a:pt x="204546" y="0"/>
                    </a:lnTo>
                    <a:cubicBezTo>
                      <a:pt x="221880" y="0"/>
                      <a:pt x="235932" y="14052"/>
                      <a:pt x="235932" y="31386"/>
                    </a:cubicBezTo>
                    <a:lnTo>
                      <a:pt x="235932" y="493439"/>
                    </a:lnTo>
                    <a:cubicBezTo>
                      <a:pt x="235932" y="510773"/>
                      <a:pt x="221880" y="524825"/>
                      <a:pt x="204546" y="524825"/>
                    </a:cubicBezTo>
                    <a:lnTo>
                      <a:pt x="31386" y="524825"/>
                    </a:lnTo>
                    <a:cubicBezTo>
                      <a:pt x="14052" y="524825"/>
                      <a:pt x="0" y="510773"/>
                      <a:pt x="0" y="493439"/>
                    </a:cubicBezTo>
                    <a:lnTo>
                      <a:pt x="0" y="31386"/>
                    </a:lnTo>
                    <a:cubicBezTo>
                      <a:pt x="0" y="14052"/>
                      <a:pt x="14052" y="0"/>
                      <a:pt x="31386" y="0"/>
                    </a:cubicBezTo>
                    <a:close/>
                  </a:path>
                </a:pathLst>
              </a:custGeom>
              <a:solidFill>
                <a:schemeClr val="tx1"/>
              </a:solidFill>
              <a:ln w="9525" cap="flat" cmpd="sng" algn="ctr">
                <a:noFill/>
                <a:prstDash val="solid"/>
                <a:headEnd type="none" w="med" len="med"/>
                <a:tailEnd type="none" w="med" len="med"/>
              </a:ln>
              <a:effectLst/>
            </p:spPr>
            <p:txBody>
              <a:bodyPr rot="0" spcFirstLastPara="0" vertOverflow="overflow" horzOverflow="overflow" vert="horz" wrap="square" lIns="93251" tIns="46625" rIns="46625" bIns="93251" numCol="1" spcCol="0" rtlCol="0" fromWordArt="0" anchor="b" anchorCtr="0" forceAA="0" compatLnSpc="1">
                <a:prstTxWarp prst="textNoShape">
                  <a:avLst/>
                </a:prstTxWarp>
                <a:noAutofit/>
              </a:bodyPr>
              <a:lstStyle/>
              <a:p>
                <a:pPr algn="ctr" defTabSz="932212" fontAlgn="base">
                  <a:spcBef>
                    <a:spcPct val="0"/>
                  </a:spcBef>
                  <a:spcAft>
                    <a:spcPct val="0"/>
                  </a:spcAft>
                  <a:defRPr/>
                </a:pPr>
                <a:endParaRPr lang="en-US" kern="0" spc="-51" dirty="0">
                  <a:ea typeface="Segoe UI" pitchFamily="34" charset="0"/>
                  <a:cs typeface="Segoe UI" pitchFamily="34" charset="0"/>
                </a:endParaRPr>
              </a:p>
            </p:txBody>
          </p:sp>
        </p:grpSp>
        <p:sp>
          <p:nvSpPr>
            <p:cNvPr id="470" name="Freeform 21"/>
            <p:cNvSpPr>
              <a:spLocks noChangeAspect="1" noEditPoints="1"/>
            </p:cNvSpPr>
            <p:nvPr/>
          </p:nvSpPr>
          <p:spPr bwMode="auto">
            <a:xfrm>
              <a:off x="2934162" y="1878289"/>
              <a:ext cx="1824016" cy="280662"/>
            </a:xfrm>
            <a:custGeom>
              <a:avLst/>
              <a:gdLst>
                <a:gd name="T0" fmla="*/ 81 w 1381"/>
                <a:gd name="T1" fmla="*/ 8 h 210"/>
                <a:gd name="T2" fmla="*/ 695 w 1381"/>
                <a:gd name="T3" fmla="*/ 114 h 210"/>
                <a:gd name="T4" fmla="*/ 630 w 1381"/>
                <a:gd name="T5" fmla="*/ 127 h 210"/>
                <a:gd name="T6" fmla="*/ 256 w 1381"/>
                <a:gd name="T7" fmla="*/ 201 h 210"/>
                <a:gd name="T8" fmla="*/ 870 w 1381"/>
                <a:gd name="T9" fmla="*/ 136 h 210"/>
                <a:gd name="T10" fmla="*/ 909 w 1381"/>
                <a:gd name="T11" fmla="*/ 132 h 210"/>
                <a:gd name="T12" fmla="*/ 357 w 1381"/>
                <a:gd name="T13" fmla="*/ 37 h 210"/>
                <a:gd name="T14" fmla="*/ 395 w 1381"/>
                <a:gd name="T15" fmla="*/ 34 h 210"/>
                <a:gd name="T16" fmla="*/ 371 w 1381"/>
                <a:gd name="T17" fmla="*/ 2 h 210"/>
                <a:gd name="T18" fmla="*/ 688 w 1381"/>
                <a:gd name="T19" fmla="*/ 45 h 210"/>
                <a:gd name="T20" fmla="*/ 1313 w 1381"/>
                <a:gd name="T21" fmla="*/ 7 h 210"/>
                <a:gd name="T22" fmla="*/ 1316 w 1381"/>
                <a:gd name="T23" fmla="*/ 52 h 210"/>
                <a:gd name="T24" fmla="*/ 13 w 1381"/>
                <a:gd name="T25" fmla="*/ 133 h 210"/>
                <a:gd name="T26" fmla="*/ 760 w 1381"/>
                <a:gd name="T27" fmla="*/ 40 h 210"/>
                <a:gd name="T28" fmla="*/ 603 w 1381"/>
                <a:gd name="T29" fmla="*/ 55 h 210"/>
                <a:gd name="T30" fmla="*/ 467 w 1381"/>
                <a:gd name="T31" fmla="*/ 63 h 210"/>
                <a:gd name="T32" fmla="*/ 449 w 1381"/>
                <a:gd name="T33" fmla="*/ 72 h 210"/>
                <a:gd name="T34" fmla="*/ 831 w 1381"/>
                <a:gd name="T35" fmla="*/ 80 h 210"/>
                <a:gd name="T36" fmla="*/ 938 w 1381"/>
                <a:gd name="T37" fmla="*/ 185 h 210"/>
                <a:gd name="T38" fmla="*/ 989 w 1381"/>
                <a:gd name="T39" fmla="*/ 78 h 210"/>
                <a:gd name="T40" fmla="*/ 843 w 1381"/>
                <a:gd name="T41" fmla="*/ 142 h 210"/>
                <a:gd name="T42" fmla="*/ 408 w 1381"/>
                <a:gd name="T43" fmla="*/ 183 h 210"/>
                <a:gd name="T44" fmla="*/ 376 w 1381"/>
                <a:gd name="T45" fmla="*/ 166 h 210"/>
                <a:gd name="T46" fmla="*/ 314 w 1381"/>
                <a:gd name="T47" fmla="*/ 80 h 210"/>
                <a:gd name="T48" fmla="*/ 1215 w 1381"/>
                <a:gd name="T49" fmla="*/ 72 h 210"/>
                <a:gd name="T50" fmla="*/ 530 w 1381"/>
                <a:gd name="T51" fmla="*/ 169 h 210"/>
                <a:gd name="T52" fmla="*/ 1067 w 1381"/>
                <a:gd name="T53" fmla="*/ 70 h 210"/>
                <a:gd name="T54" fmla="*/ 1337 w 1381"/>
                <a:gd name="T55" fmla="*/ 79 h 210"/>
                <a:gd name="T56" fmla="*/ 738 w 1381"/>
                <a:gd name="T57" fmla="*/ 151 h 210"/>
                <a:gd name="T58" fmla="*/ 712 w 1381"/>
                <a:gd name="T59" fmla="*/ 135 h 210"/>
                <a:gd name="T60" fmla="*/ 495 w 1381"/>
                <a:gd name="T61" fmla="*/ 70 h 210"/>
                <a:gd name="T62" fmla="*/ 148 w 1381"/>
                <a:gd name="T63" fmla="*/ 138 h 210"/>
                <a:gd name="T64" fmla="*/ 760 w 1381"/>
                <a:gd name="T65" fmla="*/ 133 h 210"/>
                <a:gd name="T66" fmla="*/ 803 w 1381"/>
                <a:gd name="T67" fmla="*/ 148 h 210"/>
                <a:gd name="T68" fmla="*/ 902 w 1381"/>
                <a:gd name="T69" fmla="*/ 41 h 210"/>
                <a:gd name="T70" fmla="*/ 325 w 1381"/>
                <a:gd name="T71" fmla="*/ 132 h 210"/>
                <a:gd name="T72" fmla="*/ 324 w 1381"/>
                <a:gd name="T73" fmla="*/ 177 h 210"/>
                <a:gd name="T74" fmla="*/ 583 w 1381"/>
                <a:gd name="T75" fmla="*/ 184 h 210"/>
                <a:gd name="T76" fmla="*/ 176 w 1381"/>
                <a:gd name="T77" fmla="*/ 139 h 210"/>
                <a:gd name="T78" fmla="*/ 206 w 1381"/>
                <a:gd name="T79" fmla="*/ 107 h 210"/>
                <a:gd name="T80" fmla="*/ 540 w 1381"/>
                <a:gd name="T81" fmla="*/ 59 h 210"/>
                <a:gd name="T82" fmla="*/ 277 w 1381"/>
                <a:gd name="T83" fmla="*/ 27 h 210"/>
                <a:gd name="T84" fmla="*/ 926 w 1381"/>
                <a:gd name="T85" fmla="*/ 35 h 210"/>
                <a:gd name="T86" fmla="*/ 935 w 1381"/>
                <a:gd name="T87" fmla="*/ 11 h 210"/>
                <a:gd name="T88" fmla="*/ 431 w 1381"/>
                <a:gd name="T89" fmla="*/ 132 h 210"/>
                <a:gd name="T90" fmla="*/ 153 w 1381"/>
                <a:gd name="T91" fmla="*/ 30 h 210"/>
                <a:gd name="T92" fmla="*/ 586 w 1381"/>
                <a:gd name="T93" fmla="*/ 26 h 210"/>
                <a:gd name="T94" fmla="*/ 586 w 1381"/>
                <a:gd name="T95" fmla="*/ 72 h 210"/>
                <a:gd name="T96" fmla="*/ 983 w 1381"/>
                <a:gd name="T97" fmla="*/ 133 h 210"/>
                <a:gd name="T98" fmla="*/ 163 w 1381"/>
                <a:gd name="T99" fmla="*/ 76 h 210"/>
                <a:gd name="T100" fmla="*/ 355 w 1381"/>
                <a:gd name="T101" fmla="*/ 133 h 210"/>
                <a:gd name="T102" fmla="*/ 1015 w 1381"/>
                <a:gd name="T103" fmla="*/ 33 h 210"/>
                <a:gd name="T104" fmla="*/ 462 w 1381"/>
                <a:gd name="T105" fmla="*/ 178 h 210"/>
                <a:gd name="T106" fmla="*/ 210 w 1381"/>
                <a:gd name="T107" fmla="*/ 132 h 210"/>
                <a:gd name="T108" fmla="*/ 220 w 1381"/>
                <a:gd name="T109" fmla="*/ 113 h 210"/>
                <a:gd name="T110" fmla="*/ 872 w 1381"/>
                <a:gd name="T111" fmla="*/ 150 h 210"/>
                <a:gd name="T112" fmla="*/ 1145 w 1381"/>
                <a:gd name="T113" fmla="*/ 17 h 210"/>
                <a:gd name="T114" fmla="*/ 821 w 1381"/>
                <a:gd name="T115" fmla="*/ 47 h 210"/>
                <a:gd name="T116" fmla="*/ 844 w 1381"/>
                <a:gd name="T117" fmla="*/ 158 h 210"/>
                <a:gd name="T118" fmla="*/ 408 w 1381"/>
                <a:gd name="T119" fmla="*/ 159 h 210"/>
                <a:gd name="T120" fmla="*/ 325 w 1381"/>
                <a:gd name="T121" fmla="*/ 67 h 210"/>
                <a:gd name="T122" fmla="*/ 726 w 1381"/>
                <a:gd name="T123" fmla="*/ 178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81" h="210">
                  <a:moveTo>
                    <a:pt x="14" y="20"/>
                  </a:moveTo>
                  <a:cubicBezTo>
                    <a:pt x="14" y="21"/>
                    <a:pt x="14" y="22"/>
                    <a:pt x="14" y="22"/>
                  </a:cubicBezTo>
                  <a:cubicBezTo>
                    <a:pt x="14" y="40"/>
                    <a:pt x="14" y="58"/>
                    <a:pt x="14" y="76"/>
                  </a:cubicBezTo>
                  <a:cubicBezTo>
                    <a:pt x="14" y="80"/>
                    <a:pt x="14" y="79"/>
                    <a:pt x="11" y="79"/>
                  </a:cubicBezTo>
                  <a:cubicBezTo>
                    <a:pt x="9" y="79"/>
                    <a:pt x="8" y="79"/>
                    <a:pt x="6" y="79"/>
                  </a:cubicBezTo>
                  <a:cubicBezTo>
                    <a:pt x="6" y="79"/>
                    <a:pt x="6" y="79"/>
                    <a:pt x="6" y="78"/>
                  </a:cubicBezTo>
                  <a:cubicBezTo>
                    <a:pt x="6" y="78"/>
                    <a:pt x="6" y="77"/>
                    <a:pt x="6" y="77"/>
                  </a:cubicBezTo>
                  <a:cubicBezTo>
                    <a:pt x="6" y="54"/>
                    <a:pt x="6" y="31"/>
                    <a:pt x="6" y="7"/>
                  </a:cubicBezTo>
                  <a:cubicBezTo>
                    <a:pt x="6" y="7"/>
                    <a:pt x="6" y="7"/>
                    <a:pt x="6" y="7"/>
                  </a:cubicBezTo>
                  <a:cubicBezTo>
                    <a:pt x="6" y="5"/>
                    <a:pt x="6" y="5"/>
                    <a:pt x="7" y="5"/>
                  </a:cubicBezTo>
                  <a:cubicBezTo>
                    <a:pt x="9" y="5"/>
                    <a:pt x="10" y="5"/>
                    <a:pt x="12" y="5"/>
                  </a:cubicBezTo>
                  <a:cubicBezTo>
                    <a:pt x="13" y="5"/>
                    <a:pt x="15" y="5"/>
                    <a:pt x="16" y="5"/>
                  </a:cubicBezTo>
                  <a:cubicBezTo>
                    <a:pt x="17" y="5"/>
                    <a:pt x="17" y="6"/>
                    <a:pt x="17" y="6"/>
                  </a:cubicBezTo>
                  <a:cubicBezTo>
                    <a:pt x="18" y="7"/>
                    <a:pt x="18" y="7"/>
                    <a:pt x="18" y="8"/>
                  </a:cubicBezTo>
                  <a:cubicBezTo>
                    <a:pt x="26" y="26"/>
                    <a:pt x="34" y="44"/>
                    <a:pt x="42" y="62"/>
                  </a:cubicBezTo>
                  <a:cubicBezTo>
                    <a:pt x="42" y="62"/>
                    <a:pt x="42" y="63"/>
                    <a:pt x="43" y="64"/>
                  </a:cubicBezTo>
                  <a:cubicBezTo>
                    <a:pt x="44" y="63"/>
                    <a:pt x="44" y="63"/>
                    <a:pt x="44" y="62"/>
                  </a:cubicBezTo>
                  <a:cubicBezTo>
                    <a:pt x="53" y="44"/>
                    <a:pt x="61" y="26"/>
                    <a:pt x="69" y="8"/>
                  </a:cubicBezTo>
                  <a:cubicBezTo>
                    <a:pt x="69" y="8"/>
                    <a:pt x="69" y="8"/>
                    <a:pt x="69" y="7"/>
                  </a:cubicBezTo>
                  <a:cubicBezTo>
                    <a:pt x="69" y="6"/>
                    <a:pt x="70" y="5"/>
                    <a:pt x="72" y="5"/>
                  </a:cubicBezTo>
                  <a:cubicBezTo>
                    <a:pt x="75" y="5"/>
                    <a:pt x="77" y="5"/>
                    <a:pt x="80" y="5"/>
                  </a:cubicBezTo>
                  <a:cubicBezTo>
                    <a:pt x="81" y="5"/>
                    <a:pt x="81" y="6"/>
                    <a:pt x="81" y="6"/>
                  </a:cubicBezTo>
                  <a:cubicBezTo>
                    <a:pt x="81" y="7"/>
                    <a:pt x="81" y="8"/>
                    <a:pt x="81" y="8"/>
                  </a:cubicBezTo>
                  <a:cubicBezTo>
                    <a:pt x="81" y="31"/>
                    <a:pt x="81" y="54"/>
                    <a:pt x="81" y="76"/>
                  </a:cubicBezTo>
                  <a:cubicBezTo>
                    <a:pt x="81" y="80"/>
                    <a:pt x="81" y="79"/>
                    <a:pt x="78" y="79"/>
                  </a:cubicBezTo>
                  <a:cubicBezTo>
                    <a:pt x="76" y="79"/>
                    <a:pt x="75" y="79"/>
                    <a:pt x="73" y="79"/>
                  </a:cubicBezTo>
                  <a:cubicBezTo>
                    <a:pt x="73" y="79"/>
                    <a:pt x="72" y="79"/>
                    <a:pt x="72" y="78"/>
                  </a:cubicBezTo>
                  <a:cubicBezTo>
                    <a:pt x="72" y="77"/>
                    <a:pt x="72" y="77"/>
                    <a:pt x="72" y="76"/>
                  </a:cubicBezTo>
                  <a:cubicBezTo>
                    <a:pt x="72" y="58"/>
                    <a:pt x="72" y="41"/>
                    <a:pt x="72" y="23"/>
                  </a:cubicBezTo>
                  <a:cubicBezTo>
                    <a:pt x="72" y="22"/>
                    <a:pt x="72" y="21"/>
                    <a:pt x="72" y="21"/>
                  </a:cubicBezTo>
                  <a:cubicBezTo>
                    <a:pt x="72" y="20"/>
                    <a:pt x="72" y="20"/>
                    <a:pt x="72" y="20"/>
                  </a:cubicBezTo>
                  <a:cubicBezTo>
                    <a:pt x="72" y="20"/>
                    <a:pt x="71" y="20"/>
                    <a:pt x="71" y="21"/>
                  </a:cubicBezTo>
                  <a:cubicBezTo>
                    <a:pt x="71" y="21"/>
                    <a:pt x="71" y="22"/>
                    <a:pt x="71" y="22"/>
                  </a:cubicBezTo>
                  <a:cubicBezTo>
                    <a:pt x="64" y="37"/>
                    <a:pt x="57" y="53"/>
                    <a:pt x="50" y="68"/>
                  </a:cubicBezTo>
                  <a:cubicBezTo>
                    <a:pt x="49" y="71"/>
                    <a:pt x="47" y="75"/>
                    <a:pt x="46" y="78"/>
                  </a:cubicBezTo>
                  <a:cubicBezTo>
                    <a:pt x="45" y="79"/>
                    <a:pt x="45" y="79"/>
                    <a:pt x="44" y="79"/>
                  </a:cubicBezTo>
                  <a:cubicBezTo>
                    <a:pt x="41" y="79"/>
                    <a:pt x="41" y="80"/>
                    <a:pt x="40" y="77"/>
                  </a:cubicBezTo>
                  <a:cubicBezTo>
                    <a:pt x="32" y="58"/>
                    <a:pt x="24" y="40"/>
                    <a:pt x="16" y="22"/>
                  </a:cubicBezTo>
                  <a:cubicBezTo>
                    <a:pt x="15" y="21"/>
                    <a:pt x="15" y="21"/>
                    <a:pt x="14" y="20"/>
                  </a:cubicBezTo>
                  <a:cubicBezTo>
                    <a:pt x="14" y="20"/>
                    <a:pt x="14" y="20"/>
                    <a:pt x="14" y="20"/>
                  </a:cubicBezTo>
                  <a:close/>
                  <a:moveTo>
                    <a:pt x="687" y="128"/>
                  </a:moveTo>
                  <a:cubicBezTo>
                    <a:pt x="687" y="145"/>
                    <a:pt x="686" y="162"/>
                    <a:pt x="687" y="179"/>
                  </a:cubicBezTo>
                  <a:cubicBezTo>
                    <a:pt x="687" y="181"/>
                    <a:pt x="686" y="182"/>
                    <a:pt x="687" y="184"/>
                  </a:cubicBezTo>
                  <a:cubicBezTo>
                    <a:pt x="688" y="185"/>
                    <a:pt x="690" y="184"/>
                    <a:pt x="692" y="184"/>
                  </a:cubicBezTo>
                  <a:cubicBezTo>
                    <a:pt x="696" y="184"/>
                    <a:pt x="695" y="185"/>
                    <a:pt x="695" y="181"/>
                  </a:cubicBezTo>
                  <a:cubicBezTo>
                    <a:pt x="695" y="159"/>
                    <a:pt x="695" y="136"/>
                    <a:pt x="695" y="114"/>
                  </a:cubicBezTo>
                  <a:cubicBezTo>
                    <a:pt x="695" y="113"/>
                    <a:pt x="695" y="112"/>
                    <a:pt x="695" y="112"/>
                  </a:cubicBezTo>
                  <a:cubicBezTo>
                    <a:pt x="695" y="111"/>
                    <a:pt x="695" y="111"/>
                    <a:pt x="694" y="111"/>
                  </a:cubicBezTo>
                  <a:cubicBezTo>
                    <a:pt x="692" y="111"/>
                    <a:pt x="689" y="111"/>
                    <a:pt x="686" y="111"/>
                  </a:cubicBezTo>
                  <a:cubicBezTo>
                    <a:pt x="685" y="111"/>
                    <a:pt x="684" y="111"/>
                    <a:pt x="683" y="113"/>
                  </a:cubicBezTo>
                  <a:cubicBezTo>
                    <a:pt x="683" y="113"/>
                    <a:pt x="683" y="113"/>
                    <a:pt x="683" y="113"/>
                  </a:cubicBezTo>
                  <a:cubicBezTo>
                    <a:pt x="678" y="124"/>
                    <a:pt x="674" y="134"/>
                    <a:pt x="669" y="145"/>
                  </a:cubicBezTo>
                  <a:cubicBezTo>
                    <a:pt x="666" y="152"/>
                    <a:pt x="662" y="160"/>
                    <a:pt x="659" y="167"/>
                  </a:cubicBezTo>
                  <a:cubicBezTo>
                    <a:pt x="658" y="168"/>
                    <a:pt x="658" y="168"/>
                    <a:pt x="658" y="169"/>
                  </a:cubicBezTo>
                  <a:cubicBezTo>
                    <a:pt x="658" y="169"/>
                    <a:pt x="658" y="169"/>
                    <a:pt x="658" y="169"/>
                  </a:cubicBezTo>
                  <a:cubicBezTo>
                    <a:pt x="657" y="169"/>
                    <a:pt x="657" y="169"/>
                    <a:pt x="657" y="169"/>
                  </a:cubicBezTo>
                  <a:cubicBezTo>
                    <a:pt x="657" y="168"/>
                    <a:pt x="656" y="168"/>
                    <a:pt x="656" y="167"/>
                  </a:cubicBezTo>
                  <a:cubicBezTo>
                    <a:pt x="652" y="156"/>
                    <a:pt x="647" y="146"/>
                    <a:pt x="642" y="135"/>
                  </a:cubicBezTo>
                  <a:cubicBezTo>
                    <a:pt x="639" y="128"/>
                    <a:pt x="636" y="120"/>
                    <a:pt x="632" y="112"/>
                  </a:cubicBezTo>
                  <a:cubicBezTo>
                    <a:pt x="632" y="111"/>
                    <a:pt x="631" y="111"/>
                    <a:pt x="630" y="111"/>
                  </a:cubicBezTo>
                  <a:cubicBezTo>
                    <a:pt x="627" y="111"/>
                    <a:pt x="625" y="111"/>
                    <a:pt x="623" y="111"/>
                  </a:cubicBezTo>
                  <a:cubicBezTo>
                    <a:pt x="620" y="111"/>
                    <a:pt x="620" y="110"/>
                    <a:pt x="620" y="114"/>
                  </a:cubicBezTo>
                  <a:cubicBezTo>
                    <a:pt x="620" y="136"/>
                    <a:pt x="620" y="157"/>
                    <a:pt x="620" y="179"/>
                  </a:cubicBezTo>
                  <a:cubicBezTo>
                    <a:pt x="620" y="181"/>
                    <a:pt x="620" y="182"/>
                    <a:pt x="620" y="184"/>
                  </a:cubicBezTo>
                  <a:cubicBezTo>
                    <a:pt x="622" y="185"/>
                    <a:pt x="623" y="184"/>
                    <a:pt x="625" y="184"/>
                  </a:cubicBezTo>
                  <a:cubicBezTo>
                    <a:pt x="629" y="184"/>
                    <a:pt x="628" y="185"/>
                    <a:pt x="628" y="181"/>
                  </a:cubicBezTo>
                  <a:cubicBezTo>
                    <a:pt x="628" y="163"/>
                    <a:pt x="628" y="145"/>
                    <a:pt x="628" y="127"/>
                  </a:cubicBezTo>
                  <a:cubicBezTo>
                    <a:pt x="628" y="126"/>
                    <a:pt x="628" y="126"/>
                    <a:pt x="629" y="125"/>
                  </a:cubicBezTo>
                  <a:cubicBezTo>
                    <a:pt x="629" y="125"/>
                    <a:pt x="629" y="126"/>
                    <a:pt x="630" y="127"/>
                  </a:cubicBezTo>
                  <a:cubicBezTo>
                    <a:pt x="636" y="142"/>
                    <a:pt x="643" y="156"/>
                    <a:pt x="649" y="171"/>
                  </a:cubicBezTo>
                  <a:cubicBezTo>
                    <a:pt x="651" y="175"/>
                    <a:pt x="653" y="179"/>
                    <a:pt x="655" y="183"/>
                  </a:cubicBezTo>
                  <a:cubicBezTo>
                    <a:pt x="655" y="184"/>
                    <a:pt x="656" y="184"/>
                    <a:pt x="657" y="184"/>
                  </a:cubicBezTo>
                  <a:cubicBezTo>
                    <a:pt x="660" y="184"/>
                    <a:pt x="660" y="185"/>
                    <a:pt x="661" y="182"/>
                  </a:cubicBezTo>
                  <a:cubicBezTo>
                    <a:pt x="669" y="164"/>
                    <a:pt x="677" y="146"/>
                    <a:pt x="685" y="128"/>
                  </a:cubicBezTo>
                  <a:cubicBezTo>
                    <a:pt x="685" y="127"/>
                    <a:pt x="685" y="126"/>
                    <a:pt x="687" y="125"/>
                  </a:cubicBezTo>
                  <a:cubicBezTo>
                    <a:pt x="687" y="126"/>
                    <a:pt x="687" y="127"/>
                    <a:pt x="687" y="128"/>
                  </a:cubicBezTo>
                  <a:close/>
                  <a:moveTo>
                    <a:pt x="267" y="138"/>
                  </a:moveTo>
                  <a:cubicBezTo>
                    <a:pt x="267" y="138"/>
                    <a:pt x="267" y="137"/>
                    <a:pt x="266" y="137"/>
                  </a:cubicBezTo>
                  <a:cubicBezTo>
                    <a:pt x="264" y="134"/>
                    <a:pt x="260" y="132"/>
                    <a:pt x="256" y="131"/>
                  </a:cubicBezTo>
                  <a:cubicBezTo>
                    <a:pt x="254" y="130"/>
                    <a:pt x="252" y="130"/>
                    <a:pt x="250" y="131"/>
                  </a:cubicBezTo>
                  <a:cubicBezTo>
                    <a:pt x="244" y="131"/>
                    <a:pt x="239" y="133"/>
                    <a:pt x="235" y="138"/>
                  </a:cubicBezTo>
                  <a:cubicBezTo>
                    <a:pt x="232" y="140"/>
                    <a:pt x="231" y="144"/>
                    <a:pt x="230" y="147"/>
                  </a:cubicBezTo>
                  <a:cubicBezTo>
                    <a:pt x="228" y="153"/>
                    <a:pt x="227" y="159"/>
                    <a:pt x="228" y="165"/>
                  </a:cubicBezTo>
                  <a:cubicBezTo>
                    <a:pt x="228" y="169"/>
                    <a:pt x="230" y="172"/>
                    <a:pt x="232" y="176"/>
                  </a:cubicBezTo>
                  <a:cubicBezTo>
                    <a:pt x="235" y="180"/>
                    <a:pt x="239" y="184"/>
                    <a:pt x="244" y="185"/>
                  </a:cubicBezTo>
                  <a:cubicBezTo>
                    <a:pt x="248" y="186"/>
                    <a:pt x="252" y="186"/>
                    <a:pt x="256" y="185"/>
                  </a:cubicBezTo>
                  <a:cubicBezTo>
                    <a:pt x="260" y="184"/>
                    <a:pt x="263" y="181"/>
                    <a:pt x="266" y="178"/>
                  </a:cubicBezTo>
                  <a:cubicBezTo>
                    <a:pt x="266" y="178"/>
                    <a:pt x="266" y="177"/>
                    <a:pt x="267" y="177"/>
                  </a:cubicBezTo>
                  <a:cubicBezTo>
                    <a:pt x="267" y="177"/>
                    <a:pt x="267" y="176"/>
                    <a:pt x="268" y="176"/>
                  </a:cubicBezTo>
                  <a:cubicBezTo>
                    <a:pt x="268" y="179"/>
                    <a:pt x="268" y="181"/>
                    <a:pt x="268" y="183"/>
                  </a:cubicBezTo>
                  <a:cubicBezTo>
                    <a:pt x="268" y="185"/>
                    <a:pt x="268" y="187"/>
                    <a:pt x="267" y="189"/>
                  </a:cubicBezTo>
                  <a:cubicBezTo>
                    <a:pt x="266" y="195"/>
                    <a:pt x="262" y="199"/>
                    <a:pt x="256" y="201"/>
                  </a:cubicBezTo>
                  <a:cubicBezTo>
                    <a:pt x="253" y="202"/>
                    <a:pt x="249" y="202"/>
                    <a:pt x="246" y="202"/>
                  </a:cubicBezTo>
                  <a:cubicBezTo>
                    <a:pt x="242" y="201"/>
                    <a:pt x="238" y="200"/>
                    <a:pt x="234" y="198"/>
                  </a:cubicBezTo>
                  <a:cubicBezTo>
                    <a:pt x="233" y="198"/>
                    <a:pt x="233" y="197"/>
                    <a:pt x="232" y="197"/>
                  </a:cubicBezTo>
                  <a:cubicBezTo>
                    <a:pt x="232" y="198"/>
                    <a:pt x="231" y="198"/>
                    <a:pt x="231" y="198"/>
                  </a:cubicBezTo>
                  <a:cubicBezTo>
                    <a:pt x="231" y="200"/>
                    <a:pt x="231" y="202"/>
                    <a:pt x="231" y="204"/>
                  </a:cubicBezTo>
                  <a:cubicBezTo>
                    <a:pt x="231" y="205"/>
                    <a:pt x="232" y="206"/>
                    <a:pt x="233" y="206"/>
                  </a:cubicBezTo>
                  <a:cubicBezTo>
                    <a:pt x="233" y="206"/>
                    <a:pt x="233" y="206"/>
                    <a:pt x="233" y="206"/>
                  </a:cubicBezTo>
                  <a:cubicBezTo>
                    <a:pt x="242" y="210"/>
                    <a:pt x="251" y="210"/>
                    <a:pt x="260" y="208"/>
                  </a:cubicBezTo>
                  <a:cubicBezTo>
                    <a:pt x="265" y="206"/>
                    <a:pt x="269" y="203"/>
                    <a:pt x="271" y="199"/>
                  </a:cubicBezTo>
                  <a:cubicBezTo>
                    <a:pt x="273" y="197"/>
                    <a:pt x="274" y="195"/>
                    <a:pt x="275" y="192"/>
                  </a:cubicBezTo>
                  <a:cubicBezTo>
                    <a:pt x="276" y="188"/>
                    <a:pt x="276" y="183"/>
                    <a:pt x="276" y="179"/>
                  </a:cubicBezTo>
                  <a:cubicBezTo>
                    <a:pt x="276" y="164"/>
                    <a:pt x="276" y="149"/>
                    <a:pt x="276" y="135"/>
                  </a:cubicBezTo>
                  <a:cubicBezTo>
                    <a:pt x="276" y="134"/>
                    <a:pt x="276" y="134"/>
                    <a:pt x="276" y="133"/>
                  </a:cubicBezTo>
                  <a:cubicBezTo>
                    <a:pt x="276" y="132"/>
                    <a:pt x="276" y="132"/>
                    <a:pt x="275" y="132"/>
                  </a:cubicBezTo>
                  <a:cubicBezTo>
                    <a:pt x="273" y="132"/>
                    <a:pt x="271" y="132"/>
                    <a:pt x="269" y="132"/>
                  </a:cubicBezTo>
                  <a:cubicBezTo>
                    <a:pt x="268" y="132"/>
                    <a:pt x="268" y="132"/>
                    <a:pt x="268" y="133"/>
                  </a:cubicBezTo>
                  <a:cubicBezTo>
                    <a:pt x="268" y="135"/>
                    <a:pt x="268" y="136"/>
                    <a:pt x="268" y="138"/>
                  </a:cubicBezTo>
                  <a:cubicBezTo>
                    <a:pt x="267" y="138"/>
                    <a:pt x="267" y="138"/>
                    <a:pt x="267" y="138"/>
                  </a:cubicBezTo>
                  <a:close/>
                  <a:moveTo>
                    <a:pt x="901" y="138"/>
                  </a:moveTo>
                  <a:cubicBezTo>
                    <a:pt x="901" y="138"/>
                    <a:pt x="901" y="137"/>
                    <a:pt x="900" y="137"/>
                  </a:cubicBezTo>
                  <a:cubicBezTo>
                    <a:pt x="898" y="134"/>
                    <a:pt x="895" y="132"/>
                    <a:pt x="891" y="131"/>
                  </a:cubicBezTo>
                  <a:cubicBezTo>
                    <a:pt x="888" y="130"/>
                    <a:pt x="885" y="130"/>
                    <a:pt x="883" y="131"/>
                  </a:cubicBezTo>
                  <a:cubicBezTo>
                    <a:pt x="878" y="131"/>
                    <a:pt x="874" y="133"/>
                    <a:pt x="870" y="136"/>
                  </a:cubicBezTo>
                  <a:cubicBezTo>
                    <a:pt x="867" y="139"/>
                    <a:pt x="865" y="143"/>
                    <a:pt x="864" y="146"/>
                  </a:cubicBezTo>
                  <a:cubicBezTo>
                    <a:pt x="862" y="153"/>
                    <a:pt x="861" y="160"/>
                    <a:pt x="862" y="167"/>
                  </a:cubicBezTo>
                  <a:cubicBezTo>
                    <a:pt x="863" y="170"/>
                    <a:pt x="864" y="173"/>
                    <a:pt x="866" y="176"/>
                  </a:cubicBezTo>
                  <a:cubicBezTo>
                    <a:pt x="869" y="180"/>
                    <a:pt x="872" y="183"/>
                    <a:pt x="877" y="185"/>
                  </a:cubicBezTo>
                  <a:cubicBezTo>
                    <a:pt x="880" y="186"/>
                    <a:pt x="883" y="186"/>
                    <a:pt x="886" y="186"/>
                  </a:cubicBezTo>
                  <a:cubicBezTo>
                    <a:pt x="892" y="185"/>
                    <a:pt x="897" y="182"/>
                    <a:pt x="900" y="178"/>
                  </a:cubicBezTo>
                  <a:cubicBezTo>
                    <a:pt x="901" y="177"/>
                    <a:pt x="901" y="177"/>
                    <a:pt x="901" y="177"/>
                  </a:cubicBezTo>
                  <a:cubicBezTo>
                    <a:pt x="901" y="176"/>
                    <a:pt x="901" y="176"/>
                    <a:pt x="902" y="176"/>
                  </a:cubicBezTo>
                  <a:cubicBezTo>
                    <a:pt x="902" y="179"/>
                    <a:pt x="902" y="181"/>
                    <a:pt x="902" y="183"/>
                  </a:cubicBezTo>
                  <a:cubicBezTo>
                    <a:pt x="902" y="186"/>
                    <a:pt x="901" y="188"/>
                    <a:pt x="900" y="191"/>
                  </a:cubicBezTo>
                  <a:cubicBezTo>
                    <a:pt x="899" y="196"/>
                    <a:pt x="896" y="199"/>
                    <a:pt x="891" y="201"/>
                  </a:cubicBezTo>
                  <a:cubicBezTo>
                    <a:pt x="887" y="202"/>
                    <a:pt x="884" y="202"/>
                    <a:pt x="880" y="202"/>
                  </a:cubicBezTo>
                  <a:cubicBezTo>
                    <a:pt x="876" y="201"/>
                    <a:pt x="872" y="200"/>
                    <a:pt x="868" y="198"/>
                  </a:cubicBezTo>
                  <a:cubicBezTo>
                    <a:pt x="867" y="198"/>
                    <a:pt x="867" y="197"/>
                    <a:pt x="866" y="197"/>
                  </a:cubicBezTo>
                  <a:cubicBezTo>
                    <a:pt x="866" y="200"/>
                    <a:pt x="866" y="202"/>
                    <a:pt x="866" y="204"/>
                  </a:cubicBezTo>
                  <a:cubicBezTo>
                    <a:pt x="866" y="205"/>
                    <a:pt x="866" y="206"/>
                    <a:pt x="867" y="206"/>
                  </a:cubicBezTo>
                  <a:cubicBezTo>
                    <a:pt x="868" y="206"/>
                    <a:pt x="868" y="207"/>
                    <a:pt x="869" y="207"/>
                  </a:cubicBezTo>
                  <a:cubicBezTo>
                    <a:pt x="877" y="209"/>
                    <a:pt x="884" y="210"/>
                    <a:pt x="892" y="208"/>
                  </a:cubicBezTo>
                  <a:cubicBezTo>
                    <a:pt x="901" y="206"/>
                    <a:pt x="906" y="201"/>
                    <a:pt x="909" y="192"/>
                  </a:cubicBezTo>
                  <a:cubicBezTo>
                    <a:pt x="910" y="188"/>
                    <a:pt x="910" y="184"/>
                    <a:pt x="910" y="180"/>
                  </a:cubicBezTo>
                  <a:cubicBezTo>
                    <a:pt x="910" y="165"/>
                    <a:pt x="910" y="150"/>
                    <a:pt x="910" y="134"/>
                  </a:cubicBezTo>
                  <a:cubicBezTo>
                    <a:pt x="910" y="134"/>
                    <a:pt x="910" y="133"/>
                    <a:pt x="910" y="133"/>
                  </a:cubicBezTo>
                  <a:cubicBezTo>
                    <a:pt x="910" y="132"/>
                    <a:pt x="910" y="132"/>
                    <a:pt x="909" y="132"/>
                  </a:cubicBezTo>
                  <a:cubicBezTo>
                    <a:pt x="907" y="132"/>
                    <a:pt x="905" y="132"/>
                    <a:pt x="903" y="132"/>
                  </a:cubicBezTo>
                  <a:cubicBezTo>
                    <a:pt x="902" y="132"/>
                    <a:pt x="902" y="132"/>
                    <a:pt x="902" y="133"/>
                  </a:cubicBezTo>
                  <a:cubicBezTo>
                    <a:pt x="902" y="134"/>
                    <a:pt x="902" y="136"/>
                    <a:pt x="902" y="138"/>
                  </a:cubicBezTo>
                  <a:cubicBezTo>
                    <a:pt x="902" y="138"/>
                    <a:pt x="902" y="138"/>
                    <a:pt x="901" y="138"/>
                  </a:cubicBezTo>
                  <a:close/>
                  <a:moveTo>
                    <a:pt x="371" y="2"/>
                  </a:moveTo>
                  <a:cubicBezTo>
                    <a:pt x="371" y="1"/>
                    <a:pt x="371" y="1"/>
                    <a:pt x="370" y="1"/>
                  </a:cubicBezTo>
                  <a:cubicBezTo>
                    <a:pt x="368" y="0"/>
                    <a:pt x="366" y="0"/>
                    <a:pt x="364" y="0"/>
                  </a:cubicBezTo>
                  <a:cubicBezTo>
                    <a:pt x="358" y="0"/>
                    <a:pt x="352" y="4"/>
                    <a:pt x="350" y="11"/>
                  </a:cubicBezTo>
                  <a:cubicBezTo>
                    <a:pt x="349" y="13"/>
                    <a:pt x="349" y="15"/>
                    <a:pt x="349" y="17"/>
                  </a:cubicBezTo>
                  <a:cubicBezTo>
                    <a:pt x="349" y="20"/>
                    <a:pt x="349" y="23"/>
                    <a:pt x="349" y="25"/>
                  </a:cubicBezTo>
                  <a:cubicBezTo>
                    <a:pt x="349" y="26"/>
                    <a:pt x="348" y="26"/>
                    <a:pt x="347" y="26"/>
                  </a:cubicBezTo>
                  <a:cubicBezTo>
                    <a:pt x="347" y="26"/>
                    <a:pt x="346" y="26"/>
                    <a:pt x="345" y="26"/>
                  </a:cubicBezTo>
                  <a:cubicBezTo>
                    <a:pt x="344" y="27"/>
                    <a:pt x="342" y="26"/>
                    <a:pt x="340" y="27"/>
                  </a:cubicBezTo>
                  <a:cubicBezTo>
                    <a:pt x="340" y="29"/>
                    <a:pt x="340" y="31"/>
                    <a:pt x="340" y="32"/>
                  </a:cubicBezTo>
                  <a:cubicBezTo>
                    <a:pt x="340" y="33"/>
                    <a:pt x="340" y="33"/>
                    <a:pt x="340" y="33"/>
                  </a:cubicBezTo>
                  <a:cubicBezTo>
                    <a:pt x="340" y="33"/>
                    <a:pt x="340" y="34"/>
                    <a:pt x="340" y="34"/>
                  </a:cubicBezTo>
                  <a:cubicBezTo>
                    <a:pt x="342" y="34"/>
                    <a:pt x="344" y="34"/>
                    <a:pt x="346" y="34"/>
                  </a:cubicBezTo>
                  <a:cubicBezTo>
                    <a:pt x="349" y="34"/>
                    <a:pt x="349" y="34"/>
                    <a:pt x="349" y="36"/>
                  </a:cubicBezTo>
                  <a:cubicBezTo>
                    <a:pt x="349" y="49"/>
                    <a:pt x="349" y="61"/>
                    <a:pt x="349" y="74"/>
                  </a:cubicBezTo>
                  <a:cubicBezTo>
                    <a:pt x="349" y="75"/>
                    <a:pt x="348" y="77"/>
                    <a:pt x="349" y="79"/>
                  </a:cubicBezTo>
                  <a:cubicBezTo>
                    <a:pt x="350" y="80"/>
                    <a:pt x="352" y="79"/>
                    <a:pt x="354" y="79"/>
                  </a:cubicBezTo>
                  <a:cubicBezTo>
                    <a:pt x="357" y="79"/>
                    <a:pt x="357" y="79"/>
                    <a:pt x="357" y="76"/>
                  </a:cubicBezTo>
                  <a:cubicBezTo>
                    <a:pt x="357" y="63"/>
                    <a:pt x="357" y="50"/>
                    <a:pt x="357" y="37"/>
                  </a:cubicBezTo>
                  <a:cubicBezTo>
                    <a:pt x="357" y="36"/>
                    <a:pt x="357" y="35"/>
                    <a:pt x="357" y="34"/>
                  </a:cubicBezTo>
                  <a:cubicBezTo>
                    <a:pt x="357" y="34"/>
                    <a:pt x="357" y="34"/>
                    <a:pt x="358" y="34"/>
                  </a:cubicBezTo>
                  <a:cubicBezTo>
                    <a:pt x="358" y="34"/>
                    <a:pt x="358" y="34"/>
                    <a:pt x="359" y="34"/>
                  </a:cubicBezTo>
                  <a:cubicBezTo>
                    <a:pt x="364" y="34"/>
                    <a:pt x="370" y="34"/>
                    <a:pt x="376" y="34"/>
                  </a:cubicBezTo>
                  <a:cubicBezTo>
                    <a:pt x="376" y="34"/>
                    <a:pt x="376" y="34"/>
                    <a:pt x="377" y="34"/>
                  </a:cubicBezTo>
                  <a:cubicBezTo>
                    <a:pt x="377" y="34"/>
                    <a:pt x="378" y="34"/>
                    <a:pt x="378" y="35"/>
                  </a:cubicBezTo>
                  <a:cubicBezTo>
                    <a:pt x="378" y="35"/>
                    <a:pt x="378" y="36"/>
                    <a:pt x="378" y="36"/>
                  </a:cubicBezTo>
                  <a:cubicBezTo>
                    <a:pt x="378" y="43"/>
                    <a:pt x="378" y="50"/>
                    <a:pt x="378" y="56"/>
                  </a:cubicBezTo>
                  <a:cubicBezTo>
                    <a:pt x="378" y="59"/>
                    <a:pt x="378" y="62"/>
                    <a:pt x="378" y="65"/>
                  </a:cubicBezTo>
                  <a:cubicBezTo>
                    <a:pt x="378" y="68"/>
                    <a:pt x="378" y="70"/>
                    <a:pt x="379" y="73"/>
                  </a:cubicBezTo>
                  <a:cubicBezTo>
                    <a:pt x="380" y="76"/>
                    <a:pt x="383" y="78"/>
                    <a:pt x="386" y="79"/>
                  </a:cubicBezTo>
                  <a:cubicBezTo>
                    <a:pt x="387" y="80"/>
                    <a:pt x="388" y="80"/>
                    <a:pt x="389" y="80"/>
                  </a:cubicBezTo>
                  <a:cubicBezTo>
                    <a:pt x="392" y="81"/>
                    <a:pt x="395" y="80"/>
                    <a:pt x="398" y="79"/>
                  </a:cubicBezTo>
                  <a:cubicBezTo>
                    <a:pt x="399" y="79"/>
                    <a:pt x="399" y="78"/>
                    <a:pt x="399" y="78"/>
                  </a:cubicBezTo>
                  <a:cubicBezTo>
                    <a:pt x="399" y="76"/>
                    <a:pt x="399" y="74"/>
                    <a:pt x="399" y="72"/>
                  </a:cubicBezTo>
                  <a:cubicBezTo>
                    <a:pt x="399" y="72"/>
                    <a:pt x="398" y="72"/>
                    <a:pt x="398" y="72"/>
                  </a:cubicBezTo>
                  <a:cubicBezTo>
                    <a:pt x="396" y="73"/>
                    <a:pt x="394" y="73"/>
                    <a:pt x="392" y="73"/>
                  </a:cubicBezTo>
                  <a:cubicBezTo>
                    <a:pt x="389" y="72"/>
                    <a:pt x="387" y="71"/>
                    <a:pt x="387" y="68"/>
                  </a:cubicBezTo>
                  <a:cubicBezTo>
                    <a:pt x="386" y="66"/>
                    <a:pt x="386" y="65"/>
                    <a:pt x="386" y="63"/>
                  </a:cubicBezTo>
                  <a:cubicBezTo>
                    <a:pt x="386" y="54"/>
                    <a:pt x="386" y="45"/>
                    <a:pt x="386" y="36"/>
                  </a:cubicBezTo>
                  <a:cubicBezTo>
                    <a:pt x="386" y="36"/>
                    <a:pt x="386" y="35"/>
                    <a:pt x="386" y="35"/>
                  </a:cubicBezTo>
                  <a:cubicBezTo>
                    <a:pt x="386" y="34"/>
                    <a:pt x="386" y="34"/>
                    <a:pt x="387" y="34"/>
                  </a:cubicBezTo>
                  <a:cubicBezTo>
                    <a:pt x="390" y="34"/>
                    <a:pt x="392" y="34"/>
                    <a:pt x="395" y="34"/>
                  </a:cubicBezTo>
                  <a:cubicBezTo>
                    <a:pt x="396" y="33"/>
                    <a:pt x="398" y="34"/>
                    <a:pt x="399" y="33"/>
                  </a:cubicBezTo>
                  <a:cubicBezTo>
                    <a:pt x="400" y="32"/>
                    <a:pt x="399" y="31"/>
                    <a:pt x="399" y="29"/>
                  </a:cubicBezTo>
                  <a:cubicBezTo>
                    <a:pt x="399" y="26"/>
                    <a:pt x="400" y="26"/>
                    <a:pt x="397" y="26"/>
                  </a:cubicBezTo>
                  <a:cubicBezTo>
                    <a:pt x="394" y="26"/>
                    <a:pt x="391" y="26"/>
                    <a:pt x="388" y="26"/>
                  </a:cubicBezTo>
                  <a:cubicBezTo>
                    <a:pt x="386" y="26"/>
                    <a:pt x="386" y="26"/>
                    <a:pt x="386" y="24"/>
                  </a:cubicBezTo>
                  <a:cubicBezTo>
                    <a:pt x="386" y="21"/>
                    <a:pt x="386" y="17"/>
                    <a:pt x="386" y="14"/>
                  </a:cubicBezTo>
                  <a:cubicBezTo>
                    <a:pt x="386" y="13"/>
                    <a:pt x="386" y="12"/>
                    <a:pt x="386" y="11"/>
                  </a:cubicBezTo>
                  <a:cubicBezTo>
                    <a:pt x="386" y="11"/>
                    <a:pt x="385" y="11"/>
                    <a:pt x="385" y="11"/>
                  </a:cubicBezTo>
                  <a:cubicBezTo>
                    <a:pt x="383" y="12"/>
                    <a:pt x="381" y="12"/>
                    <a:pt x="379" y="13"/>
                  </a:cubicBezTo>
                  <a:cubicBezTo>
                    <a:pt x="378" y="14"/>
                    <a:pt x="378" y="14"/>
                    <a:pt x="378" y="15"/>
                  </a:cubicBezTo>
                  <a:cubicBezTo>
                    <a:pt x="378" y="18"/>
                    <a:pt x="378" y="20"/>
                    <a:pt x="378" y="23"/>
                  </a:cubicBezTo>
                  <a:cubicBezTo>
                    <a:pt x="378" y="24"/>
                    <a:pt x="378" y="25"/>
                    <a:pt x="378" y="25"/>
                  </a:cubicBezTo>
                  <a:cubicBezTo>
                    <a:pt x="378" y="26"/>
                    <a:pt x="378" y="26"/>
                    <a:pt x="377" y="26"/>
                  </a:cubicBezTo>
                  <a:cubicBezTo>
                    <a:pt x="376" y="26"/>
                    <a:pt x="375" y="26"/>
                    <a:pt x="375" y="26"/>
                  </a:cubicBezTo>
                  <a:cubicBezTo>
                    <a:pt x="370" y="26"/>
                    <a:pt x="365" y="26"/>
                    <a:pt x="360" y="26"/>
                  </a:cubicBezTo>
                  <a:cubicBezTo>
                    <a:pt x="359" y="26"/>
                    <a:pt x="359" y="26"/>
                    <a:pt x="358" y="26"/>
                  </a:cubicBezTo>
                  <a:cubicBezTo>
                    <a:pt x="357" y="26"/>
                    <a:pt x="357" y="26"/>
                    <a:pt x="357" y="25"/>
                  </a:cubicBezTo>
                  <a:cubicBezTo>
                    <a:pt x="357" y="22"/>
                    <a:pt x="357" y="18"/>
                    <a:pt x="357" y="15"/>
                  </a:cubicBezTo>
                  <a:cubicBezTo>
                    <a:pt x="357" y="14"/>
                    <a:pt x="358" y="12"/>
                    <a:pt x="358" y="11"/>
                  </a:cubicBezTo>
                  <a:cubicBezTo>
                    <a:pt x="359" y="9"/>
                    <a:pt x="361" y="8"/>
                    <a:pt x="363" y="8"/>
                  </a:cubicBezTo>
                  <a:cubicBezTo>
                    <a:pt x="365" y="7"/>
                    <a:pt x="367" y="7"/>
                    <a:pt x="369" y="7"/>
                  </a:cubicBezTo>
                  <a:cubicBezTo>
                    <a:pt x="370" y="8"/>
                    <a:pt x="370" y="8"/>
                    <a:pt x="371" y="8"/>
                  </a:cubicBezTo>
                  <a:cubicBezTo>
                    <a:pt x="371" y="6"/>
                    <a:pt x="371" y="4"/>
                    <a:pt x="371" y="2"/>
                  </a:cubicBezTo>
                  <a:close/>
                  <a:moveTo>
                    <a:pt x="655" y="33"/>
                  </a:moveTo>
                  <a:cubicBezTo>
                    <a:pt x="655" y="31"/>
                    <a:pt x="655" y="30"/>
                    <a:pt x="655" y="28"/>
                  </a:cubicBezTo>
                  <a:cubicBezTo>
                    <a:pt x="655" y="27"/>
                    <a:pt x="654" y="26"/>
                    <a:pt x="653" y="26"/>
                  </a:cubicBezTo>
                  <a:cubicBezTo>
                    <a:pt x="652" y="26"/>
                    <a:pt x="650" y="26"/>
                    <a:pt x="649" y="26"/>
                  </a:cubicBezTo>
                  <a:cubicBezTo>
                    <a:pt x="646" y="26"/>
                    <a:pt x="646" y="26"/>
                    <a:pt x="646" y="29"/>
                  </a:cubicBezTo>
                  <a:cubicBezTo>
                    <a:pt x="646" y="45"/>
                    <a:pt x="646" y="61"/>
                    <a:pt x="646" y="77"/>
                  </a:cubicBezTo>
                  <a:cubicBezTo>
                    <a:pt x="646" y="77"/>
                    <a:pt x="646" y="77"/>
                    <a:pt x="646" y="78"/>
                  </a:cubicBezTo>
                  <a:cubicBezTo>
                    <a:pt x="646" y="79"/>
                    <a:pt x="646" y="79"/>
                    <a:pt x="647" y="79"/>
                  </a:cubicBezTo>
                  <a:cubicBezTo>
                    <a:pt x="649" y="79"/>
                    <a:pt x="651" y="79"/>
                    <a:pt x="653" y="79"/>
                  </a:cubicBezTo>
                  <a:cubicBezTo>
                    <a:pt x="654" y="79"/>
                    <a:pt x="654" y="79"/>
                    <a:pt x="655" y="78"/>
                  </a:cubicBezTo>
                  <a:cubicBezTo>
                    <a:pt x="655" y="77"/>
                    <a:pt x="655" y="76"/>
                    <a:pt x="655" y="76"/>
                  </a:cubicBezTo>
                  <a:cubicBezTo>
                    <a:pt x="655" y="67"/>
                    <a:pt x="655" y="59"/>
                    <a:pt x="655" y="51"/>
                  </a:cubicBezTo>
                  <a:cubicBezTo>
                    <a:pt x="655" y="49"/>
                    <a:pt x="655" y="47"/>
                    <a:pt x="655" y="45"/>
                  </a:cubicBezTo>
                  <a:cubicBezTo>
                    <a:pt x="655" y="42"/>
                    <a:pt x="657" y="38"/>
                    <a:pt x="659" y="36"/>
                  </a:cubicBezTo>
                  <a:cubicBezTo>
                    <a:pt x="664" y="30"/>
                    <a:pt x="676" y="31"/>
                    <a:pt x="678" y="40"/>
                  </a:cubicBezTo>
                  <a:cubicBezTo>
                    <a:pt x="679" y="43"/>
                    <a:pt x="679" y="45"/>
                    <a:pt x="679" y="48"/>
                  </a:cubicBezTo>
                  <a:cubicBezTo>
                    <a:pt x="679" y="57"/>
                    <a:pt x="679" y="67"/>
                    <a:pt x="679" y="76"/>
                  </a:cubicBezTo>
                  <a:cubicBezTo>
                    <a:pt x="679" y="77"/>
                    <a:pt x="679" y="78"/>
                    <a:pt x="679" y="78"/>
                  </a:cubicBezTo>
                  <a:cubicBezTo>
                    <a:pt x="679" y="79"/>
                    <a:pt x="680" y="79"/>
                    <a:pt x="680" y="79"/>
                  </a:cubicBezTo>
                  <a:cubicBezTo>
                    <a:pt x="682" y="79"/>
                    <a:pt x="683" y="79"/>
                    <a:pt x="685" y="79"/>
                  </a:cubicBezTo>
                  <a:cubicBezTo>
                    <a:pt x="688" y="79"/>
                    <a:pt x="688" y="79"/>
                    <a:pt x="688" y="77"/>
                  </a:cubicBezTo>
                  <a:cubicBezTo>
                    <a:pt x="688" y="68"/>
                    <a:pt x="688" y="59"/>
                    <a:pt x="688" y="50"/>
                  </a:cubicBezTo>
                  <a:cubicBezTo>
                    <a:pt x="688" y="49"/>
                    <a:pt x="688" y="47"/>
                    <a:pt x="688" y="45"/>
                  </a:cubicBezTo>
                  <a:cubicBezTo>
                    <a:pt x="689" y="41"/>
                    <a:pt x="690" y="38"/>
                    <a:pt x="693" y="36"/>
                  </a:cubicBezTo>
                  <a:cubicBezTo>
                    <a:pt x="695" y="33"/>
                    <a:pt x="698" y="32"/>
                    <a:pt x="701" y="32"/>
                  </a:cubicBezTo>
                  <a:cubicBezTo>
                    <a:pt x="708" y="33"/>
                    <a:pt x="711" y="36"/>
                    <a:pt x="712" y="41"/>
                  </a:cubicBezTo>
                  <a:cubicBezTo>
                    <a:pt x="712" y="44"/>
                    <a:pt x="712" y="46"/>
                    <a:pt x="712" y="49"/>
                  </a:cubicBezTo>
                  <a:cubicBezTo>
                    <a:pt x="712" y="58"/>
                    <a:pt x="712" y="67"/>
                    <a:pt x="712" y="76"/>
                  </a:cubicBezTo>
                  <a:cubicBezTo>
                    <a:pt x="712" y="76"/>
                    <a:pt x="712" y="77"/>
                    <a:pt x="712" y="78"/>
                  </a:cubicBezTo>
                  <a:cubicBezTo>
                    <a:pt x="712" y="79"/>
                    <a:pt x="713" y="79"/>
                    <a:pt x="714" y="79"/>
                  </a:cubicBezTo>
                  <a:cubicBezTo>
                    <a:pt x="716" y="79"/>
                    <a:pt x="718" y="79"/>
                    <a:pt x="720" y="79"/>
                  </a:cubicBezTo>
                  <a:cubicBezTo>
                    <a:pt x="720" y="79"/>
                    <a:pt x="721" y="79"/>
                    <a:pt x="721" y="78"/>
                  </a:cubicBezTo>
                  <a:cubicBezTo>
                    <a:pt x="721" y="78"/>
                    <a:pt x="721" y="77"/>
                    <a:pt x="721" y="76"/>
                  </a:cubicBezTo>
                  <a:cubicBezTo>
                    <a:pt x="721" y="66"/>
                    <a:pt x="721" y="56"/>
                    <a:pt x="721" y="46"/>
                  </a:cubicBezTo>
                  <a:cubicBezTo>
                    <a:pt x="721" y="45"/>
                    <a:pt x="721" y="44"/>
                    <a:pt x="721" y="43"/>
                  </a:cubicBezTo>
                  <a:cubicBezTo>
                    <a:pt x="721" y="40"/>
                    <a:pt x="720" y="37"/>
                    <a:pt x="719" y="34"/>
                  </a:cubicBezTo>
                  <a:cubicBezTo>
                    <a:pt x="717" y="30"/>
                    <a:pt x="714" y="27"/>
                    <a:pt x="710" y="26"/>
                  </a:cubicBezTo>
                  <a:cubicBezTo>
                    <a:pt x="706" y="25"/>
                    <a:pt x="703" y="25"/>
                    <a:pt x="700" y="25"/>
                  </a:cubicBezTo>
                  <a:cubicBezTo>
                    <a:pt x="695" y="26"/>
                    <a:pt x="691" y="29"/>
                    <a:pt x="688" y="33"/>
                  </a:cubicBezTo>
                  <a:cubicBezTo>
                    <a:pt x="687" y="34"/>
                    <a:pt x="687" y="35"/>
                    <a:pt x="686" y="36"/>
                  </a:cubicBezTo>
                  <a:cubicBezTo>
                    <a:pt x="683" y="29"/>
                    <a:pt x="678" y="25"/>
                    <a:pt x="671" y="25"/>
                  </a:cubicBezTo>
                  <a:cubicBezTo>
                    <a:pt x="664" y="25"/>
                    <a:pt x="659" y="28"/>
                    <a:pt x="655" y="34"/>
                  </a:cubicBezTo>
                  <a:cubicBezTo>
                    <a:pt x="654" y="34"/>
                    <a:pt x="655" y="33"/>
                    <a:pt x="655" y="33"/>
                  </a:cubicBezTo>
                  <a:close/>
                  <a:moveTo>
                    <a:pt x="1312" y="45"/>
                  </a:moveTo>
                  <a:cubicBezTo>
                    <a:pt x="1326" y="40"/>
                    <a:pt x="1328" y="27"/>
                    <a:pt x="1325" y="17"/>
                  </a:cubicBezTo>
                  <a:cubicBezTo>
                    <a:pt x="1323" y="12"/>
                    <a:pt x="1318" y="8"/>
                    <a:pt x="1313" y="7"/>
                  </a:cubicBezTo>
                  <a:cubicBezTo>
                    <a:pt x="1310" y="6"/>
                    <a:pt x="1306" y="5"/>
                    <a:pt x="1303" y="5"/>
                  </a:cubicBezTo>
                  <a:cubicBezTo>
                    <a:pt x="1296" y="5"/>
                    <a:pt x="1290" y="5"/>
                    <a:pt x="1284" y="5"/>
                  </a:cubicBezTo>
                  <a:cubicBezTo>
                    <a:pt x="1281" y="5"/>
                    <a:pt x="1282" y="5"/>
                    <a:pt x="1282" y="8"/>
                  </a:cubicBezTo>
                  <a:cubicBezTo>
                    <a:pt x="1282" y="29"/>
                    <a:pt x="1282" y="51"/>
                    <a:pt x="1282" y="72"/>
                  </a:cubicBezTo>
                  <a:cubicBezTo>
                    <a:pt x="1282" y="74"/>
                    <a:pt x="1281" y="77"/>
                    <a:pt x="1282" y="79"/>
                  </a:cubicBezTo>
                  <a:cubicBezTo>
                    <a:pt x="1284" y="79"/>
                    <a:pt x="1286" y="79"/>
                    <a:pt x="1289" y="79"/>
                  </a:cubicBezTo>
                  <a:cubicBezTo>
                    <a:pt x="1289" y="79"/>
                    <a:pt x="1289" y="79"/>
                    <a:pt x="1289" y="79"/>
                  </a:cubicBezTo>
                  <a:cubicBezTo>
                    <a:pt x="1290" y="79"/>
                    <a:pt x="1290" y="79"/>
                    <a:pt x="1290" y="78"/>
                  </a:cubicBezTo>
                  <a:cubicBezTo>
                    <a:pt x="1290" y="78"/>
                    <a:pt x="1290" y="77"/>
                    <a:pt x="1290" y="76"/>
                  </a:cubicBezTo>
                  <a:cubicBezTo>
                    <a:pt x="1290" y="68"/>
                    <a:pt x="1290" y="59"/>
                    <a:pt x="1290" y="51"/>
                  </a:cubicBezTo>
                  <a:cubicBezTo>
                    <a:pt x="1290" y="50"/>
                    <a:pt x="1290" y="49"/>
                    <a:pt x="1290" y="49"/>
                  </a:cubicBezTo>
                  <a:cubicBezTo>
                    <a:pt x="1290" y="48"/>
                    <a:pt x="1291" y="48"/>
                    <a:pt x="1291" y="48"/>
                  </a:cubicBezTo>
                  <a:cubicBezTo>
                    <a:pt x="1293" y="48"/>
                    <a:pt x="1295" y="48"/>
                    <a:pt x="1297" y="48"/>
                  </a:cubicBezTo>
                  <a:cubicBezTo>
                    <a:pt x="1301" y="48"/>
                    <a:pt x="1304" y="49"/>
                    <a:pt x="1306" y="52"/>
                  </a:cubicBezTo>
                  <a:cubicBezTo>
                    <a:pt x="1308" y="54"/>
                    <a:pt x="1309" y="56"/>
                    <a:pt x="1309" y="58"/>
                  </a:cubicBezTo>
                  <a:cubicBezTo>
                    <a:pt x="1312" y="64"/>
                    <a:pt x="1315" y="70"/>
                    <a:pt x="1318" y="77"/>
                  </a:cubicBezTo>
                  <a:cubicBezTo>
                    <a:pt x="1318" y="77"/>
                    <a:pt x="1318" y="78"/>
                    <a:pt x="1318" y="78"/>
                  </a:cubicBezTo>
                  <a:cubicBezTo>
                    <a:pt x="1319" y="79"/>
                    <a:pt x="1319" y="79"/>
                    <a:pt x="1319" y="79"/>
                  </a:cubicBezTo>
                  <a:cubicBezTo>
                    <a:pt x="1322" y="79"/>
                    <a:pt x="1325" y="79"/>
                    <a:pt x="1328" y="79"/>
                  </a:cubicBezTo>
                  <a:cubicBezTo>
                    <a:pt x="1329" y="79"/>
                    <a:pt x="1329" y="79"/>
                    <a:pt x="1329" y="78"/>
                  </a:cubicBezTo>
                  <a:cubicBezTo>
                    <a:pt x="1328" y="78"/>
                    <a:pt x="1328" y="77"/>
                    <a:pt x="1328" y="76"/>
                  </a:cubicBezTo>
                  <a:cubicBezTo>
                    <a:pt x="1324" y="69"/>
                    <a:pt x="1321" y="62"/>
                    <a:pt x="1318" y="55"/>
                  </a:cubicBezTo>
                  <a:cubicBezTo>
                    <a:pt x="1317" y="54"/>
                    <a:pt x="1317" y="53"/>
                    <a:pt x="1316" y="52"/>
                  </a:cubicBezTo>
                  <a:cubicBezTo>
                    <a:pt x="1315" y="50"/>
                    <a:pt x="1313" y="47"/>
                    <a:pt x="1310" y="46"/>
                  </a:cubicBezTo>
                  <a:cubicBezTo>
                    <a:pt x="1311" y="45"/>
                    <a:pt x="1311" y="45"/>
                    <a:pt x="1312" y="45"/>
                  </a:cubicBezTo>
                  <a:close/>
                  <a:moveTo>
                    <a:pt x="1111" y="49"/>
                  </a:moveTo>
                  <a:cubicBezTo>
                    <a:pt x="1111" y="53"/>
                    <a:pt x="1112" y="58"/>
                    <a:pt x="1113" y="62"/>
                  </a:cubicBezTo>
                  <a:cubicBezTo>
                    <a:pt x="1114" y="66"/>
                    <a:pt x="1116" y="70"/>
                    <a:pt x="1119" y="74"/>
                  </a:cubicBezTo>
                  <a:cubicBezTo>
                    <a:pt x="1121" y="77"/>
                    <a:pt x="1124" y="79"/>
                    <a:pt x="1128" y="80"/>
                  </a:cubicBezTo>
                  <a:cubicBezTo>
                    <a:pt x="1132" y="81"/>
                    <a:pt x="1136" y="81"/>
                    <a:pt x="1141" y="79"/>
                  </a:cubicBezTo>
                  <a:cubicBezTo>
                    <a:pt x="1145" y="78"/>
                    <a:pt x="1149" y="75"/>
                    <a:pt x="1152" y="71"/>
                  </a:cubicBezTo>
                  <a:cubicBezTo>
                    <a:pt x="1154" y="67"/>
                    <a:pt x="1156" y="63"/>
                    <a:pt x="1157" y="58"/>
                  </a:cubicBezTo>
                  <a:cubicBezTo>
                    <a:pt x="1159" y="51"/>
                    <a:pt x="1159" y="43"/>
                    <a:pt x="1158" y="36"/>
                  </a:cubicBezTo>
                  <a:cubicBezTo>
                    <a:pt x="1158" y="31"/>
                    <a:pt x="1158" y="27"/>
                    <a:pt x="1157" y="22"/>
                  </a:cubicBezTo>
                  <a:cubicBezTo>
                    <a:pt x="1155" y="19"/>
                    <a:pt x="1154" y="15"/>
                    <a:pt x="1152" y="12"/>
                  </a:cubicBezTo>
                  <a:cubicBezTo>
                    <a:pt x="1149" y="8"/>
                    <a:pt x="1145" y="6"/>
                    <a:pt x="1141" y="5"/>
                  </a:cubicBezTo>
                  <a:cubicBezTo>
                    <a:pt x="1137" y="4"/>
                    <a:pt x="1133" y="4"/>
                    <a:pt x="1130" y="5"/>
                  </a:cubicBezTo>
                  <a:cubicBezTo>
                    <a:pt x="1124" y="6"/>
                    <a:pt x="1120" y="9"/>
                    <a:pt x="1117" y="14"/>
                  </a:cubicBezTo>
                  <a:cubicBezTo>
                    <a:pt x="1115" y="17"/>
                    <a:pt x="1114" y="20"/>
                    <a:pt x="1113" y="24"/>
                  </a:cubicBezTo>
                  <a:cubicBezTo>
                    <a:pt x="1111" y="30"/>
                    <a:pt x="1111" y="37"/>
                    <a:pt x="1111" y="43"/>
                  </a:cubicBezTo>
                  <a:cubicBezTo>
                    <a:pt x="1111" y="45"/>
                    <a:pt x="1111" y="47"/>
                    <a:pt x="1111" y="49"/>
                  </a:cubicBezTo>
                  <a:close/>
                  <a:moveTo>
                    <a:pt x="55" y="174"/>
                  </a:moveTo>
                  <a:cubicBezTo>
                    <a:pt x="49" y="177"/>
                    <a:pt x="43" y="178"/>
                    <a:pt x="37" y="178"/>
                  </a:cubicBezTo>
                  <a:cubicBezTo>
                    <a:pt x="35" y="178"/>
                    <a:pt x="33" y="178"/>
                    <a:pt x="31" y="177"/>
                  </a:cubicBezTo>
                  <a:cubicBezTo>
                    <a:pt x="22" y="175"/>
                    <a:pt x="16" y="170"/>
                    <a:pt x="12" y="162"/>
                  </a:cubicBezTo>
                  <a:cubicBezTo>
                    <a:pt x="9" y="152"/>
                    <a:pt x="9" y="142"/>
                    <a:pt x="13" y="133"/>
                  </a:cubicBezTo>
                  <a:cubicBezTo>
                    <a:pt x="16" y="125"/>
                    <a:pt x="22" y="120"/>
                    <a:pt x="30" y="118"/>
                  </a:cubicBezTo>
                  <a:cubicBezTo>
                    <a:pt x="35" y="117"/>
                    <a:pt x="40" y="117"/>
                    <a:pt x="45" y="118"/>
                  </a:cubicBezTo>
                  <a:cubicBezTo>
                    <a:pt x="48" y="118"/>
                    <a:pt x="52" y="119"/>
                    <a:pt x="55" y="121"/>
                  </a:cubicBezTo>
                  <a:cubicBezTo>
                    <a:pt x="55" y="121"/>
                    <a:pt x="56" y="121"/>
                    <a:pt x="56" y="120"/>
                  </a:cubicBezTo>
                  <a:cubicBezTo>
                    <a:pt x="56" y="118"/>
                    <a:pt x="56" y="116"/>
                    <a:pt x="56" y="114"/>
                  </a:cubicBezTo>
                  <a:cubicBezTo>
                    <a:pt x="56" y="113"/>
                    <a:pt x="56" y="112"/>
                    <a:pt x="55" y="112"/>
                  </a:cubicBezTo>
                  <a:cubicBezTo>
                    <a:pt x="54" y="112"/>
                    <a:pt x="52" y="111"/>
                    <a:pt x="51" y="111"/>
                  </a:cubicBezTo>
                  <a:cubicBezTo>
                    <a:pt x="45" y="109"/>
                    <a:pt x="39" y="109"/>
                    <a:pt x="33" y="110"/>
                  </a:cubicBezTo>
                  <a:cubicBezTo>
                    <a:pt x="20" y="111"/>
                    <a:pt x="11" y="118"/>
                    <a:pt x="5" y="129"/>
                  </a:cubicBezTo>
                  <a:cubicBezTo>
                    <a:pt x="3" y="134"/>
                    <a:pt x="2" y="138"/>
                    <a:pt x="1" y="143"/>
                  </a:cubicBezTo>
                  <a:cubicBezTo>
                    <a:pt x="0" y="150"/>
                    <a:pt x="1" y="157"/>
                    <a:pt x="3" y="164"/>
                  </a:cubicBezTo>
                  <a:cubicBezTo>
                    <a:pt x="7" y="175"/>
                    <a:pt x="15" y="182"/>
                    <a:pt x="27" y="185"/>
                  </a:cubicBezTo>
                  <a:cubicBezTo>
                    <a:pt x="34" y="186"/>
                    <a:pt x="41" y="186"/>
                    <a:pt x="48" y="184"/>
                  </a:cubicBezTo>
                  <a:cubicBezTo>
                    <a:pt x="50" y="184"/>
                    <a:pt x="53" y="183"/>
                    <a:pt x="55" y="182"/>
                  </a:cubicBezTo>
                  <a:cubicBezTo>
                    <a:pt x="55" y="182"/>
                    <a:pt x="56" y="181"/>
                    <a:pt x="56" y="180"/>
                  </a:cubicBezTo>
                  <a:cubicBezTo>
                    <a:pt x="56" y="178"/>
                    <a:pt x="56" y="176"/>
                    <a:pt x="56" y="173"/>
                  </a:cubicBezTo>
                  <a:cubicBezTo>
                    <a:pt x="55" y="173"/>
                    <a:pt x="55" y="173"/>
                    <a:pt x="55" y="174"/>
                  </a:cubicBezTo>
                  <a:close/>
                  <a:moveTo>
                    <a:pt x="806" y="68"/>
                  </a:moveTo>
                  <a:cubicBezTo>
                    <a:pt x="805" y="68"/>
                    <a:pt x="805" y="68"/>
                    <a:pt x="805" y="68"/>
                  </a:cubicBezTo>
                  <a:cubicBezTo>
                    <a:pt x="800" y="71"/>
                    <a:pt x="795" y="72"/>
                    <a:pt x="789" y="72"/>
                  </a:cubicBezTo>
                  <a:cubicBezTo>
                    <a:pt x="785" y="73"/>
                    <a:pt x="782" y="72"/>
                    <a:pt x="778" y="71"/>
                  </a:cubicBezTo>
                  <a:cubicBezTo>
                    <a:pt x="770" y="69"/>
                    <a:pt x="765" y="63"/>
                    <a:pt x="762" y="55"/>
                  </a:cubicBezTo>
                  <a:cubicBezTo>
                    <a:pt x="760" y="50"/>
                    <a:pt x="760" y="45"/>
                    <a:pt x="760" y="40"/>
                  </a:cubicBezTo>
                  <a:cubicBezTo>
                    <a:pt x="760" y="35"/>
                    <a:pt x="761" y="31"/>
                    <a:pt x="763" y="27"/>
                  </a:cubicBezTo>
                  <a:cubicBezTo>
                    <a:pt x="768" y="18"/>
                    <a:pt x="776" y="13"/>
                    <a:pt x="786" y="12"/>
                  </a:cubicBezTo>
                  <a:cubicBezTo>
                    <a:pt x="792" y="12"/>
                    <a:pt x="798" y="13"/>
                    <a:pt x="804" y="15"/>
                  </a:cubicBezTo>
                  <a:cubicBezTo>
                    <a:pt x="805" y="16"/>
                    <a:pt x="805" y="16"/>
                    <a:pt x="806" y="16"/>
                  </a:cubicBezTo>
                  <a:cubicBezTo>
                    <a:pt x="806" y="16"/>
                    <a:pt x="806" y="16"/>
                    <a:pt x="806" y="16"/>
                  </a:cubicBezTo>
                  <a:cubicBezTo>
                    <a:pt x="806" y="14"/>
                    <a:pt x="806" y="12"/>
                    <a:pt x="806" y="10"/>
                  </a:cubicBezTo>
                  <a:cubicBezTo>
                    <a:pt x="806" y="7"/>
                    <a:pt x="807" y="7"/>
                    <a:pt x="803" y="6"/>
                  </a:cubicBezTo>
                  <a:cubicBezTo>
                    <a:pt x="797" y="4"/>
                    <a:pt x="791" y="4"/>
                    <a:pt x="784" y="4"/>
                  </a:cubicBezTo>
                  <a:cubicBezTo>
                    <a:pt x="770" y="6"/>
                    <a:pt x="760" y="13"/>
                    <a:pt x="754" y="26"/>
                  </a:cubicBezTo>
                  <a:cubicBezTo>
                    <a:pt x="750" y="37"/>
                    <a:pt x="750" y="47"/>
                    <a:pt x="753" y="58"/>
                  </a:cubicBezTo>
                  <a:cubicBezTo>
                    <a:pt x="756" y="67"/>
                    <a:pt x="762" y="73"/>
                    <a:pt x="770" y="77"/>
                  </a:cubicBezTo>
                  <a:cubicBezTo>
                    <a:pt x="774" y="79"/>
                    <a:pt x="779" y="80"/>
                    <a:pt x="783" y="80"/>
                  </a:cubicBezTo>
                  <a:cubicBezTo>
                    <a:pt x="787" y="80"/>
                    <a:pt x="791" y="80"/>
                    <a:pt x="794" y="80"/>
                  </a:cubicBezTo>
                  <a:cubicBezTo>
                    <a:pt x="798" y="79"/>
                    <a:pt x="801" y="78"/>
                    <a:pt x="805" y="77"/>
                  </a:cubicBezTo>
                  <a:cubicBezTo>
                    <a:pt x="806" y="76"/>
                    <a:pt x="806" y="76"/>
                    <a:pt x="806" y="75"/>
                  </a:cubicBezTo>
                  <a:cubicBezTo>
                    <a:pt x="806" y="73"/>
                    <a:pt x="806" y="70"/>
                    <a:pt x="806" y="68"/>
                  </a:cubicBezTo>
                  <a:cubicBezTo>
                    <a:pt x="806" y="68"/>
                    <a:pt x="806" y="68"/>
                    <a:pt x="806" y="68"/>
                  </a:cubicBezTo>
                  <a:close/>
                  <a:moveTo>
                    <a:pt x="631" y="69"/>
                  </a:moveTo>
                  <a:cubicBezTo>
                    <a:pt x="625" y="73"/>
                    <a:pt x="619" y="74"/>
                    <a:pt x="613" y="73"/>
                  </a:cubicBezTo>
                  <a:cubicBezTo>
                    <a:pt x="609" y="72"/>
                    <a:pt x="606" y="70"/>
                    <a:pt x="604" y="67"/>
                  </a:cubicBezTo>
                  <a:cubicBezTo>
                    <a:pt x="601" y="64"/>
                    <a:pt x="600" y="60"/>
                    <a:pt x="600" y="56"/>
                  </a:cubicBezTo>
                  <a:cubicBezTo>
                    <a:pt x="600" y="55"/>
                    <a:pt x="600" y="55"/>
                    <a:pt x="601" y="55"/>
                  </a:cubicBezTo>
                  <a:cubicBezTo>
                    <a:pt x="602" y="55"/>
                    <a:pt x="602" y="55"/>
                    <a:pt x="603" y="55"/>
                  </a:cubicBezTo>
                  <a:cubicBezTo>
                    <a:pt x="613" y="55"/>
                    <a:pt x="624" y="55"/>
                    <a:pt x="634" y="55"/>
                  </a:cubicBezTo>
                  <a:cubicBezTo>
                    <a:pt x="635" y="55"/>
                    <a:pt x="635" y="55"/>
                    <a:pt x="636" y="55"/>
                  </a:cubicBezTo>
                  <a:cubicBezTo>
                    <a:pt x="637" y="55"/>
                    <a:pt x="637" y="55"/>
                    <a:pt x="637" y="54"/>
                  </a:cubicBezTo>
                  <a:cubicBezTo>
                    <a:pt x="637" y="50"/>
                    <a:pt x="637" y="47"/>
                    <a:pt x="637" y="44"/>
                  </a:cubicBezTo>
                  <a:cubicBezTo>
                    <a:pt x="636" y="42"/>
                    <a:pt x="636" y="39"/>
                    <a:pt x="635" y="37"/>
                  </a:cubicBezTo>
                  <a:cubicBezTo>
                    <a:pt x="632" y="32"/>
                    <a:pt x="629" y="28"/>
                    <a:pt x="624" y="26"/>
                  </a:cubicBezTo>
                  <a:cubicBezTo>
                    <a:pt x="621" y="25"/>
                    <a:pt x="618" y="25"/>
                    <a:pt x="615" y="25"/>
                  </a:cubicBezTo>
                  <a:cubicBezTo>
                    <a:pt x="607" y="25"/>
                    <a:pt x="601" y="29"/>
                    <a:pt x="596" y="35"/>
                  </a:cubicBezTo>
                  <a:cubicBezTo>
                    <a:pt x="594" y="38"/>
                    <a:pt x="593" y="42"/>
                    <a:pt x="592" y="45"/>
                  </a:cubicBezTo>
                  <a:cubicBezTo>
                    <a:pt x="591" y="49"/>
                    <a:pt x="591" y="53"/>
                    <a:pt x="591" y="58"/>
                  </a:cubicBezTo>
                  <a:cubicBezTo>
                    <a:pt x="592" y="61"/>
                    <a:pt x="592" y="64"/>
                    <a:pt x="594" y="67"/>
                  </a:cubicBezTo>
                  <a:cubicBezTo>
                    <a:pt x="597" y="74"/>
                    <a:pt x="602" y="79"/>
                    <a:pt x="610" y="80"/>
                  </a:cubicBezTo>
                  <a:cubicBezTo>
                    <a:pt x="615" y="81"/>
                    <a:pt x="619" y="80"/>
                    <a:pt x="623" y="80"/>
                  </a:cubicBezTo>
                  <a:cubicBezTo>
                    <a:pt x="627" y="79"/>
                    <a:pt x="630" y="78"/>
                    <a:pt x="632" y="76"/>
                  </a:cubicBezTo>
                  <a:cubicBezTo>
                    <a:pt x="633" y="76"/>
                    <a:pt x="634" y="75"/>
                    <a:pt x="633" y="74"/>
                  </a:cubicBezTo>
                  <a:cubicBezTo>
                    <a:pt x="633" y="72"/>
                    <a:pt x="633" y="70"/>
                    <a:pt x="633" y="68"/>
                  </a:cubicBezTo>
                  <a:cubicBezTo>
                    <a:pt x="632" y="68"/>
                    <a:pt x="632" y="69"/>
                    <a:pt x="631" y="69"/>
                  </a:cubicBezTo>
                  <a:close/>
                  <a:moveTo>
                    <a:pt x="426" y="75"/>
                  </a:moveTo>
                  <a:cubicBezTo>
                    <a:pt x="426" y="76"/>
                    <a:pt x="427" y="77"/>
                    <a:pt x="428" y="77"/>
                  </a:cubicBezTo>
                  <a:cubicBezTo>
                    <a:pt x="429" y="77"/>
                    <a:pt x="430" y="78"/>
                    <a:pt x="431" y="78"/>
                  </a:cubicBezTo>
                  <a:cubicBezTo>
                    <a:pt x="433" y="79"/>
                    <a:pt x="436" y="80"/>
                    <a:pt x="439" y="80"/>
                  </a:cubicBezTo>
                  <a:cubicBezTo>
                    <a:pt x="445" y="81"/>
                    <a:pt x="450" y="80"/>
                    <a:pt x="456" y="78"/>
                  </a:cubicBezTo>
                  <a:cubicBezTo>
                    <a:pt x="462" y="75"/>
                    <a:pt x="466" y="70"/>
                    <a:pt x="467" y="63"/>
                  </a:cubicBezTo>
                  <a:cubicBezTo>
                    <a:pt x="468" y="57"/>
                    <a:pt x="466" y="53"/>
                    <a:pt x="463" y="48"/>
                  </a:cubicBezTo>
                  <a:cubicBezTo>
                    <a:pt x="461" y="47"/>
                    <a:pt x="460" y="46"/>
                    <a:pt x="459" y="45"/>
                  </a:cubicBezTo>
                  <a:cubicBezTo>
                    <a:pt x="456" y="43"/>
                    <a:pt x="453" y="41"/>
                    <a:pt x="450" y="39"/>
                  </a:cubicBezTo>
                  <a:cubicBezTo>
                    <a:pt x="448" y="38"/>
                    <a:pt x="445" y="36"/>
                    <a:pt x="443" y="35"/>
                  </a:cubicBezTo>
                  <a:cubicBezTo>
                    <a:pt x="441" y="34"/>
                    <a:pt x="440" y="33"/>
                    <a:pt x="438" y="31"/>
                  </a:cubicBezTo>
                  <a:cubicBezTo>
                    <a:pt x="437" y="30"/>
                    <a:pt x="437" y="29"/>
                    <a:pt x="436" y="28"/>
                  </a:cubicBezTo>
                  <a:cubicBezTo>
                    <a:pt x="434" y="21"/>
                    <a:pt x="436" y="15"/>
                    <a:pt x="443" y="13"/>
                  </a:cubicBezTo>
                  <a:cubicBezTo>
                    <a:pt x="444" y="13"/>
                    <a:pt x="445" y="12"/>
                    <a:pt x="446" y="12"/>
                  </a:cubicBezTo>
                  <a:cubicBezTo>
                    <a:pt x="452" y="12"/>
                    <a:pt x="457" y="12"/>
                    <a:pt x="463" y="15"/>
                  </a:cubicBezTo>
                  <a:cubicBezTo>
                    <a:pt x="463" y="16"/>
                    <a:pt x="463" y="16"/>
                    <a:pt x="464" y="16"/>
                  </a:cubicBezTo>
                  <a:cubicBezTo>
                    <a:pt x="464" y="14"/>
                    <a:pt x="464" y="12"/>
                    <a:pt x="464" y="10"/>
                  </a:cubicBezTo>
                  <a:cubicBezTo>
                    <a:pt x="464" y="6"/>
                    <a:pt x="464" y="6"/>
                    <a:pt x="461" y="5"/>
                  </a:cubicBezTo>
                  <a:cubicBezTo>
                    <a:pt x="460" y="5"/>
                    <a:pt x="460" y="5"/>
                    <a:pt x="459" y="5"/>
                  </a:cubicBezTo>
                  <a:cubicBezTo>
                    <a:pt x="454" y="4"/>
                    <a:pt x="449" y="4"/>
                    <a:pt x="444" y="5"/>
                  </a:cubicBezTo>
                  <a:cubicBezTo>
                    <a:pt x="440" y="5"/>
                    <a:pt x="436" y="7"/>
                    <a:pt x="433" y="10"/>
                  </a:cubicBezTo>
                  <a:cubicBezTo>
                    <a:pt x="430" y="12"/>
                    <a:pt x="428" y="16"/>
                    <a:pt x="427" y="19"/>
                  </a:cubicBezTo>
                  <a:cubicBezTo>
                    <a:pt x="426" y="21"/>
                    <a:pt x="426" y="24"/>
                    <a:pt x="426" y="26"/>
                  </a:cubicBezTo>
                  <a:cubicBezTo>
                    <a:pt x="427" y="30"/>
                    <a:pt x="428" y="34"/>
                    <a:pt x="431" y="37"/>
                  </a:cubicBezTo>
                  <a:cubicBezTo>
                    <a:pt x="433" y="38"/>
                    <a:pt x="434" y="39"/>
                    <a:pt x="436" y="40"/>
                  </a:cubicBezTo>
                  <a:cubicBezTo>
                    <a:pt x="438" y="42"/>
                    <a:pt x="441" y="44"/>
                    <a:pt x="443" y="45"/>
                  </a:cubicBezTo>
                  <a:cubicBezTo>
                    <a:pt x="446" y="47"/>
                    <a:pt x="450" y="49"/>
                    <a:pt x="453" y="51"/>
                  </a:cubicBezTo>
                  <a:cubicBezTo>
                    <a:pt x="454" y="52"/>
                    <a:pt x="455" y="54"/>
                    <a:pt x="456" y="55"/>
                  </a:cubicBezTo>
                  <a:cubicBezTo>
                    <a:pt x="461" y="62"/>
                    <a:pt x="457" y="70"/>
                    <a:pt x="449" y="72"/>
                  </a:cubicBezTo>
                  <a:cubicBezTo>
                    <a:pt x="449" y="72"/>
                    <a:pt x="449" y="72"/>
                    <a:pt x="449" y="72"/>
                  </a:cubicBezTo>
                  <a:cubicBezTo>
                    <a:pt x="445" y="73"/>
                    <a:pt x="441" y="73"/>
                    <a:pt x="436" y="71"/>
                  </a:cubicBezTo>
                  <a:cubicBezTo>
                    <a:pt x="433" y="70"/>
                    <a:pt x="430" y="69"/>
                    <a:pt x="426" y="66"/>
                  </a:cubicBezTo>
                  <a:cubicBezTo>
                    <a:pt x="426" y="69"/>
                    <a:pt x="426" y="72"/>
                    <a:pt x="426" y="75"/>
                  </a:cubicBezTo>
                  <a:close/>
                  <a:moveTo>
                    <a:pt x="854" y="68"/>
                  </a:moveTo>
                  <a:cubicBezTo>
                    <a:pt x="853" y="68"/>
                    <a:pt x="853" y="69"/>
                    <a:pt x="852" y="69"/>
                  </a:cubicBezTo>
                  <a:cubicBezTo>
                    <a:pt x="846" y="73"/>
                    <a:pt x="840" y="74"/>
                    <a:pt x="834" y="73"/>
                  </a:cubicBezTo>
                  <a:cubicBezTo>
                    <a:pt x="830" y="72"/>
                    <a:pt x="826" y="70"/>
                    <a:pt x="824" y="66"/>
                  </a:cubicBezTo>
                  <a:cubicBezTo>
                    <a:pt x="822" y="63"/>
                    <a:pt x="821" y="59"/>
                    <a:pt x="821" y="56"/>
                  </a:cubicBezTo>
                  <a:cubicBezTo>
                    <a:pt x="821" y="55"/>
                    <a:pt x="822" y="55"/>
                    <a:pt x="822" y="55"/>
                  </a:cubicBezTo>
                  <a:cubicBezTo>
                    <a:pt x="823" y="55"/>
                    <a:pt x="824" y="55"/>
                    <a:pt x="824" y="55"/>
                  </a:cubicBezTo>
                  <a:cubicBezTo>
                    <a:pt x="835" y="55"/>
                    <a:pt x="845" y="55"/>
                    <a:pt x="855" y="55"/>
                  </a:cubicBezTo>
                  <a:cubicBezTo>
                    <a:pt x="856" y="55"/>
                    <a:pt x="857" y="55"/>
                    <a:pt x="857" y="55"/>
                  </a:cubicBezTo>
                  <a:cubicBezTo>
                    <a:pt x="858" y="55"/>
                    <a:pt x="858" y="55"/>
                    <a:pt x="858" y="54"/>
                  </a:cubicBezTo>
                  <a:cubicBezTo>
                    <a:pt x="858" y="52"/>
                    <a:pt x="858" y="49"/>
                    <a:pt x="858" y="47"/>
                  </a:cubicBezTo>
                  <a:cubicBezTo>
                    <a:pt x="858" y="44"/>
                    <a:pt x="857" y="40"/>
                    <a:pt x="856" y="36"/>
                  </a:cubicBezTo>
                  <a:cubicBezTo>
                    <a:pt x="853" y="31"/>
                    <a:pt x="849" y="28"/>
                    <a:pt x="843" y="26"/>
                  </a:cubicBezTo>
                  <a:cubicBezTo>
                    <a:pt x="841" y="25"/>
                    <a:pt x="839" y="25"/>
                    <a:pt x="836" y="25"/>
                  </a:cubicBezTo>
                  <a:cubicBezTo>
                    <a:pt x="829" y="25"/>
                    <a:pt x="823" y="28"/>
                    <a:pt x="818" y="34"/>
                  </a:cubicBezTo>
                  <a:cubicBezTo>
                    <a:pt x="816" y="37"/>
                    <a:pt x="815" y="39"/>
                    <a:pt x="814" y="42"/>
                  </a:cubicBezTo>
                  <a:cubicBezTo>
                    <a:pt x="812" y="48"/>
                    <a:pt x="812" y="53"/>
                    <a:pt x="813" y="59"/>
                  </a:cubicBezTo>
                  <a:cubicBezTo>
                    <a:pt x="813" y="62"/>
                    <a:pt x="814" y="65"/>
                    <a:pt x="815" y="68"/>
                  </a:cubicBezTo>
                  <a:cubicBezTo>
                    <a:pt x="819" y="74"/>
                    <a:pt x="824" y="79"/>
                    <a:pt x="831" y="80"/>
                  </a:cubicBezTo>
                  <a:cubicBezTo>
                    <a:pt x="837" y="81"/>
                    <a:pt x="843" y="80"/>
                    <a:pt x="848" y="79"/>
                  </a:cubicBezTo>
                  <a:cubicBezTo>
                    <a:pt x="850" y="78"/>
                    <a:pt x="852" y="77"/>
                    <a:pt x="854" y="76"/>
                  </a:cubicBezTo>
                  <a:cubicBezTo>
                    <a:pt x="854" y="76"/>
                    <a:pt x="855" y="75"/>
                    <a:pt x="855" y="74"/>
                  </a:cubicBezTo>
                  <a:cubicBezTo>
                    <a:pt x="855" y="72"/>
                    <a:pt x="855" y="70"/>
                    <a:pt x="855" y="68"/>
                  </a:cubicBezTo>
                  <a:cubicBezTo>
                    <a:pt x="854" y="68"/>
                    <a:pt x="854" y="68"/>
                    <a:pt x="854" y="68"/>
                  </a:cubicBezTo>
                  <a:close/>
                  <a:moveTo>
                    <a:pt x="960" y="175"/>
                  </a:moveTo>
                  <a:cubicBezTo>
                    <a:pt x="955" y="177"/>
                    <a:pt x="951" y="179"/>
                    <a:pt x="946" y="178"/>
                  </a:cubicBezTo>
                  <a:cubicBezTo>
                    <a:pt x="936" y="178"/>
                    <a:pt x="932" y="173"/>
                    <a:pt x="930" y="166"/>
                  </a:cubicBezTo>
                  <a:cubicBezTo>
                    <a:pt x="929" y="165"/>
                    <a:pt x="929" y="163"/>
                    <a:pt x="929" y="161"/>
                  </a:cubicBezTo>
                  <a:cubicBezTo>
                    <a:pt x="929" y="161"/>
                    <a:pt x="929" y="160"/>
                    <a:pt x="930" y="160"/>
                  </a:cubicBezTo>
                  <a:cubicBezTo>
                    <a:pt x="930" y="160"/>
                    <a:pt x="931" y="160"/>
                    <a:pt x="932" y="160"/>
                  </a:cubicBezTo>
                  <a:cubicBezTo>
                    <a:pt x="942" y="160"/>
                    <a:pt x="952" y="160"/>
                    <a:pt x="963" y="160"/>
                  </a:cubicBezTo>
                  <a:cubicBezTo>
                    <a:pt x="963" y="160"/>
                    <a:pt x="964" y="160"/>
                    <a:pt x="965" y="160"/>
                  </a:cubicBezTo>
                  <a:cubicBezTo>
                    <a:pt x="966" y="160"/>
                    <a:pt x="966" y="160"/>
                    <a:pt x="966" y="159"/>
                  </a:cubicBezTo>
                  <a:cubicBezTo>
                    <a:pt x="966" y="157"/>
                    <a:pt x="966" y="154"/>
                    <a:pt x="966" y="152"/>
                  </a:cubicBezTo>
                  <a:cubicBezTo>
                    <a:pt x="966" y="148"/>
                    <a:pt x="965" y="144"/>
                    <a:pt x="963" y="141"/>
                  </a:cubicBezTo>
                  <a:cubicBezTo>
                    <a:pt x="960" y="136"/>
                    <a:pt x="956" y="132"/>
                    <a:pt x="950" y="131"/>
                  </a:cubicBezTo>
                  <a:cubicBezTo>
                    <a:pt x="948" y="131"/>
                    <a:pt x="946" y="130"/>
                    <a:pt x="944" y="130"/>
                  </a:cubicBezTo>
                  <a:cubicBezTo>
                    <a:pt x="937" y="131"/>
                    <a:pt x="931" y="134"/>
                    <a:pt x="926" y="139"/>
                  </a:cubicBezTo>
                  <a:cubicBezTo>
                    <a:pt x="924" y="142"/>
                    <a:pt x="923" y="144"/>
                    <a:pt x="922" y="148"/>
                  </a:cubicBezTo>
                  <a:cubicBezTo>
                    <a:pt x="920" y="153"/>
                    <a:pt x="920" y="158"/>
                    <a:pt x="920" y="164"/>
                  </a:cubicBezTo>
                  <a:cubicBezTo>
                    <a:pt x="921" y="167"/>
                    <a:pt x="922" y="171"/>
                    <a:pt x="923" y="174"/>
                  </a:cubicBezTo>
                  <a:cubicBezTo>
                    <a:pt x="927" y="180"/>
                    <a:pt x="931" y="184"/>
                    <a:pt x="938" y="185"/>
                  </a:cubicBezTo>
                  <a:cubicBezTo>
                    <a:pt x="944" y="186"/>
                    <a:pt x="951" y="186"/>
                    <a:pt x="957" y="183"/>
                  </a:cubicBezTo>
                  <a:cubicBezTo>
                    <a:pt x="959" y="183"/>
                    <a:pt x="960" y="182"/>
                    <a:pt x="962" y="181"/>
                  </a:cubicBezTo>
                  <a:cubicBezTo>
                    <a:pt x="962" y="181"/>
                    <a:pt x="962" y="181"/>
                    <a:pt x="962" y="180"/>
                  </a:cubicBezTo>
                  <a:cubicBezTo>
                    <a:pt x="962" y="178"/>
                    <a:pt x="962" y="176"/>
                    <a:pt x="962" y="173"/>
                  </a:cubicBezTo>
                  <a:cubicBezTo>
                    <a:pt x="961" y="174"/>
                    <a:pt x="960" y="174"/>
                    <a:pt x="960" y="175"/>
                  </a:cubicBezTo>
                  <a:close/>
                  <a:moveTo>
                    <a:pt x="992" y="69"/>
                  </a:moveTo>
                  <a:cubicBezTo>
                    <a:pt x="992" y="69"/>
                    <a:pt x="992" y="69"/>
                    <a:pt x="991" y="69"/>
                  </a:cubicBezTo>
                  <a:cubicBezTo>
                    <a:pt x="986" y="73"/>
                    <a:pt x="980" y="74"/>
                    <a:pt x="974" y="73"/>
                  </a:cubicBezTo>
                  <a:cubicBezTo>
                    <a:pt x="968" y="72"/>
                    <a:pt x="964" y="69"/>
                    <a:pt x="962" y="64"/>
                  </a:cubicBezTo>
                  <a:cubicBezTo>
                    <a:pt x="961" y="62"/>
                    <a:pt x="961" y="60"/>
                    <a:pt x="961" y="57"/>
                  </a:cubicBezTo>
                  <a:cubicBezTo>
                    <a:pt x="961" y="55"/>
                    <a:pt x="960" y="55"/>
                    <a:pt x="963" y="55"/>
                  </a:cubicBezTo>
                  <a:cubicBezTo>
                    <a:pt x="974" y="55"/>
                    <a:pt x="984" y="55"/>
                    <a:pt x="994" y="55"/>
                  </a:cubicBezTo>
                  <a:cubicBezTo>
                    <a:pt x="995" y="55"/>
                    <a:pt x="996" y="55"/>
                    <a:pt x="997" y="55"/>
                  </a:cubicBezTo>
                  <a:cubicBezTo>
                    <a:pt x="998" y="55"/>
                    <a:pt x="998" y="55"/>
                    <a:pt x="998" y="54"/>
                  </a:cubicBezTo>
                  <a:cubicBezTo>
                    <a:pt x="998" y="51"/>
                    <a:pt x="998" y="48"/>
                    <a:pt x="998" y="46"/>
                  </a:cubicBezTo>
                  <a:cubicBezTo>
                    <a:pt x="997" y="42"/>
                    <a:pt x="996" y="38"/>
                    <a:pt x="994" y="35"/>
                  </a:cubicBezTo>
                  <a:cubicBezTo>
                    <a:pt x="992" y="31"/>
                    <a:pt x="989" y="28"/>
                    <a:pt x="985" y="27"/>
                  </a:cubicBezTo>
                  <a:cubicBezTo>
                    <a:pt x="981" y="25"/>
                    <a:pt x="976" y="25"/>
                    <a:pt x="972" y="25"/>
                  </a:cubicBezTo>
                  <a:cubicBezTo>
                    <a:pt x="965" y="27"/>
                    <a:pt x="959" y="31"/>
                    <a:pt x="956" y="37"/>
                  </a:cubicBezTo>
                  <a:cubicBezTo>
                    <a:pt x="954" y="41"/>
                    <a:pt x="952" y="45"/>
                    <a:pt x="952" y="49"/>
                  </a:cubicBezTo>
                  <a:cubicBezTo>
                    <a:pt x="951" y="55"/>
                    <a:pt x="952" y="62"/>
                    <a:pt x="955" y="67"/>
                  </a:cubicBezTo>
                  <a:cubicBezTo>
                    <a:pt x="957" y="74"/>
                    <a:pt x="962" y="78"/>
                    <a:pt x="969" y="80"/>
                  </a:cubicBezTo>
                  <a:cubicBezTo>
                    <a:pt x="976" y="81"/>
                    <a:pt x="983" y="81"/>
                    <a:pt x="989" y="78"/>
                  </a:cubicBezTo>
                  <a:cubicBezTo>
                    <a:pt x="991" y="77"/>
                    <a:pt x="992" y="77"/>
                    <a:pt x="993" y="76"/>
                  </a:cubicBezTo>
                  <a:cubicBezTo>
                    <a:pt x="994" y="76"/>
                    <a:pt x="994" y="75"/>
                    <a:pt x="994" y="74"/>
                  </a:cubicBezTo>
                  <a:cubicBezTo>
                    <a:pt x="994" y="72"/>
                    <a:pt x="994" y="70"/>
                    <a:pt x="994" y="67"/>
                  </a:cubicBezTo>
                  <a:cubicBezTo>
                    <a:pt x="993" y="68"/>
                    <a:pt x="993" y="68"/>
                    <a:pt x="992" y="69"/>
                  </a:cubicBezTo>
                  <a:close/>
                  <a:moveTo>
                    <a:pt x="845" y="177"/>
                  </a:moveTo>
                  <a:cubicBezTo>
                    <a:pt x="845" y="177"/>
                    <a:pt x="845" y="178"/>
                    <a:pt x="845" y="178"/>
                  </a:cubicBezTo>
                  <a:cubicBezTo>
                    <a:pt x="845" y="180"/>
                    <a:pt x="844" y="182"/>
                    <a:pt x="845" y="184"/>
                  </a:cubicBezTo>
                  <a:cubicBezTo>
                    <a:pt x="847" y="185"/>
                    <a:pt x="849" y="184"/>
                    <a:pt x="851" y="184"/>
                  </a:cubicBezTo>
                  <a:cubicBezTo>
                    <a:pt x="852" y="184"/>
                    <a:pt x="852" y="184"/>
                    <a:pt x="853" y="184"/>
                  </a:cubicBezTo>
                  <a:cubicBezTo>
                    <a:pt x="853" y="184"/>
                    <a:pt x="853" y="184"/>
                    <a:pt x="853" y="183"/>
                  </a:cubicBezTo>
                  <a:cubicBezTo>
                    <a:pt x="853" y="183"/>
                    <a:pt x="853" y="183"/>
                    <a:pt x="853" y="183"/>
                  </a:cubicBezTo>
                  <a:cubicBezTo>
                    <a:pt x="853" y="172"/>
                    <a:pt x="853" y="161"/>
                    <a:pt x="853" y="150"/>
                  </a:cubicBezTo>
                  <a:cubicBezTo>
                    <a:pt x="853" y="147"/>
                    <a:pt x="853" y="144"/>
                    <a:pt x="852" y="141"/>
                  </a:cubicBezTo>
                  <a:cubicBezTo>
                    <a:pt x="850" y="136"/>
                    <a:pt x="847" y="133"/>
                    <a:pt x="842" y="131"/>
                  </a:cubicBezTo>
                  <a:cubicBezTo>
                    <a:pt x="841" y="131"/>
                    <a:pt x="839" y="131"/>
                    <a:pt x="838" y="131"/>
                  </a:cubicBezTo>
                  <a:cubicBezTo>
                    <a:pt x="831" y="130"/>
                    <a:pt x="825" y="132"/>
                    <a:pt x="819" y="134"/>
                  </a:cubicBezTo>
                  <a:cubicBezTo>
                    <a:pt x="818" y="135"/>
                    <a:pt x="817" y="136"/>
                    <a:pt x="817" y="138"/>
                  </a:cubicBezTo>
                  <a:cubicBezTo>
                    <a:pt x="817" y="139"/>
                    <a:pt x="817" y="141"/>
                    <a:pt x="817" y="142"/>
                  </a:cubicBezTo>
                  <a:cubicBezTo>
                    <a:pt x="817" y="143"/>
                    <a:pt x="817" y="143"/>
                    <a:pt x="817" y="143"/>
                  </a:cubicBezTo>
                  <a:cubicBezTo>
                    <a:pt x="817" y="144"/>
                    <a:pt x="817" y="144"/>
                    <a:pt x="817" y="144"/>
                  </a:cubicBezTo>
                  <a:cubicBezTo>
                    <a:pt x="818" y="143"/>
                    <a:pt x="819" y="143"/>
                    <a:pt x="819" y="142"/>
                  </a:cubicBezTo>
                  <a:cubicBezTo>
                    <a:pt x="824" y="139"/>
                    <a:pt x="829" y="137"/>
                    <a:pt x="835" y="138"/>
                  </a:cubicBezTo>
                  <a:cubicBezTo>
                    <a:pt x="838" y="138"/>
                    <a:pt x="841" y="139"/>
                    <a:pt x="843" y="142"/>
                  </a:cubicBezTo>
                  <a:cubicBezTo>
                    <a:pt x="844" y="144"/>
                    <a:pt x="845" y="147"/>
                    <a:pt x="845" y="150"/>
                  </a:cubicBezTo>
                  <a:cubicBezTo>
                    <a:pt x="845" y="151"/>
                    <a:pt x="844" y="151"/>
                    <a:pt x="844" y="151"/>
                  </a:cubicBezTo>
                  <a:cubicBezTo>
                    <a:pt x="844" y="151"/>
                    <a:pt x="843" y="151"/>
                    <a:pt x="843" y="151"/>
                  </a:cubicBezTo>
                  <a:cubicBezTo>
                    <a:pt x="838" y="152"/>
                    <a:pt x="833" y="153"/>
                    <a:pt x="828" y="153"/>
                  </a:cubicBezTo>
                  <a:cubicBezTo>
                    <a:pt x="825" y="154"/>
                    <a:pt x="822" y="155"/>
                    <a:pt x="819" y="156"/>
                  </a:cubicBezTo>
                  <a:cubicBezTo>
                    <a:pt x="816" y="158"/>
                    <a:pt x="813" y="161"/>
                    <a:pt x="812" y="166"/>
                  </a:cubicBezTo>
                  <a:cubicBezTo>
                    <a:pt x="812" y="167"/>
                    <a:pt x="812" y="169"/>
                    <a:pt x="812" y="171"/>
                  </a:cubicBezTo>
                  <a:cubicBezTo>
                    <a:pt x="812" y="179"/>
                    <a:pt x="817" y="184"/>
                    <a:pt x="824" y="185"/>
                  </a:cubicBezTo>
                  <a:cubicBezTo>
                    <a:pt x="826" y="186"/>
                    <a:pt x="828" y="186"/>
                    <a:pt x="830" y="186"/>
                  </a:cubicBezTo>
                  <a:cubicBezTo>
                    <a:pt x="835" y="185"/>
                    <a:pt x="839" y="183"/>
                    <a:pt x="843" y="179"/>
                  </a:cubicBezTo>
                  <a:cubicBezTo>
                    <a:pt x="843" y="178"/>
                    <a:pt x="844" y="178"/>
                    <a:pt x="844" y="177"/>
                  </a:cubicBezTo>
                  <a:cubicBezTo>
                    <a:pt x="845" y="177"/>
                    <a:pt x="845" y="177"/>
                    <a:pt x="845" y="177"/>
                  </a:cubicBezTo>
                  <a:close/>
                  <a:moveTo>
                    <a:pt x="241" y="42"/>
                  </a:moveTo>
                  <a:cubicBezTo>
                    <a:pt x="238" y="33"/>
                    <a:pt x="232" y="27"/>
                    <a:pt x="223" y="26"/>
                  </a:cubicBezTo>
                  <a:cubicBezTo>
                    <a:pt x="219" y="25"/>
                    <a:pt x="215" y="25"/>
                    <a:pt x="211" y="26"/>
                  </a:cubicBezTo>
                  <a:cubicBezTo>
                    <a:pt x="202" y="27"/>
                    <a:pt x="195" y="33"/>
                    <a:pt x="192" y="42"/>
                  </a:cubicBezTo>
                  <a:cubicBezTo>
                    <a:pt x="190" y="49"/>
                    <a:pt x="190" y="56"/>
                    <a:pt x="192" y="63"/>
                  </a:cubicBezTo>
                  <a:cubicBezTo>
                    <a:pt x="195" y="72"/>
                    <a:pt x="200" y="77"/>
                    <a:pt x="209" y="80"/>
                  </a:cubicBezTo>
                  <a:cubicBezTo>
                    <a:pt x="212" y="80"/>
                    <a:pt x="216" y="81"/>
                    <a:pt x="219" y="80"/>
                  </a:cubicBezTo>
                  <a:cubicBezTo>
                    <a:pt x="230" y="80"/>
                    <a:pt x="238" y="73"/>
                    <a:pt x="241" y="63"/>
                  </a:cubicBezTo>
                  <a:cubicBezTo>
                    <a:pt x="242" y="59"/>
                    <a:pt x="242" y="56"/>
                    <a:pt x="242" y="52"/>
                  </a:cubicBezTo>
                  <a:cubicBezTo>
                    <a:pt x="242" y="49"/>
                    <a:pt x="242" y="45"/>
                    <a:pt x="241" y="42"/>
                  </a:cubicBezTo>
                  <a:close/>
                  <a:moveTo>
                    <a:pt x="408" y="183"/>
                  </a:moveTo>
                  <a:cubicBezTo>
                    <a:pt x="408" y="184"/>
                    <a:pt x="409" y="184"/>
                    <a:pt x="410" y="184"/>
                  </a:cubicBezTo>
                  <a:cubicBezTo>
                    <a:pt x="411" y="184"/>
                    <a:pt x="413" y="184"/>
                    <a:pt x="415" y="184"/>
                  </a:cubicBezTo>
                  <a:cubicBezTo>
                    <a:pt x="417" y="184"/>
                    <a:pt x="417" y="184"/>
                    <a:pt x="417" y="182"/>
                  </a:cubicBezTo>
                  <a:cubicBezTo>
                    <a:pt x="417" y="182"/>
                    <a:pt x="417" y="182"/>
                    <a:pt x="417" y="181"/>
                  </a:cubicBezTo>
                  <a:cubicBezTo>
                    <a:pt x="417" y="171"/>
                    <a:pt x="417" y="161"/>
                    <a:pt x="417" y="151"/>
                  </a:cubicBezTo>
                  <a:cubicBezTo>
                    <a:pt x="417" y="150"/>
                    <a:pt x="417" y="149"/>
                    <a:pt x="417" y="147"/>
                  </a:cubicBezTo>
                  <a:cubicBezTo>
                    <a:pt x="417" y="145"/>
                    <a:pt x="416" y="142"/>
                    <a:pt x="415" y="140"/>
                  </a:cubicBezTo>
                  <a:cubicBezTo>
                    <a:pt x="413" y="136"/>
                    <a:pt x="411" y="133"/>
                    <a:pt x="406" y="132"/>
                  </a:cubicBezTo>
                  <a:cubicBezTo>
                    <a:pt x="405" y="131"/>
                    <a:pt x="403" y="131"/>
                    <a:pt x="401" y="131"/>
                  </a:cubicBezTo>
                  <a:cubicBezTo>
                    <a:pt x="395" y="130"/>
                    <a:pt x="389" y="132"/>
                    <a:pt x="383" y="134"/>
                  </a:cubicBezTo>
                  <a:cubicBezTo>
                    <a:pt x="382" y="134"/>
                    <a:pt x="382" y="135"/>
                    <a:pt x="381" y="135"/>
                  </a:cubicBezTo>
                  <a:cubicBezTo>
                    <a:pt x="381" y="135"/>
                    <a:pt x="380" y="136"/>
                    <a:pt x="380" y="136"/>
                  </a:cubicBezTo>
                  <a:cubicBezTo>
                    <a:pt x="380" y="138"/>
                    <a:pt x="380" y="139"/>
                    <a:pt x="380" y="140"/>
                  </a:cubicBezTo>
                  <a:cubicBezTo>
                    <a:pt x="380" y="141"/>
                    <a:pt x="380" y="142"/>
                    <a:pt x="381" y="143"/>
                  </a:cubicBezTo>
                  <a:cubicBezTo>
                    <a:pt x="382" y="144"/>
                    <a:pt x="382" y="142"/>
                    <a:pt x="383" y="142"/>
                  </a:cubicBezTo>
                  <a:cubicBezTo>
                    <a:pt x="388" y="139"/>
                    <a:pt x="393" y="138"/>
                    <a:pt x="398" y="138"/>
                  </a:cubicBezTo>
                  <a:cubicBezTo>
                    <a:pt x="403" y="138"/>
                    <a:pt x="406" y="140"/>
                    <a:pt x="408" y="145"/>
                  </a:cubicBezTo>
                  <a:cubicBezTo>
                    <a:pt x="408" y="147"/>
                    <a:pt x="408" y="148"/>
                    <a:pt x="408" y="150"/>
                  </a:cubicBezTo>
                  <a:cubicBezTo>
                    <a:pt x="408" y="151"/>
                    <a:pt x="408" y="151"/>
                    <a:pt x="407" y="151"/>
                  </a:cubicBezTo>
                  <a:cubicBezTo>
                    <a:pt x="407" y="151"/>
                    <a:pt x="407" y="151"/>
                    <a:pt x="406" y="151"/>
                  </a:cubicBezTo>
                  <a:cubicBezTo>
                    <a:pt x="401" y="152"/>
                    <a:pt x="396" y="153"/>
                    <a:pt x="391" y="153"/>
                  </a:cubicBezTo>
                  <a:cubicBezTo>
                    <a:pt x="388" y="154"/>
                    <a:pt x="385" y="155"/>
                    <a:pt x="383" y="156"/>
                  </a:cubicBezTo>
                  <a:cubicBezTo>
                    <a:pt x="379" y="158"/>
                    <a:pt x="377" y="162"/>
                    <a:pt x="376" y="166"/>
                  </a:cubicBezTo>
                  <a:cubicBezTo>
                    <a:pt x="375" y="168"/>
                    <a:pt x="375" y="170"/>
                    <a:pt x="375" y="172"/>
                  </a:cubicBezTo>
                  <a:cubicBezTo>
                    <a:pt x="376" y="177"/>
                    <a:pt x="378" y="181"/>
                    <a:pt x="383" y="184"/>
                  </a:cubicBezTo>
                  <a:cubicBezTo>
                    <a:pt x="385" y="185"/>
                    <a:pt x="387" y="185"/>
                    <a:pt x="389" y="185"/>
                  </a:cubicBezTo>
                  <a:cubicBezTo>
                    <a:pt x="396" y="186"/>
                    <a:pt x="402" y="184"/>
                    <a:pt x="407" y="178"/>
                  </a:cubicBezTo>
                  <a:cubicBezTo>
                    <a:pt x="407" y="178"/>
                    <a:pt x="407" y="177"/>
                    <a:pt x="408" y="177"/>
                  </a:cubicBezTo>
                  <a:cubicBezTo>
                    <a:pt x="408" y="179"/>
                    <a:pt x="408" y="181"/>
                    <a:pt x="408" y="183"/>
                  </a:cubicBezTo>
                  <a:close/>
                  <a:moveTo>
                    <a:pt x="64" y="168"/>
                  </a:moveTo>
                  <a:cubicBezTo>
                    <a:pt x="66" y="177"/>
                    <a:pt x="72" y="183"/>
                    <a:pt x="81" y="185"/>
                  </a:cubicBezTo>
                  <a:cubicBezTo>
                    <a:pt x="85" y="186"/>
                    <a:pt x="89" y="186"/>
                    <a:pt x="93" y="185"/>
                  </a:cubicBezTo>
                  <a:cubicBezTo>
                    <a:pt x="102" y="184"/>
                    <a:pt x="109" y="179"/>
                    <a:pt x="112" y="170"/>
                  </a:cubicBezTo>
                  <a:cubicBezTo>
                    <a:pt x="115" y="162"/>
                    <a:pt x="115" y="153"/>
                    <a:pt x="112" y="144"/>
                  </a:cubicBezTo>
                  <a:cubicBezTo>
                    <a:pt x="109" y="137"/>
                    <a:pt x="103" y="133"/>
                    <a:pt x="95" y="131"/>
                  </a:cubicBezTo>
                  <a:cubicBezTo>
                    <a:pt x="91" y="130"/>
                    <a:pt x="87" y="130"/>
                    <a:pt x="82" y="131"/>
                  </a:cubicBezTo>
                  <a:cubicBezTo>
                    <a:pt x="74" y="133"/>
                    <a:pt x="68" y="138"/>
                    <a:pt x="65" y="146"/>
                  </a:cubicBezTo>
                  <a:cubicBezTo>
                    <a:pt x="63" y="150"/>
                    <a:pt x="62" y="154"/>
                    <a:pt x="62" y="158"/>
                  </a:cubicBezTo>
                  <a:cubicBezTo>
                    <a:pt x="62" y="162"/>
                    <a:pt x="63" y="165"/>
                    <a:pt x="64" y="168"/>
                  </a:cubicBezTo>
                  <a:close/>
                  <a:moveTo>
                    <a:pt x="335" y="40"/>
                  </a:moveTo>
                  <a:cubicBezTo>
                    <a:pt x="332" y="32"/>
                    <a:pt x="327" y="27"/>
                    <a:pt x="318" y="26"/>
                  </a:cubicBezTo>
                  <a:cubicBezTo>
                    <a:pt x="314" y="25"/>
                    <a:pt x="310" y="25"/>
                    <a:pt x="306" y="26"/>
                  </a:cubicBezTo>
                  <a:cubicBezTo>
                    <a:pt x="297" y="27"/>
                    <a:pt x="290" y="33"/>
                    <a:pt x="287" y="42"/>
                  </a:cubicBezTo>
                  <a:cubicBezTo>
                    <a:pt x="285" y="49"/>
                    <a:pt x="285" y="56"/>
                    <a:pt x="287" y="62"/>
                  </a:cubicBezTo>
                  <a:cubicBezTo>
                    <a:pt x="289" y="71"/>
                    <a:pt x="295" y="77"/>
                    <a:pt x="304" y="80"/>
                  </a:cubicBezTo>
                  <a:cubicBezTo>
                    <a:pt x="307" y="80"/>
                    <a:pt x="311" y="81"/>
                    <a:pt x="314" y="80"/>
                  </a:cubicBezTo>
                  <a:cubicBezTo>
                    <a:pt x="325" y="80"/>
                    <a:pt x="333" y="73"/>
                    <a:pt x="336" y="63"/>
                  </a:cubicBezTo>
                  <a:cubicBezTo>
                    <a:pt x="337" y="60"/>
                    <a:pt x="338" y="56"/>
                    <a:pt x="338" y="52"/>
                  </a:cubicBezTo>
                  <a:cubicBezTo>
                    <a:pt x="338" y="48"/>
                    <a:pt x="337" y="44"/>
                    <a:pt x="335" y="40"/>
                  </a:cubicBezTo>
                  <a:close/>
                  <a:moveTo>
                    <a:pt x="1208" y="18"/>
                  </a:moveTo>
                  <a:cubicBezTo>
                    <a:pt x="1210" y="16"/>
                    <a:pt x="1213" y="14"/>
                    <a:pt x="1216" y="13"/>
                  </a:cubicBezTo>
                  <a:cubicBezTo>
                    <a:pt x="1219" y="11"/>
                    <a:pt x="1223" y="11"/>
                    <a:pt x="1227" y="12"/>
                  </a:cubicBezTo>
                  <a:cubicBezTo>
                    <a:pt x="1232" y="12"/>
                    <a:pt x="1235" y="15"/>
                    <a:pt x="1236" y="20"/>
                  </a:cubicBezTo>
                  <a:cubicBezTo>
                    <a:pt x="1237" y="23"/>
                    <a:pt x="1237" y="26"/>
                    <a:pt x="1237" y="29"/>
                  </a:cubicBezTo>
                  <a:cubicBezTo>
                    <a:pt x="1236" y="33"/>
                    <a:pt x="1234" y="36"/>
                    <a:pt x="1231" y="39"/>
                  </a:cubicBezTo>
                  <a:cubicBezTo>
                    <a:pt x="1229" y="42"/>
                    <a:pt x="1226" y="44"/>
                    <a:pt x="1224" y="46"/>
                  </a:cubicBezTo>
                  <a:cubicBezTo>
                    <a:pt x="1220" y="48"/>
                    <a:pt x="1217" y="51"/>
                    <a:pt x="1214" y="53"/>
                  </a:cubicBezTo>
                  <a:cubicBezTo>
                    <a:pt x="1212" y="55"/>
                    <a:pt x="1210" y="56"/>
                    <a:pt x="1209" y="58"/>
                  </a:cubicBezTo>
                  <a:cubicBezTo>
                    <a:pt x="1206" y="61"/>
                    <a:pt x="1205" y="64"/>
                    <a:pt x="1204" y="67"/>
                  </a:cubicBezTo>
                  <a:cubicBezTo>
                    <a:pt x="1203" y="71"/>
                    <a:pt x="1203" y="75"/>
                    <a:pt x="1203" y="78"/>
                  </a:cubicBezTo>
                  <a:cubicBezTo>
                    <a:pt x="1203" y="79"/>
                    <a:pt x="1203" y="79"/>
                    <a:pt x="1204" y="79"/>
                  </a:cubicBezTo>
                  <a:cubicBezTo>
                    <a:pt x="1204" y="79"/>
                    <a:pt x="1205" y="79"/>
                    <a:pt x="1205" y="79"/>
                  </a:cubicBezTo>
                  <a:cubicBezTo>
                    <a:pt x="1219" y="79"/>
                    <a:pt x="1232" y="79"/>
                    <a:pt x="1246" y="79"/>
                  </a:cubicBezTo>
                  <a:cubicBezTo>
                    <a:pt x="1246" y="79"/>
                    <a:pt x="1247" y="79"/>
                    <a:pt x="1247" y="79"/>
                  </a:cubicBezTo>
                  <a:cubicBezTo>
                    <a:pt x="1248" y="79"/>
                    <a:pt x="1248" y="79"/>
                    <a:pt x="1248" y="78"/>
                  </a:cubicBezTo>
                  <a:cubicBezTo>
                    <a:pt x="1248" y="76"/>
                    <a:pt x="1248" y="74"/>
                    <a:pt x="1248" y="72"/>
                  </a:cubicBezTo>
                  <a:cubicBezTo>
                    <a:pt x="1248" y="72"/>
                    <a:pt x="1248" y="72"/>
                    <a:pt x="1248" y="72"/>
                  </a:cubicBezTo>
                  <a:cubicBezTo>
                    <a:pt x="1247" y="72"/>
                    <a:pt x="1246" y="72"/>
                    <a:pt x="1245" y="72"/>
                  </a:cubicBezTo>
                  <a:cubicBezTo>
                    <a:pt x="1235" y="72"/>
                    <a:pt x="1225" y="72"/>
                    <a:pt x="1215" y="72"/>
                  </a:cubicBezTo>
                  <a:cubicBezTo>
                    <a:pt x="1214" y="72"/>
                    <a:pt x="1213" y="72"/>
                    <a:pt x="1213" y="72"/>
                  </a:cubicBezTo>
                  <a:cubicBezTo>
                    <a:pt x="1212" y="71"/>
                    <a:pt x="1212" y="71"/>
                    <a:pt x="1212" y="70"/>
                  </a:cubicBezTo>
                  <a:cubicBezTo>
                    <a:pt x="1212" y="67"/>
                    <a:pt x="1213" y="65"/>
                    <a:pt x="1215" y="63"/>
                  </a:cubicBezTo>
                  <a:cubicBezTo>
                    <a:pt x="1216" y="61"/>
                    <a:pt x="1218" y="59"/>
                    <a:pt x="1219" y="58"/>
                  </a:cubicBezTo>
                  <a:cubicBezTo>
                    <a:pt x="1223" y="55"/>
                    <a:pt x="1226" y="53"/>
                    <a:pt x="1229" y="51"/>
                  </a:cubicBezTo>
                  <a:cubicBezTo>
                    <a:pt x="1232" y="48"/>
                    <a:pt x="1236" y="45"/>
                    <a:pt x="1239" y="42"/>
                  </a:cubicBezTo>
                  <a:cubicBezTo>
                    <a:pt x="1242" y="39"/>
                    <a:pt x="1244" y="35"/>
                    <a:pt x="1245" y="31"/>
                  </a:cubicBezTo>
                  <a:cubicBezTo>
                    <a:pt x="1245" y="28"/>
                    <a:pt x="1246" y="25"/>
                    <a:pt x="1246" y="22"/>
                  </a:cubicBezTo>
                  <a:cubicBezTo>
                    <a:pt x="1245" y="14"/>
                    <a:pt x="1240" y="7"/>
                    <a:pt x="1232" y="5"/>
                  </a:cubicBezTo>
                  <a:cubicBezTo>
                    <a:pt x="1227" y="4"/>
                    <a:pt x="1222" y="4"/>
                    <a:pt x="1217" y="5"/>
                  </a:cubicBezTo>
                  <a:cubicBezTo>
                    <a:pt x="1213" y="6"/>
                    <a:pt x="1210" y="8"/>
                    <a:pt x="1207" y="10"/>
                  </a:cubicBezTo>
                  <a:cubicBezTo>
                    <a:pt x="1206" y="11"/>
                    <a:pt x="1206" y="11"/>
                    <a:pt x="1206" y="12"/>
                  </a:cubicBezTo>
                  <a:cubicBezTo>
                    <a:pt x="1206" y="15"/>
                    <a:pt x="1206" y="17"/>
                    <a:pt x="1206" y="20"/>
                  </a:cubicBezTo>
                  <a:cubicBezTo>
                    <a:pt x="1207" y="19"/>
                    <a:pt x="1207" y="19"/>
                    <a:pt x="1208" y="18"/>
                  </a:cubicBezTo>
                  <a:close/>
                  <a:moveTo>
                    <a:pt x="529" y="145"/>
                  </a:moveTo>
                  <a:cubicBezTo>
                    <a:pt x="526" y="137"/>
                    <a:pt x="521" y="133"/>
                    <a:pt x="513" y="131"/>
                  </a:cubicBezTo>
                  <a:cubicBezTo>
                    <a:pt x="508" y="130"/>
                    <a:pt x="504" y="130"/>
                    <a:pt x="500" y="131"/>
                  </a:cubicBezTo>
                  <a:cubicBezTo>
                    <a:pt x="491" y="133"/>
                    <a:pt x="486" y="138"/>
                    <a:pt x="482" y="146"/>
                  </a:cubicBezTo>
                  <a:cubicBezTo>
                    <a:pt x="480" y="150"/>
                    <a:pt x="480" y="155"/>
                    <a:pt x="480" y="160"/>
                  </a:cubicBezTo>
                  <a:cubicBezTo>
                    <a:pt x="480" y="163"/>
                    <a:pt x="480" y="166"/>
                    <a:pt x="481" y="169"/>
                  </a:cubicBezTo>
                  <a:cubicBezTo>
                    <a:pt x="484" y="177"/>
                    <a:pt x="490" y="183"/>
                    <a:pt x="499" y="185"/>
                  </a:cubicBezTo>
                  <a:cubicBezTo>
                    <a:pt x="502" y="186"/>
                    <a:pt x="506" y="186"/>
                    <a:pt x="510" y="185"/>
                  </a:cubicBezTo>
                  <a:cubicBezTo>
                    <a:pt x="520" y="184"/>
                    <a:pt x="526" y="178"/>
                    <a:pt x="530" y="169"/>
                  </a:cubicBezTo>
                  <a:cubicBezTo>
                    <a:pt x="531" y="166"/>
                    <a:pt x="532" y="162"/>
                    <a:pt x="532" y="158"/>
                  </a:cubicBezTo>
                  <a:cubicBezTo>
                    <a:pt x="532" y="153"/>
                    <a:pt x="531" y="149"/>
                    <a:pt x="529" y="145"/>
                  </a:cubicBezTo>
                  <a:close/>
                  <a:moveTo>
                    <a:pt x="1064" y="18"/>
                  </a:moveTo>
                  <a:cubicBezTo>
                    <a:pt x="1066" y="16"/>
                    <a:pt x="1068" y="14"/>
                    <a:pt x="1071" y="13"/>
                  </a:cubicBezTo>
                  <a:cubicBezTo>
                    <a:pt x="1075" y="11"/>
                    <a:pt x="1078" y="11"/>
                    <a:pt x="1082" y="12"/>
                  </a:cubicBezTo>
                  <a:cubicBezTo>
                    <a:pt x="1087" y="12"/>
                    <a:pt x="1091" y="16"/>
                    <a:pt x="1092" y="21"/>
                  </a:cubicBezTo>
                  <a:cubicBezTo>
                    <a:pt x="1093" y="24"/>
                    <a:pt x="1092" y="28"/>
                    <a:pt x="1092" y="31"/>
                  </a:cubicBezTo>
                  <a:cubicBezTo>
                    <a:pt x="1091" y="34"/>
                    <a:pt x="1089" y="36"/>
                    <a:pt x="1087" y="38"/>
                  </a:cubicBezTo>
                  <a:cubicBezTo>
                    <a:pt x="1085" y="41"/>
                    <a:pt x="1082" y="44"/>
                    <a:pt x="1079" y="46"/>
                  </a:cubicBezTo>
                  <a:cubicBezTo>
                    <a:pt x="1075" y="49"/>
                    <a:pt x="1072" y="51"/>
                    <a:pt x="1068" y="54"/>
                  </a:cubicBezTo>
                  <a:cubicBezTo>
                    <a:pt x="1066" y="56"/>
                    <a:pt x="1064" y="58"/>
                    <a:pt x="1063" y="60"/>
                  </a:cubicBezTo>
                  <a:cubicBezTo>
                    <a:pt x="1061" y="63"/>
                    <a:pt x="1059" y="67"/>
                    <a:pt x="1059" y="70"/>
                  </a:cubicBezTo>
                  <a:cubicBezTo>
                    <a:pt x="1058" y="73"/>
                    <a:pt x="1058" y="75"/>
                    <a:pt x="1058" y="77"/>
                  </a:cubicBezTo>
                  <a:cubicBezTo>
                    <a:pt x="1058" y="79"/>
                    <a:pt x="1058" y="79"/>
                    <a:pt x="1061" y="79"/>
                  </a:cubicBezTo>
                  <a:cubicBezTo>
                    <a:pt x="1074" y="79"/>
                    <a:pt x="1088" y="79"/>
                    <a:pt x="1102" y="79"/>
                  </a:cubicBezTo>
                  <a:cubicBezTo>
                    <a:pt x="1102" y="79"/>
                    <a:pt x="1102" y="79"/>
                    <a:pt x="1102" y="79"/>
                  </a:cubicBezTo>
                  <a:cubicBezTo>
                    <a:pt x="1104" y="79"/>
                    <a:pt x="1104" y="79"/>
                    <a:pt x="1104" y="78"/>
                  </a:cubicBezTo>
                  <a:cubicBezTo>
                    <a:pt x="1104" y="76"/>
                    <a:pt x="1104" y="75"/>
                    <a:pt x="1104" y="73"/>
                  </a:cubicBezTo>
                  <a:cubicBezTo>
                    <a:pt x="1104" y="72"/>
                    <a:pt x="1104" y="72"/>
                    <a:pt x="1102" y="72"/>
                  </a:cubicBezTo>
                  <a:cubicBezTo>
                    <a:pt x="1102" y="72"/>
                    <a:pt x="1101" y="72"/>
                    <a:pt x="1101" y="72"/>
                  </a:cubicBezTo>
                  <a:cubicBezTo>
                    <a:pt x="1091" y="72"/>
                    <a:pt x="1080" y="72"/>
                    <a:pt x="1070" y="72"/>
                  </a:cubicBezTo>
                  <a:cubicBezTo>
                    <a:pt x="1070" y="72"/>
                    <a:pt x="1069" y="72"/>
                    <a:pt x="1068" y="72"/>
                  </a:cubicBezTo>
                  <a:cubicBezTo>
                    <a:pt x="1067" y="71"/>
                    <a:pt x="1067" y="71"/>
                    <a:pt x="1067" y="70"/>
                  </a:cubicBezTo>
                  <a:cubicBezTo>
                    <a:pt x="1067" y="67"/>
                    <a:pt x="1069" y="64"/>
                    <a:pt x="1071" y="62"/>
                  </a:cubicBezTo>
                  <a:cubicBezTo>
                    <a:pt x="1072" y="60"/>
                    <a:pt x="1073" y="59"/>
                    <a:pt x="1075" y="58"/>
                  </a:cubicBezTo>
                  <a:cubicBezTo>
                    <a:pt x="1078" y="56"/>
                    <a:pt x="1081" y="53"/>
                    <a:pt x="1084" y="51"/>
                  </a:cubicBezTo>
                  <a:cubicBezTo>
                    <a:pt x="1087" y="48"/>
                    <a:pt x="1090" y="46"/>
                    <a:pt x="1093" y="43"/>
                  </a:cubicBezTo>
                  <a:cubicBezTo>
                    <a:pt x="1099" y="37"/>
                    <a:pt x="1102" y="30"/>
                    <a:pt x="1101" y="22"/>
                  </a:cubicBezTo>
                  <a:cubicBezTo>
                    <a:pt x="1100" y="13"/>
                    <a:pt x="1094" y="7"/>
                    <a:pt x="1087" y="5"/>
                  </a:cubicBezTo>
                  <a:cubicBezTo>
                    <a:pt x="1082" y="4"/>
                    <a:pt x="1076" y="4"/>
                    <a:pt x="1071" y="5"/>
                  </a:cubicBezTo>
                  <a:cubicBezTo>
                    <a:pt x="1068" y="6"/>
                    <a:pt x="1065" y="8"/>
                    <a:pt x="1062" y="10"/>
                  </a:cubicBezTo>
                  <a:cubicBezTo>
                    <a:pt x="1062" y="11"/>
                    <a:pt x="1061" y="11"/>
                    <a:pt x="1061" y="12"/>
                  </a:cubicBezTo>
                  <a:cubicBezTo>
                    <a:pt x="1061" y="15"/>
                    <a:pt x="1061" y="17"/>
                    <a:pt x="1061" y="20"/>
                  </a:cubicBezTo>
                  <a:cubicBezTo>
                    <a:pt x="1062" y="19"/>
                    <a:pt x="1063" y="19"/>
                    <a:pt x="1064" y="18"/>
                  </a:cubicBezTo>
                  <a:close/>
                  <a:moveTo>
                    <a:pt x="1340" y="18"/>
                  </a:moveTo>
                  <a:cubicBezTo>
                    <a:pt x="1342" y="16"/>
                    <a:pt x="1345" y="14"/>
                    <a:pt x="1347" y="13"/>
                  </a:cubicBezTo>
                  <a:cubicBezTo>
                    <a:pt x="1351" y="11"/>
                    <a:pt x="1355" y="11"/>
                    <a:pt x="1358" y="12"/>
                  </a:cubicBezTo>
                  <a:cubicBezTo>
                    <a:pt x="1363" y="12"/>
                    <a:pt x="1367" y="15"/>
                    <a:pt x="1368" y="20"/>
                  </a:cubicBezTo>
                  <a:cubicBezTo>
                    <a:pt x="1369" y="22"/>
                    <a:pt x="1369" y="25"/>
                    <a:pt x="1369" y="27"/>
                  </a:cubicBezTo>
                  <a:cubicBezTo>
                    <a:pt x="1368" y="32"/>
                    <a:pt x="1366" y="36"/>
                    <a:pt x="1363" y="39"/>
                  </a:cubicBezTo>
                  <a:cubicBezTo>
                    <a:pt x="1361" y="42"/>
                    <a:pt x="1358" y="44"/>
                    <a:pt x="1355" y="46"/>
                  </a:cubicBezTo>
                  <a:cubicBezTo>
                    <a:pt x="1352" y="49"/>
                    <a:pt x="1348" y="51"/>
                    <a:pt x="1345" y="54"/>
                  </a:cubicBezTo>
                  <a:cubicBezTo>
                    <a:pt x="1343" y="56"/>
                    <a:pt x="1341" y="58"/>
                    <a:pt x="1339" y="60"/>
                  </a:cubicBezTo>
                  <a:cubicBezTo>
                    <a:pt x="1337" y="63"/>
                    <a:pt x="1336" y="66"/>
                    <a:pt x="1335" y="70"/>
                  </a:cubicBezTo>
                  <a:cubicBezTo>
                    <a:pt x="1335" y="72"/>
                    <a:pt x="1335" y="74"/>
                    <a:pt x="1335" y="77"/>
                  </a:cubicBezTo>
                  <a:cubicBezTo>
                    <a:pt x="1335" y="79"/>
                    <a:pt x="1335" y="79"/>
                    <a:pt x="1337" y="79"/>
                  </a:cubicBezTo>
                  <a:cubicBezTo>
                    <a:pt x="1350" y="79"/>
                    <a:pt x="1363" y="79"/>
                    <a:pt x="1376" y="79"/>
                  </a:cubicBezTo>
                  <a:cubicBezTo>
                    <a:pt x="1377" y="79"/>
                    <a:pt x="1379" y="79"/>
                    <a:pt x="1380" y="79"/>
                  </a:cubicBezTo>
                  <a:cubicBezTo>
                    <a:pt x="1381" y="78"/>
                    <a:pt x="1380" y="76"/>
                    <a:pt x="1380" y="75"/>
                  </a:cubicBezTo>
                  <a:cubicBezTo>
                    <a:pt x="1380" y="71"/>
                    <a:pt x="1381" y="72"/>
                    <a:pt x="1377" y="72"/>
                  </a:cubicBezTo>
                  <a:cubicBezTo>
                    <a:pt x="1367" y="72"/>
                    <a:pt x="1357" y="72"/>
                    <a:pt x="1346" y="72"/>
                  </a:cubicBezTo>
                  <a:cubicBezTo>
                    <a:pt x="1346" y="72"/>
                    <a:pt x="1345" y="72"/>
                    <a:pt x="1344" y="71"/>
                  </a:cubicBezTo>
                  <a:cubicBezTo>
                    <a:pt x="1343" y="68"/>
                    <a:pt x="1344" y="65"/>
                    <a:pt x="1346" y="63"/>
                  </a:cubicBezTo>
                  <a:cubicBezTo>
                    <a:pt x="1347" y="61"/>
                    <a:pt x="1349" y="60"/>
                    <a:pt x="1351" y="58"/>
                  </a:cubicBezTo>
                  <a:cubicBezTo>
                    <a:pt x="1354" y="55"/>
                    <a:pt x="1358" y="53"/>
                    <a:pt x="1361" y="50"/>
                  </a:cubicBezTo>
                  <a:cubicBezTo>
                    <a:pt x="1365" y="48"/>
                    <a:pt x="1368" y="45"/>
                    <a:pt x="1370" y="42"/>
                  </a:cubicBezTo>
                  <a:cubicBezTo>
                    <a:pt x="1376" y="36"/>
                    <a:pt x="1378" y="29"/>
                    <a:pt x="1377" y="21"/>
                  </a:cubicBezTo>
                  <a:cubicBezTo>
                    <a:pt x="1376" y="12"/>
                    <a:pt x="1370" y="7"/>
                    <a:pt x="1363" y="5"/>
                  </a:cubicBezTo>
                  <a:cubicBezTo>
                    <a:pt x="1358" y="4"/>
                    <a:pt x="1353" y="4"/>
                    <a:pt x="1348" y="5"/>
                  </a:cubicBezTo>
                  <a:cubicBezTo>
                    <a:pt x="1344" y="6"/>
                    <a:pt x="1341" y="8"/>
                    <a:pt x="1338" y="10"/>
                  </a:cubicBezTo>
                  <a:cubicBezTo>
                    <a:pt x="1338" y="11"/>
                    <a:pt x="1338" y="11"/>
                    <a:pt x="1338" y="12"/>
                  </a:cubicBezTo>
                  <a:cubicBezTo>
                    <a:pt x="1338" y="14"/>
                    <a:pt x="1338" y="16"/>
                    <a:pt x="1338" y="17"/>
                  </a:cubicBezTo>
                  <a:cubicBezTo>
                    <a:pt x="1338" y="18"/>
                    <a:pt x="1337" y="19"/>
                    <a:pt x="1338" y="20"/>
                  </a:cubicBezTo>
                  <a:cubicBezTo>
                    <a:pt x="1339" y="19"/>
                    <a:pt x="1339" y="18"/>
                    <a:pt x="1340" y="18"/>
                  </a:cubicBezTo>
                  <a:close/>
                  <a:moveTo>
                    <a:pt x="714" y="142"/>
                  </a:moveTo>
                  <a:cubicBezTo>
                    <a:pt x="718" y="139"/>
                    <a:pt x="723" y="137"/>
                    <a:pt x="729" y="138"/>
                  </a:cubicBezTo>
                  <a:cubicBezTo>
                    <a:pt x="734" y="138"/>
                    <a:pt x="737" y="140"/>
                    <a:pt x="738" y="145"/>
                  </a:cubicBezTo>
                  <a:cubicBezTo>
                    <a:pt x="739" y="147"/>
                    <a:pt x="739" y="148"/>
                    <a:pt x="739" y="150"/>
                  </a:cubicBezTo>
                  <a:cubicBezTo>
                    <a:pt x="739" y="151"/>
                    <a:pt x="739" y="151"/>
                    <a:pt x="738" y="151"/>
                  </a:cubicBezTo>
                  <a:cubicBezTo>
                    <a:pt x="736" y="151"/>
                    <a:pt x="735" y="152"/>
                    <a:pt x="733" y="152"/>
                  </a:cubicBezTo>
                  <a:cubicBezTo>
                    <a:pt x="729" y="152"/>
                    <a:pt x="725" y="153"/>
                    <a:pt x="721" y="153"/>
                  </a:cubicBezTo>
                  <a:cubicBezTo>
                    <a:pt x="718" y="154"/>
                    <a:pt x="716" y="155"/>
                    <a:pt x="713" y="156"/>
                  </a:cubicBezTo>
                  <a:cubicBezTo>
                    <a:pt x="710" y="158"/>
                    <a:pt x="707" y="161"/>
                    <a:pt x="706" y="165"/>
                  </a:cubicBezTo>
                  <a:cubicBezTo>
                    <a:pt x="706" y="167"/>
                    <a:pt x="705" y="170"/>
                    <a:pt x="706" y="172"/>
                  </a:cubicBezTo>
                  <a:cubicBezTo>
                    <a:pt x="706" y="178"/>
                    <a:pt x="709" y="182"/>
                    <a:pt x="715" y="184"/>
                  </a:cubicBezTo>
                  <a:cubicBezTo>
                    <a:pt x="719" y="186"/>
                    <a:pt x="724" y="186"/>
                    <a:pt x="728" y="185"/>
                  </a:cubicBezTo>
                  <a:cubicBezTo>
                    <a:pt x="732" y="184"/>
                    <a:pt x="735" y="182"/>
                    <a:pt x="737" y="179"/>
                  </a:cubicBezTo>
                  <a:cubicBezTo>
                    <a:pt x="737" y="178"/>
                    <a:pt x="738" y="178"/>
                    <a:pt x="738" y="178"/>
                  </a:cubicBezTo>
                  <a:cubicBezTo>
                    <a:pt x="738" y="177"/>
                    <a:pt x="738" y="177"/>
                    <a:pt x="739" y="177"/>
                  </a:cubicBezTo>
                  <a:cubicBezTo>
                    <a:pt x="739" y="178"/>
                    <a:pt x="739" y="179"/>
                    <a:pt x="739" y="180"/>
                  </a:cubicBezTo>
                  <a:cubicBezTo>
                    <a:pt x="739" y="181"/>
                    <a:pt x="739" y="182"/>
                    <a:pt x="739" y="183"/>
                  </a:cubicBezTo>
                  <a:cubicBezTo>
                    <a:pt x="739" y="184"/>
                    <a:pt x="739" y="184"/>
                    <a:pt x="740" y="184"/>
                  </a:cubicBezTo>
                  <a:cubicBezTo>
                    <a:pt x="742" y="184"/>
                    <a:pt x="744" y="184"/>
                    <a:pt x="746" y="184"/>
                  </a:cubicBezTo>
                  <a:cubicBezTo>
                    <a:pt x="747" y="184"/>
                    <a:pt x="747" y="184"/>
                    <a:pt x="747" y="183"/>
                  </a:cubicBezTo>
                  <a:cubicBezTo>
                    <a:pt x="747" y="183"/>
                    <a:pt x="747" y="182"/>
                    <a:pt x="747" y="182"/>
                  </a:cubicBezTo>
                  <a:cubicBezTo>
                    <a:pt x="747" y="171"/>
                    <a:pt x="747" y="161"/>
                    <a:pt x="747" y="150"/>
                  </a:cubicBezTo>
                  <a:cubicBezTo>
                    <a:pt x="747" y="149"/>
                    <a:pt x="747" y="148"/>
                    <a:pt x="747" y="146"/>
                  </a:cubicBezTo>
                  <a:cubicBezTo>
                    <a:pt x="747" y="144"/>
                    <a:pt x="746" y="142"/>
                    <a:pt x="745" y="140"/>
                  </a:cubicBezTo>
                  <a:cubicBezTo>
                    <a:pt x="744" y="136"/>
                    <a:pt x="741" y="133"/>
                    <a:pt x="737" y="132"/>
                  </a:cubicBezTo>
                  <a:cubicBezTo>
                    <a:pt x="736" y="131"/>
                    <a:pt x="734" y="131"/>
                    <a:pt x="732" y="131"/>
                  </a:cubicBezTo>
                  <a:cubicBezTo>
                    <a:pt x="725" y="130"/>
                    <a:pt x="719" y="131"/>
                    <a:pt x="713" y="134"/>
                  </a:cubicBezTo>
                  <a:cubicBezTo>
                    <a:pt x="713" y="134"/>
                    <a:pt x="712" y="135"/>
                    <a:pt x="712" y="135"/>
                  </a:cubicBezTo>
                  <a:cubicBezTo>
                    <a:pt x="711" y="135"/>
                    <a:pt x="711" y="136"/>
                    <a:pt x="711" y="136"/>
                  </a:cubicBezTo>
                  <a:cubicBezTo>
                    <a:pt x="711" y="139"/>
                    <a:pt x="711" y="141"/>
                    <a:pt x="711" y="144"/>
                  </a:cubicBezTo>
                  <a:cubicBezTo>
                    <a:pt x="712" y="143"/>
                    <a:pt x="713" y="143"/>
                    <a:pt x="714" y="142"/>
                  </a:cubicBezTo>
                  <a:close/>
                  <a:moveTo>
                    <a:pt x="471" y="29"/>
                  </a:moveTo>
                  <a:cubicBezTo>
                    <a:pt x="473" y="36"/>
                    <a:pt x="476" y="43"/>
                    <a:pt x="479" y="49"/>
                  </a:cubicBezTo>
                  <a:cubicBezTo>
                    <a:pt x="482" y="59"/>
                    <a:pt x="486" y="68"/>
                    <a:pt x="490" y="77"/>
                  </a:cubicBezTo>
                  <a:cubicBezTo>
                    <a:pt x="490" y="78"/>
                    <a:pt x="490" y="79"/>
                    <a:pt x="490" y="81"/>
                  </a:cubicBezTo>
                  <a:cubicBezTo>
                    <a:pt x="488" y="83"/>
                    <a:pt x="487" y="86"/>
                    <a:pt x="486" y="89"/>
                  </a:cubicBezTo>
                  <a:cubicBezTo>
                    <a:pt x="486" y="90"/>
                    <a:pt x="485" y="91"/>
                    <a:pt x="484" y="92"/>
                  </a:cubicBezTo>
                  <a:cubicBezTo>
                    <a:pt x="482" y="96"/>
                    <a:pt x="479" y="97"/>
                    <a:pt x="475" y="96"/>
                  </a:cubicBezTo>
                  <a:cubicBezTo>
                    <a:pt x="474" y="96"/>
                    <a:pt x="472" y="95"/>
                    <a:pt x="472" y="96"/>
                  </a:cubicBezTo>
                  <a:cubicBezTo>
                    <a:pt x="471" y="97"/>
                    <a:pt x="472" y="98"/>
                    <a:pt x="472" y="99"/>
                  </a:cubicBezTo>
                  <a:cubicBezTo>
                    <a:pt x="471" y="100"/>
                    <a:pt x="471" y="101"/>
                    <a:pt x="472" y="102"/>
                  </a:cubicBezTo>
                  <a:cubicBezTo>
                    <a:pt x="472" y="103"/>
                    <a:pt x="472" y="103"/>
                    <a:pt x="473" y="103"/>
                  </a:cubicBezTo>
                  <a:cubicBezTo>
                    <a:pt x="478" y="104"/>
                    <a:pt x="483" y="104"/>
                    <a:pt x="487" y="100"/>
                  </a:cubicBezTo>
                  <a:cubicBezTo>
                    <a:pt x="489" y="98"/>
                    <a:pt x="490" y="97"/>
                    <a:pt x="492" y="95"/>
                  </a:cubicBezTo>
                  <a:cubicBezTo>
                    <a:pt x="493" y="92"/>
                    <a:pt x="494" y="90"/>
                    <a:pt x="495" y="87"/>
                  </a:cubicBezTo>
                  <a:cubicBezTo>
                    <a:pt x="499" y="79"/>
                    <a:pt x="502" y="70"/>
                    <a:pt x="506" y="62"/>
                  </a:cubicBezTo>
                  <a:cubicBezTo>
                    <a:pt x="510" y="51"/>
                    <a:pt x="514" y="40"/>
                    <a:pt x="519" y="29"/>
                  </a:cubicBezTo>
                  <a:cubicBezTo>
                    <a:pt x="519" y="28"/>
                    <a:pt x="519" y="27"/>
                    <a:pt x="519" y="26"/>
                  </a:cubicBezTo>
                  <a:cubicBezTo>
                    <a:pt x="516" y="26"/>
                    <a:pt x="514" y="26"/>
                    <a:pt x="511" y="26"/>
                  </a:cubicBezTo>
                  <a:cubicBezTo>
                    <a:pt x="508" y="34"/>
                    <a:pt x="505" y="41"/>
                    <a:pt x="503" y="48"/>
                  </a:cubicBezTo>
                  <a:cubicBezTo>
                    <a:pt x="500" y="55"/>
                    <a:pt x="498" y="63"/>
                    <a:pt x="495" y="70"/>
                  </a:cubicBezTo>
                  <a:cubicBezTo>
                    <a:pt x="494" y="69"/>
                    <a:pt x="494" y="68"/>
                    <a:pt x="493" y="67"/>
                  </a:cubicBezTo>
                  <a:cubicBezTo>
                    <a:pt x="489" y="54"/>
                    <a:pt x="485" y="42"/>
                    <a:pt x="480" y="30"/>
                  </a:cubicBezTo>
                  <a:cubicBezTo>
                    <a:pt x="479" y="26"/>
                    <a:pt x="480" y="26"/>
                    <a:pt x="475" y="26"/>
                  </a:cubicBezTo>
                  <a:cubicBezTo>
                    <a:pt x="474" y="26"/>
                    <a:pt x="472" y="26"/>
                    <a:pt x="470" y="26"/>
                  </a:cubicBezTo>
                  <a:cubicBezTo>
                    <a:pt x="470" y="26"/>
                    <a:pt x="470" y="27"/>
                    <a:pt x="470" y="27"/>
                  </a:cubicBezTo>
                  <a:cubicBezTo>
                    <a:pt x="470" y="27"/>
                    <a:pt x="470" y="28"/>
                    <a:pt x="471" y="29"/>
                  </a:cubicBezTo>
                  <a:close/>
                  <a:moveTo>
                    <a:pt x="132" y="140"/>
                  </a:moveTo>
                  <a:cubicBezTo>
                    <a:pt x="132" y="139"/>
                    <a:pt x="132" y="138"/>
                    <a:pt x="132" y="137"/>
                  </a:cubicBezTo>
                  <a:cubicBezTo>
                    <a:pt x="132" y="136"/>
                    <a:pt x="132" y="134"/>
                    <a:pt x="132" y="133"/>
                  </a:cubicBezTo>
                  <a:cubicBezTo>
                    <a:pt x="132" y="132"/>
                    <a:pt x="132" y="132"/>
                    <a:pt x="131" y="132"/>
                  </a:cubicBezTo>
                  <a:cubicBezTo>
                    <a:pt x="129" y="132"/>
                    <a:pt x="127" y="132"/>
                    <a:pt x="125" y="132"/>
                  </a:cubicBezTo>
                  <a:cubicBezTo>
                    <a:pt x="124" y="132"/>
                    <a:pt x="124" y="132"/>
                    <a:pt x="124" y="133"/>
                  </a:cubicBezTo>
                  <a:cubicBezTo>
                    <a:pt x="124" y="133"/>
                    <a:pt x="124" y="133"/>
                    <a:pt x="124" y="134"/>
                  </a:cubicBezTo>
                  <a:cubicBezTo>
                    <a:pt x="124" y="150"/>
                    <a:pt x="124" y="166"/>
                    <a:pt x="124" y="182"/>
                  </a:cubicBezTo>
                  <a:cubicBezTo>
                    <a:pt x="124" y="184"/>
                    <a:pt x="124" y="184"/>
                    <a:pt x="126" y="184"/>
                  </a:cubicBezTo>
                  <a:cubicBezTo>
                    <a:pt x="127" y="184"/>
                    <a:pt x="129" y="184"/>
                    <a:pt x="130" y="184"/>
                  </a:cubicBezTo>
                  <a:cubicBezTo>
                    <a:pt x="131" y="184"/>
                    <a:pt x="131" y="184"/>
                    <a:pt x="131" y="184"/>
                  </a:cubicBezTo>
                  <a:cubicBezTo>
                    <a:pt x="132" y="184"/>
                    <a:pt x="132" y="184"/>
                    <a:pt x="132" y="183"/>
                  </a:cubicBezTo>
                  <a:cubicBezTo>
                    <a:pt x="132" y="183"/>
                    <a:pt x="132" y="182"/>
                    <a:pt x="132" y="181"/>
                  </a:cubicBezTo>
                  <a:cubicBezTo>
                    <a:pt x="132" y="173"/>
                    <a:pt x="132" y="164"/>
                    <a:pt x="132" y="156"/>
                  </a:cubicBezTo>
                  <a:cubicBezTo>
                    <a:pt x="132" y="155"/>
                    <a:pt x="132" y="154"/>
                    <a:pt x="132" y="153"/>
                  </a:cubicBezTo>
                  <a:cubicBezTo>
                    <a:pt x="132" y="150"/>
                    <a:pt x="133" y="148"/>
                    <a:pt x="134" y="146"/>
                  </a:cubicBezTo>
                  <a:cubicBezTo>
                    <a:pt x="137" y="140"/>
                    <a:pt x="142" y="137"/>
                    <a:pt x="148" y="138"/>
                  </a:cubicBezTo>
                  <a:cubicBezTo>
                    <a:pt x="152" y="138"/>
                    <a:pt x="155" y="140"/>
                    <a:pt x="157" y="144"/>
                  </a:cubicBezTo>
                  <a:cubicBezTo>
                    <a:pt x="158" y="145"/>
                    <a:pt x="158" y="145"/>
                    <a:pt x="158" y="146"/>
                  </a:cubicBezTo>
                  <a:cubicBezTo>
                    <a:pt x="159" y="149"/>
                    <a:pt x="159" y="152"/>
                    <a:pt x="159" y="155"/>
                  </a:cubicBezTo>
                  <a:cubicBezTo>
                    <a:pt x="159" y="164"/>
                    <a:pt x="159" y="172"/>
                    <a:pt x="159" y="181"/>
                  </a:cubicBezTo>
                  <a:cubicBezTo>
                    <a:pt x="159" y="182"/>
                    <a:pt x="159" y="183"/>
                    <a:pt x="159" y="183"/>
                  </a:cubicBezTo>
                  <a:cubicBezTo>
                    <a:pt x="159" y="184"/>
                    <a:pt x="159" y="184"/>
                    <a:pt x="160" y="184"/>
                  </a:cubicBezTo>
                  <a:cubicBezTo>
                    <a:pt x="162" y="184"/>
                    <a:pt x="164" y="184"/>
                    <a:pt x="167" y="184"/>
                  </a:cubicBezTo>
                  <a:cubicBezTo>
                    <a:pt x="167" y="184"/>
                    <a:pt x="167" y="184"/>
                    <a:pt x="167" y="184"/>
                  </a:cubicBezTo>
                  <a:cubicBezTo>
                    <a:pt x="168" y="183"/>
                    <a:pt x="167" y="182"/>
                    <a:pt x="167" y="182"/>
                  </a:cubicBezTo>
                  <a:cubicBezTo>
                    <a:pt x="167" y="172"/>
                    <a:pt x="168" y="163"/>
                    <a:pt x="167" y="153"/>
                  </a:cubicBezTo>
                  <a:cubicBezTo>
                    <a:pt x="167" y="151"/>
                    <a:pt x="167" y="150"/>
                    <a:pt x="167" y="148"/>
                  </a:cubicBezTo>
                  <a:cubicBezTo>
                    <a:pt x="167" y="145"/>
                    <a:pt x="166" y="142"/>
                    <a:pt x="165" y="139"/>
                  </a:cubicBezTo>
                  <a:cubicBezTo>
                    <a:pt x="162" y="135"/>
                    <a:pt x="159" y="132"/>
                    <a:pt x="155" y="131"/>
                  </a:cubicBezTo>
                  <a:cubicBezTo>
                    <a:pt x="153" y="130"/>
                    <a:pt x="151" y="130"/>
                    <a:pt x="149" y="130"/>
                  </a:cubicBezTo>
                  <a:cubicBezTo>
                    <a:pt x="143" y="131"/>
                    <a:pt x="138" y="133"/>
                    <a:pt x="134" y="138"/>
                  </a:cubicBezTo>
                  <a:cubicBezTo>
                    <a:pt x="134" y="138"/>
                    <a:pt x="133" y="139"/>
                    <a:pt x="133" y="140"/>
                  </a:cubicBezTo>
                  <a:cubicBezTo>
                    <a:pt x="133" y="140"/>
                    <a:pt x="132" y="140"/>
                    <a:pt x="132" y="140"/>
                  </a:cubicBezTo>
                  <a:close/>
                  <a:moveTo>
                    <a:pt x="768" y="140"/>
                  </a:moveTo>
                  <a:cubicBezTo>
                    <a:pt x="768" y="139"/>
                    <a:pt x="768" y="139"/>
                    <a:pt x="768" y="138"/>
                  </a:cubicBezTo>
                  <a:cubicBezTo>
                    <a:pt x="768" y="136"/>
                    <a:pt x="768" y="135"/>
                    <a:pt x="768" y="133"/>
                  </a:cubicBezTo>
                  <a:cubicBezTo>
                    <a:pt x="768" y="132"/>
                    <a:pt x="768" y="132"/>
                    <a:pt x="767" y="132"/>
                  </a:cubicBezTo>
                  <a:cubicBezTo>
                    <a:pt x="765" y="132"/>
                    <a:pt x="763" y="132"/>
                    <a:pt x="761" y="132"/>
                  </a:cubicBezTo>
                  <a:cubicBezTo>
                    <a:pt x="760" y="132"/>
                    <a:pt x="760" y="132"/>
                    <a:pt x="760" y="133"/>
                  </a:cubicBezTo>
                  <a:cubicBezTo>
                    <a:pt x="760" y="133"/>
                    <a:pt x="760" y="134"/>
                    <a:pt x="760" y="134"/>
                  </a:cubicBezTo>
                  <a:cubicBezTo>
                    <a:pt x="760" y="150"/>
                    <a:pt x="760" y="166"/>
                    <a:pt x="760" y="182"/>
                  </a:cubicBezTo>
                  <a:cubicBezTo>
                    <a:pt x="760" y="183"/>
                    <a:pt x="760" y="183"/>
                    <a:pt x="760" y="184"/>
                  </a:cubicBezTo>
                  <a:cubicBezTo>
                    <a:pt x="760" y="184"/>
                    <a:pt x="760" y="184"/>
                    <a:pt x="761" y="184"/>
                  </a:cubicBezTo>
                  <a:cubicBezTo>
                    <a:pt x="761" y="184"/>
                    <a:pt x="762" y="184"/>
                    <a:pt x="763" y="184"/>
                  </a:cubicBezTo>
                  <a:cubicBezTo>
                    <a:pt x="764" y="184"/>
                    <a:pt x="766" y="184"/>
                    <a:pt x="767" y="184"/>
                  </a:cubicBezTo>
                  <a:cubicBezTo>
                    <a:pt x="768" y="184"/>
                    <a:pt x="768" y="184"/>
                    <a:pt x="768" y="183"/>
                  </a:cubicBezTo>
                  <a:cubicBezTo>
                    <a:pt x="768" y="183"/>
                    <a:pt x="768" y="182"/>
                    <a:pt x="768" y="182"/>
                  </a:cubicBezTo>
                  <a:cubicBezTo>
                    <a:pt x="768" y="173"/>
                    <a:pt x="768" y="165"/>
                    <a:pt x="768" y="156"/>
                  </a:cubicBezTo>
                  <a:cubicBezTo>
                    <a:pt x="768" y="155"/>
                    <a:pt x="768" y="153"/>
                    <a:pt x="768" y="152"/>
                  </a:cubicBezTo>
                  <a:cubicBezTo>
                    <a:pt x="769" y="150"/>
                    <a:pt x="769" y="147"/>
                    <a:pt x="771" y="145"/>
                  </a:cubicBezTo>
                  <a:cubicBezTo>
                    <a:pt x="774" y="140"/>
                    <a:pt x="778" y="137"/>
                    <a:pt x="784" y="138"/>
                  </a:cubicBezTo>
                  <a:cubicBezTo>
                    <a:pt x="788" y="138"/>
                    <a:pt x="791" y="140"/>
                    <a:pt x="793" y="143"/>
                  </a:cubicBezTo>
                  <a:cubicBezTo>
                    <a:pt x="793" y="144"/>
                    <a:pt x="794" y="145"/>
                    <a:pt x="794" y="146"/>
                  </a:cubicBezTo>
                  <a:cubicBezTo>
                    <a:pt x="795" y="149"/>
                    <a:pt x="795" y="152"/>
                    <a:pt x="795" y="154"/>
                  </a:cubicBezTo>
                  <a:cubicBezTo>
                    <a:pt x="795" y="163"/>
                    <a:pt x="795" y="172"/>
                    <a:pt x="795" y="181"/>
                  </a:cubicBezTo>
                  <a:cubicBezTo>
                    <a:pt x="795" y="182"/>
                    <a:pt x="795" y="183"/>
                    <a:pt x="795" y="184"/>
                  </a:cubicBezTo>
                  <a:cubicBezTo>
                    <a:pt x="795" y="184"/>
                    <a:pt x="795" y="184"/>
                    <a:pt x="796" y="184"/>
                  </a:cubicBezTo>
                  <a:cubicBezTo>
                    <a:pt x="798" y="184"/>
                    <a:pt x="800" y="184"/>
                    <a:pt x="803" y="184"/>
                  </a:cubicBezTo>
                  <a:cubicBezTo>
                    <a:pt x="803" y="184"/>
                    <a:pt x="803" y="184"/>
                    <a:pt x="803" y="184"/>
                  </a:cubicBezTo>
                  <a:cubicBezTo>
                    <a:pt x="804" y="183"/>
                    <a:pt x="804" y="182"/>
                    <a:pt x="804" y="182"/>
                  </a:cubicBezTo>
                  <a:cubicBezTo>
                    <a:pt x="804" y="172"/>
                    <a:pt x="804" y="162"/>
                    <a:pt x="804" y="152"/>
                  </a:cubicBezTo>
                  <a:cubicBezTo>
                    <a:pt x="804" y="151"/>
                    <a:pt x="803" y="149"/>
                    <a:pt x="803" y="148"/>
                  </a:cubicBezTo>
                  <a:cubicBezTo>
                    <a:pt x="803" y="144"/>
                    <a:pt x="802" y="141"/>
                    <a:pt x="801" y="138"/>
                  </a:cubicBezTo>
                  <a:cubicBezTo>
                    <a:pt x="798" y="135"/>
                    <a:pt x="795" y="132"/>
                    <a:pt x="791" y="131"/>
                  </a:cubicBezTo>
                  <a:cubicBezTo>
                    <a:pt x="789" y="131"/>
                    <a:pt x="787" y="130"/>
                    <a:pt x="785" y="130"/>
                  </a:cubicBezTo>
                  <a:cubicBezTo>
                    <a:pt x="779" y="131"/>
                    <a:pt x="774" y="133"/>
                    <a:pt x="770" y="138"/>
                  </a:cubicBezTo>
                  <a:cubicBezTo>
                    <a:pt x="770" y="139"/>
                    <a:pt x="769" y="139"/>
                    <a:pt x="769" y="140"/>
                  </a:cubicBezTo>
                  <a:cubicBezTo>
                    <a:pt x="769" y="140"/>
                    <a:pt x="768" y="140"/>
                    <a:pt x="768" y="140"/>
                  </a:cubicBezTo>
                  <a:close/>
                  <a:moveTo>
                    <a:pt x="876" y="33"/>
                  </a:moveTo>
                  <a:cubicBezTo>
                    <a:pt x="876" y="31"/>
                    <a:pt x="876" y="29"/>
                    <a:pt x="876" y="28"/>
                  </a:cubicBezTo>
                  <a:cubicBezTo>
                    <a:pt x="876" y="26"/>
                    <a:pt x="876" y="26"/>
                    <a:pt x="874" y="26"/>
                  </a:cubicBezTo>
                  <a:cubicBezTo>
                    <a:pt x="873" y="26"/>
                    <a:pt x="871" y="26"/>
                    <a:pt x="870" y="26"/>
                  </a:cubicBezTo>
                  <a:cubicBezTo>
                    <a:pt x="867" y="26"/>
                    <a:pt x="867" y="26"/>
                    <a:pt x="867" y="29"/>
                  </a:cubicBezTo>
                  <a:cubicBezTo>
                    <a:pt x="867" y="45"/>
                    <a:pt x="867" y="61"/>
                    <a:pt x="867" y="77"/>
                  </a:cubicBezTo>
                  <a:cubicBezTo>
                    <a:pt x="867" y="77"/>
                    <a:pt x="867" y="78"/>
                    <a:pt x="867" y="78"/>
                  </a:cubicBezTo>
                  <a:cubicBezTo>
                    <a:pt x="867" y="79"/>
                    <a:pt x="868" y="79"/>
                    <a:pt x="868" y="79"/>
                  </a:cubicBezTo>
                  <a:cubicBezTo>
                    <a:pt x="870" y="79"/>
                    <a:pt x="873" y="79"/>
                    <a:pt x="875" y="79"/>
                  </a:cubicBezTo>
                  <a:cubicBezTo>
                    <a:pt x="876" y="79"/>
                    <a:pt x="876" y="79"/>
                    <a:pt x="876" y="78"/>
                  </a:cubicBezTo>
                  <a:cubicBezTo>
                    <a:pt x="876" y="77"/>
                    <a:pt x="876" y="77"/>
                    <a:pt x="876" y="76"/>
                  </a:cubicBezTo>
                  <a:cubicBezTo>
                    <a:pt x="876" y="68"/>
                    <a:pt x="876" y="59"/>
                    <a:pt x="876" y="51"/>
                  </a:cubicBezTo>
                  <a:cubicBezTo>
                    <a:pt x="876" y="50"/>
                    <a:pt x="876" y="48"/>
                    <a:pt x="876" y="47"/>
                  </a:cubicBezTo>
                  <a:cubicBezTo>
                    <a:pt x="876" y="44"/>
                    <a:pt x="877" y="41"/>
                    <a:pt x="879" y="39"/>
                  </a:cubicBezTo>
                  <a:cubicBezTo>
                    <a:pt x="882" y="34"/>
                    <a:pt x="886" y="32"/>
                    <a:pt x="892" y="32"/>
                  </a:cubicBezTo>
                  <a:cubicBezTo>
                    <a:pt x="896" y="33"/>
                    <a:pt x="899" y="35"/>
                    <a:pt x="901" y="39"/>
                  </a:cubicBezTo>
                  <a:cubicBezTo>
                    <a:pt x="901" y="40"/>
                    <a:pt x="901" y="40"/>
                    <a:pt x="902" y="41"/>
                  </a:cubicBezTo>
                  <a:cubicBezTo>
                    <a:pt x="902" y="44"/>
                    <a:pt x="903" y="47"/>
                    <a:pt x="903" y="49"/>
                  </a:cubicBezTo>
                  <a:cubicBezTo>
                    <a:pt x="903" y="58"/>
                    <a:pt x="903" y="67"/>
                    <a:pt x="903" y="76"/>
                  </a:cubicBezTo>
                  <a:cubicBezTo>
                    <a:pt x="903" y="76"/>
                    <a:pt x="903" y="77"/>
                    <a:pt x="903" y="78"/>
                  </a:cubicBezTo>
                  <a:cubicBezTo>
                    <a:pt x="903" y="79"/>
                    <a:pt x="903" y="79"/>
                    <a:pt x="904" y="79"/>
                  </a:cubicBezTo>
                  <a:cubicBezTo>
                    <a:pt x="906" y="79"/>
                    <a:pt x="907" y="79"/>
                    <a:pt x="909" y="79"/>
                  </a:cubicBezTo>
                  <a:cubicBezTo>
                    <a:pt x="911" y="79"/>
                    <a:pt x="911" y="79"/>
                    <a:pt x="911" y="77"/>
                  </a:cubicBezTo>
                  <a:cubicBezTo>
                    <a:pt x="911" y="77"/>
                    <a:pt x="911" y="77"/>
                    <a:pt x="911" y="76"/>
                  </a:cubicBezTo>
                  <a:cubicBezTo>
                    <a:pt x="911" y="67"/>
                    <a:pt x="911" y="57"/>
                    <a:pt x="911" y="47"/>
                  </a:cubicBezTo>
                  <a:cubicBezTo>
                    <a:pt x="911" y="46"/>
                    <a:pt x="911" y="44"/>
                    <a:pt x="911" y="43"/>
                  </a:cubicBezTo>
                  <a:cubicBezTo>
                    <a:pt x="911" y="39"/>
                    <a:pt x="910" y="36"/>
                    <a:pt x="908" y="33"/>
                  </a:cubicBezTo>
                  <a:cubicBezTo>
                    <a:pt x="906" y="29"/>
                    <a:pt x="903" y="27"/>
                    <a:pt x="898" y="26"/>
                  </a:cubicBezTo>
                  <a:cubicBezTo>
                    <a:pt x="896" y="25"/>
                    <a:pt x="894" y="25"/>
                    <a:pt x="892" y="25"/>
                  </a:cubicBezTo>
                  <a:cubicBezTo>
                    <a:pt x="886" y="25"/>
                    <a:pt x="882" y="28"/>
                    <a:pt x="878" y="32"/>
                  </a:cubicBezTo>
                  <a:cubicBezTo>
                    <a:pt x="877" y="33"/>
                    <a:pt x="877" y="34"/>
                    <a:pt x="876" y="35"/>
                  </a:cubicBezTo>
                  <a:cubicBezTo>
                    <a:pt x="876" y="34"/>
                    <a:pt x="876" y="33"/>
                    <a:pt x="876" y="33"/>
                  </a:cubicBezTo>
                  <a:close/>
                  <a:moveTo>
                    <a:pt x="324" y="179"/>
                  </a:moveTo>
                  <a:cubicBezTo>
                    <a:pt x="324" y="181"/>
                    <a:pt x="324" y="182"/>
                    <a:pt x="324" y="183"/>
                  </a:cubicBezTo>
                  <a:cubicBezTo>
                    <a:pt x="324" y="184"/>
                    <a:pt x="324" y="184"/>
                    <a:pt x="325" y="184"/>
                  </a:cubicBezTo>
                  <a:cubicBezTo>
                    <a:pt x="327" y="184"/>
                    <a:pt x="328" y="184"/>
                    <a:pt x="330" y="184"/>
                  </a:cubicBezTo>
                  <a:cubicBezTo>
                    <a:pt x="333" y="184"/>
                    <a:pt x="333" y="185"/>
                    <a:pt x="333" y="181"/>
                  </a:cubicBezTo>
                  <a:cubicBezTo>
                    <a:pt x="333" y="166"/>
                    <a:pt x="333" y="150"/>
                    <a:pt x="333" y="135"/>
                  </a:cubicBezTo>
                  <a:cubicBezTo>
                    <a:pt x="333" y="131"/>
                    <a:pt x="333" y="132"/>
                    <a:pt x="329" y="132"/>
                  </a:cubicBezTo>
                  <a:cubicBezTo>
                    <a:pt x="328" y="132"/>
                    <a:pt x="326" y="132"/>
                    <a:pt x="325" y="132"/>
                  </a:cubicBezTo>
                  <a:cubicBezTo>
                    <a:pt x="324" y="132"/>
                    <a:pt x="324" y="132"/>
                    <a:pt x="324" y="132"/>
                  </a:cubicBezTo>
                  <a:cubicBezTo>
                    <a:pt x="324" y="133"/>
                    <a:pt x="324" y="134"/>
                    <a:pt x="324" y="135"/>
                  </a:cubicBezTo>
                  <a:cubicBezTo>
                    <a:pt x="324" y="143"/>
                    <a:pt x="324" y="151"/>
                    <a:pt x="324" y="160"/>
                  </a:cubicBezTo>
                  <a:cubicBezTo>
                    <a:pt x="324" y="161"/>
                    <a:pt x="324" y="163"/>
                    <a:pt x="324" y="164"/>
                  </a:cubicBezTo>
                  <a:cubicBezTo>
                    <a:pt x="324" y="166"/>
                    <a:pt x="323" y="169"/>
                    <a:pt x="322" y="171"/>
                  </a:cubicBezTo>
                  <a:cubicBezTo>
                    <a:pt x="319" y="178"/>
                    <a:pt x="312" y="180"/>
                    <a:pt x="306" y="178"/>
                  </a:cubicBezTo>
                  <a:cubicBezTo>
                    <a:pt x="303" y="177"/>
                    <a:pt x="301" y="176"/>
                    <a:pt x="300" y="173"/>
                  </a:cubicBezTo>
                  <a:cubicBezTo>
                    <a:pt x="299" y="172"/>
                    <a:pt x="299" y="171"/>
                    <a:pt x="298" y="170"/>
                  </a:cubicBezTo>
                  <a:cubicBezTo>
                    <a:pt x="298" y="167"/>
                    <a:pt x="297" y="165"/>
                    <a:pt x="297" y="162"/>
                  </a:cubicBezTo>
                  <a:cubicBezTo>
                    <a:pt x="297" y="153"/>
                    <a:pt x="297" y="144"/>
                    <a:pt x="297" y="135"/>
                  </a:cubicBezTo>
                  <a:cubicBezTo>
                    <a:pt x="297" y="134"/>
                    <a:pt x="297" y="133"/>
                    <a:pt x="297" y="132"/>
                  </a:cubicBezTo>
                  <a:cubicBezTo>
                    <a:pt x="297" y="132"/>
                    <a:pt x="297" y="132"/>
                    <a:pt x="297" y="132"/>
                  </a:cubicBezTo>
                  <a:cubicBezTo>
                    <a:pt x="296" y="132"/>
                    <a:pt x="296" y="132"/>
                    <a:pt x="296" y="132"/>
                  </a:cubicBezTo>
                  <a:cubicBezTo>
                    <a:pt x="294" y="132"/>
                    <a:pt x="292" y="132"/>
                    <a:pt x="290" y="132"/>
                  </a:cubicBezTo>
                  <a:cubicBezTo>
                    <a:pt x="289" y="132"/>
                    <a:pt x="289" y="132"/>
                    <a:pt x="289" y="133"/>
                  </a:cubicBezTo>
                  <a:cubicBezTo>
                    <a:pt x="289" y="133"/>
                    <a:pt x="289" y="134"/>
                    <a:pt x="289" y="134"/>
                  </a:cubicBezTo>
                  <a:cubicBezTo>
                    <a:pt x="289" y="144"/>
                    <a:pt x="289" y="154"/>
                    <a:pt x="289" y="163"/>
                  </a:cubicBezTo>
                  <a:cubicBezTo>
                    <a:pt x="289" y="165"/>
                    <a:pt x="289" y="166"/>
                    <a:pt x="289" y="168"/>
                  </a:cubicBezTo>
                  <a:cubicBezTo>
                    <a:pt x="289" y="171"/>
                    <a:pt x="290" y="174"/>
                    <a:pt x="291" y="176"/>
                  </a:cubicBezTo>
                  <a:cubicBezTo>
                    <a:pt x="293" y="181"/>
                    <a:pt x="296" y="183"/>
                    <a:pt x="301" y="185"/>
                  </a:cubicBezTo>
                  <a:cubicBezTo>
                    <a:pt x="304" y="186"/>
                    <a:pt x="307" y="186"/>
                    <a:pt x="310" y="186"/>
                  </a:cubicBezTo>
                  <a:cubicBezTo>
                    <a:pt x="315" y="185"/>
                    <a:pt x="319" y="183"/>
                    <a:pt x="322" y="178"/>
                  </a:cubicBezTo>
                  <a:cubicBezTo>
                    <a:pt x="323" y="178"/>
                    <a:pt x="323" y="177"/>
                    <a:pt x="324" y="177"/>
                  </a:cubicBezTo>
                  <a:cubicBezTo>
                    <a:pt x="324" y="178"/>
                    <a:pt x="324" y="178"/>
                    <a:pt x="324" y="179"/>
                  </a:cubicBezTo>
                  <a:close/>
                  <a:moveTo>
                    <a:pt x="550" y="140"/>
                  </a:moveTo>
                  <a:cubicBezTo>
                    <a:pt x="550" y="139"/>
                    <a:pt x="550" y="138"/>
                    <a:pt x="550" y="137"/>
                  </a:cubicBezTo>
                  <a:cubicBezTo>
                    <a:pt x="550" y="136"/>
                    <a:pt x="550" y="134"/>
                    <a:pt x="550" y="133"/>
                  </a:cubicBezTo>
                  <a:cubicBezTo>
                    <a:pt x="550" y="132"/>
                    <a:pt x="550" y="132"/>
                    <a:pt x="549" y="132"/>
                  </a:cubicBezTo>
                  <a:cubicBezTo>
                    <a:pt x="547" y="132"/>
                    <a:pt x="545" y="132"/>
                    <a:pt x="543" y="132"/>
                  </a:cubicBezTo>
                  <a:cubicBezTo>
                    <a:pt x="541" y="132"/>
                    <a:pt x="541" y="132"/>
                    <a:pt x="541" y="133"/>
                  </a:cubicBezTo>
                  <a:cubicBezTo>
                    <a:pt x="541" y="133"/>
                    <a:pt x="541" y="134"/>
                    <a:pt x="541" y="135"/>
                  </a:cubicBezTo>
                  <a:cubicBezTo>
                    <a:pt x="541" y="150"/>
                    <a:pt x="541" y="166"/>
                    <a:pt x="541" y="182"/>
                  </a:cubicBezTo>
                  <a:cubicBezTo>
                    <a:pt x="541" y="182"/>
                    <a:pt x="541" y="183"/>
                    <a:pt x="541" y="183"/>
                  </a:cubicBezTo>
                  <a:cubicBezTo>
                    <a:pt x="541" y="184"/>
                    <a:pt x="542" y="184"/>
                    <a:pt x="542" y="184"/>
                  </a:cubicBezTo>
                  <a:cubicBezTo>
                    <a:pt x="544" y="184"/>
                    <a:pt x="545" y="184"/>
                    <a:pt x="547" y="184"/>
                  </a:cubicBezTo>
                  <a:cubicBezTo>
                    <a:pt x="550" y="184"/>
                    <a:pt x="550" y="185"/>
                    <a:pt x="550" y="181"/>
                  </a:cubicBezTo>
                  <a:cubicBezTo>
                    <a:pt x="550" y="173"/>
                    <a:pt x="550" y="164"/>
                    <a:pt x="550" y="155"/>
                  </a:cubicBezTo>
                  <a:cubicBezTo>
                    <a:pt x="550" y="153"/>
                    <a:pt x="550" y="151"/>
                    <a:pt x="551" y="148"/>
                  </a:cubicBezTo>
                  <a:cubicBezTo>
                    <a:pt x="552" y="143"/>
                    <a:pt x="557" y="137"/>
                    <a:pt x="566" y="138"/>
                  </a:cubicBezTo>
                  <a:cubicBezTo>
                    <a:pt x="570" y="138"/>
                    <a:pt x="573" y="140"/>
                    <a:pt x="575" y="144"/>
                  </a:cubicBezTo>
                  <a:cubicBezTo>
                    <a:pt x="575" y="145"/>
                    <a:pt x="575" y="146"/>
                    <a:pt x="576" y="146"/>
                  </a:cubicBezTo>
                  <a:cubicBezTo>
                    <a:pt x="576" y="149"/>
                    <a:pt x="577" y="152"/>
                    <a:pt x="577" y="155"/>
                  </a:cubicBezTo>
                  <a:cubicBezTo>
                    <a:pt x="577" y="163"/>
                    <a:pt x="577" y="172"/>
                    <a:pt x="577" y="181"/>
                  </a:cubicBezTo>
                  <a:cubicBezTo>
                    <a:pt x="577" y="182"/>
                    <a:pt x="577" y="182"/>
                    <a:pt x="577" y="183"/>
                  </a:cubicBezTo>
                  <a:cubicBezTo>
                    <a:pt x="577" y="184"/>
                    <a:pt x="577" y="184"/>
                    <a:pt x="578" y="184"/>
                  </a:cubicBezTo>
                  <a:cubicBezTo>
                    <a:pt x="579" y="184"/>
                    <a:pt x="581" y="184"/>
                    <a:pt x="583" y="184"/>
                  </a:cubicBezTo>
                  <a:cubicBezTo>
                    <a:pt x="585" y="184"/>
                    <a:pt x="585" y="184"/>
                    <a:pt x="585" y="182"/>
                  </a:cubicBezTo>
                  <a:cubicBezTo>
                    <a:pt x="585" y="172"/>
                    <a:pt x="585" y="162"/>
                    <a:pt x="585" y="151"/>
                  </a:cubicBezTo>
                  <a:cubicBezTo>
                    <a:pt x="585" y="150"/>
                    <a:pt x="585" y="149"/>
                    <a:pt x="585" y="148"/>
                  </a:cubicBezTo>
                  <a:cubicBezTo>
                    <a:pt x="585" y="145"/>
                    <a:pt x="584" y="142"/>
                    <a:pt x="582" y="139"/>
                  </a:cubicBezTo>
                  <a:cubicBezTo>
                    <a:pt x="580" y="135"/>
                    <a:pt x="577" y="132"/>
                    <a:pt x="572" y="131"/>
                  </a:cubicBezTo>
                  <a:cubicBezTo>
                    <a:pt x="570" y="130"/>
                    <a:pt x="568" y="130"/>
                    <a:pt x="566" y="130"/>
                  </a:cubicBezTo>
                  <a:cubicBezTo>
                    <a:pt x="560" y="131"/>
                    <a:pt x="555" y="133"/>
                    <a:pt x="552" y="138"/>
                  </a:cubicBezTo>
                  <a:cubicBezTo>
                    <a:pt x="551" y="138"/>
                    <a:pt x="551" y="139"/>
                    <a:pt x="550" y="140"/>
                  </a:cubicBezTo>
                  <a:cubicBezTo>
                    <a:pt x="550" y="140"/>
                    <a:pt x="550" y="140"/>
                    <a:pt x="550" y="140"/>
                  </a:cubicBezTo>
                  <a:close/>
                  <a:moveTo>
                    <a:pt x="206" y="107"/>
                  </a:moveTo>
                  <a:cubicBezTo>
                    <a:pt x="206" y="106"/>
                    <a:pt x="206" y="106"/>
                    <a:pt x="205" y="106"/>
                  </a:cubicBezTo>
                  <a:cubicBezTo>
                    <a:pt x="203" y="105"/>
                    <a:pt x="201" y="105"/>
                    <a:pt x="199" y="105"/>
                  </a:cubicBezTo>
                  <a:cubicBezTo>
                    <a:pt x="192" y="106"/>
                    <a:pt x="188" y="109"/>
                    <a:pt x="185" y="115"/>
                  </a:cubicBezTo>
                  <a:cubicBezTo>
                    <a:pt x="184" y="117"/>
                    <a:pt x="183" y="120"/>
                    <a:pt x="183" y="122"/>
                  </a:cubicBezTo>
                  <a:cubicBezTo>
                    <a:pt x="183" y="124"/>
                    <a:pt x="183" y="126"/>
                    <a:pt x="183" y="128"/>
                  </a:cubicBezTo>
                  <a:cubicBezTo>
                    <a:pt x="183" y="129"/>
                    <a:pt x="183" y="130"/>
                    <a:pt x="183" y="130"/>
                  </a:cubicBezTo>
                  <a:cubicBezTo>
                    <a:pt x="183" y="132"/>
                    <a:pt x="183" y="132"/>
                    <a:pt x="182" y="132"/>
                  </a:cubicBezTo>
                  <a:cubicBezTo>
                    <a:pt x="181" y="132"/>
                    <a:pt x="181" y="132"/>
                    <a:pt x="181" y="132"/>
                  </a:cubicBezTo>
                  <a:cubicBezTo>
                    <a:pt x="179" y="132"/>
                    <a:pt x="177" y="132"/>
                    <a:pt x="175" y="132"/>
                  </a:cubicBezTo>
                  <a:cubicBezTo>
                    <a:pt x="175" y="132"/>
                    <a:pt x="174" y="132"/>
                    <a:pt x="174" y="133"/>
                  </a:cubicBezTo>
                  <a:cubicBezTo>
                    <a:pt x="174" y="134"/>
                    <a:pt x="174" y="136"/>
                    <a:pt x="174" y="138"/>
                  </a:cubicBezTo>
                  <a:cubicBezTo>
                    <a:pt x="174" y="139"/>
                    <a:pt x="175" y="139"/>
                    <a:pt x="175" y="139"/>
                  </a:cubicBezTo>
                  <a:cubicBezTo>
                    <a:pt x="175" y="139"/>
                    <a:pt x="176" y="139"/>
                    <a:pt x="176" y="139"/>
                  </a:cubicBezTo>
                  <a:cubicBezTo>
                    <a:pt x="178" y="139"/>
                    <a:pt x="180" y="139"/>
                    <a:pt x="182" y="139"/>
                  </a:cubicBezTo>
                  <a:cubicBezTo>
                    <a:pt x="183" y="139"/>
                    <a:pt x="183" y="139"/>
                    <a:pt x="183" y="140"/>
                  </a:cubicBezTo>
                  <a:cubicBezTo>
                    <a:pt x="183" y="141"/>
                    <a:pt x="183" y="141"/>
                    <a:pt x="183" y="142"/>
                  </a:cubicBezTo>
                  <a:cubicBezTo>
                    <a:pt x="183" y="155"/>
                    <a:pt x="183" y="168"/>
                    <a:pt x="183" y="181"/>
                  </a:cubicBezTo>
                  <a:cubicBezTo>
                    <a:pt x="183" y="182"/>
                    <a:pt x="183" y="183"/>
                    <a:pt x="183" y="183"/>
                  </a:cubicBezTo>
                  <a:cubicBezTo>
                    <a:pt x="183" y="184"/>
                    <a:pt x="183" y="184"/>
                    <a:pt x="184" y="184"/>
                  </a:cubicBezTo>
                  <a:cubicBezTo>
                    <a:pt x="186" y="184"/>
                    <a:pt x="188" y="184"/>
                    <a:pt x="191" y="184"/>
                  </a:cubicBezTo>
                  <a:cubicBezTo>
                    <a:pt x="191" y="184"/>
                    <a:pt x="192" y="184"/>
                    <a:pt x="192" y="184"/>
                  </a:cubicBezTo>
                  <a:cubicBezTo>
                    <a:pt x="192" y="183"/>
                    <a:pt x="192" y="182"/>
                    <a:pt x="192" y="181"/>
                  </a:cubicBezTo>
                  <a:cubicBezTo>
                    <a:pt x="192" y="168"/>
                    <a:pt x="192" y="155"/>
                    <a:pt x="192" y="142"/>
                  </a:cubicBezTo>
                  <a:cubicBezTo>
                    <a:pt x="192" y="141"/>
                    <a:pt x="192" y="141"/>
                    <a:pt x="192" y="140"/>
                  </a:cubicBezTo>
                  <a:cubicBezTo>
                    <a:pt x="192" y="139"/>
                    <a:pt x="192" y="139"/>
                    <a:pt x="193" y="139"/>
                  </a:cubicBezTo>
                  <a:cubicBezTo>
                    <a:pt x="195" y="139"/>
                    <a:pt x="198" y="139"/>
                    <a:pt x="200" y="139"/>
                  </a:cubicBezTo>
                  <a:cubicBezTo>
                    <a:pt x="201" y="139"/>
                    <a:pt x="203" y="139"/>
                    <a:pt x="204" y="139"/>
                  </a:cubicBezTo>
                  <a:cubicBezTo>
                    <a:pt x="204" y="137"/>
                    <a:pt x="204" y="136"/>
                    <a:pt x="204" y="135"/>
                  </a:cubicBezTo>
                  <a:cubicBezTo>
                    <a:pt x="204" y="131"/>
                    <a:pt x="204" y="132"/>
                    <a:pt x="201" y="132"/>
                  </a:cubicBezTo>
                  <a:cubicBezTo>
                    <a:pt x="198" y="132"/>
                    <a:pt x="195" y="132"/>
                    <a:pt x="193" y="132"/>
                  </a:cubicBezTo>
                  <a:cubicBezTo>
                    <a:pt x="192" y="132"/>
                    <a:pt x="192" y="131"/>
                    <a:pt x="192" y="131"/>
                  </a:cubicBezTo>
                  <a:cubicBezTo>
                    <a:pt x="192" y="128"/>
                    <a:pt x="192" y="125"/>
                    <a:pt x="192" y="122"/>
                  </a:cubicBezTo>
                  <a:cubicBezTo>
                    <a:pt x="192" y="121"/>
                    <a:pt x="192" y="120"/>
                    <a:pt x="192" y="118"/>
                  </a:cubicBezTo>
                  <a:cubicBezTo>
                    <a:pt x="194" y="115"/>
                    <a:pt x="196" y="113"/>
                    <a:pt x="200" y="112"/>
                  </a:cubicBezTo>
                  <a:cubicBezTo>
                    <a:pt x="202" y="112"/>
                    <a:pt x="204" y="113"/>
                    <a:pt x="206" y="114"/>
                  </a:cubicBezTo>
                  <a:cubicBezTo>
                    <a:pt x="206" y="111"/>
                    <a:pt x="206" y="109"/>
                    <a:pt x="206" y="107"/>
                  </a:cubicBezTo>
                  <a:close/>
                  <a:moveTo>
                    <a:pt x="522" y="69"/>
                  </a:moveTo>
                  <a:cubicBezTo>
                    <a:pt x="522" y="71"/>
                    <a:pt x="522" y="74"/>
                    <a:pt x="522" y="76"/>
                  </a:cubicBezTo>
                  <a:cubicBezTo>
                    <a:pt x="522" y="77"/>
                    <a:pt x="522" y="77"/>
                    <a:pt x="523" y="78"/>
                  </a:cubicBezTo>
                  <a:cubicBezTo>
                    <a:pt x="523" y="78"/>
                    <a:pt x="524" y="78"/>
                    <a:pt x="525" y="79"/>
                  </a:cubicBezTo>
                  <a:cubicBezTo>
                    <a:pt x="530" y="80"/>
                    <a:pt x="534" y="81"/>
                    <a:pt x="539" y="80"/>
                  </a:cubicBezTo>
                  <a:cubicBezTo>
                    <a:pt x="541" y="80"/>
                    <a:pt x="543" y="79"/>
                    <a:pt x="545" y="78"/>
                  </a:cubicBezTo>
                  <a:cubicBezTo>
                    <a:pt x="551" y="75"/>
                    <a:pt x="554" y="70"/>
                    <a:pt x="554" y="64"/>
                  </a:cubicBezTo>
                  <a:cubicBezTo>
                    <a:pt x="554" y="60"/>
                    <a:pt x="552" y="57"/>
                    <a:pt x="550" y="55"/>
                  </a:cubicBezTo>
                  <a:cubicBezTo>
                    <a:pt x="549" y="54"/>
                    <a:pt x="547" y="53"/>
                    <a:pt x="546" y="52"/>
                  </a:cubicBezTo>
                  <a:cubicBezTo>
                    <a:pt x="544" y="51"/>
                    <a:pt x="542" y="50"/>
                    <a:pt x="540" y="49"/>
                  </a:cubicBezTo>
                  <a:cubicBezTo>
                    <a:pt x="537" y="48"/>
                    <a:pt x="535" y="47"/>
                    <a:pt x="533" y="46"/>
                  </a:cubicBezTo>
                  <a:cubicBezTo>
                    <a:pt x="530" y="44"/>
                    <a:pt x="529" y="37"/>
                    <a:pt x="534" y="34"/>
                  </a:cubicBezTo>
                  <a:cubicBezTo>
                    <a:pt x="535" y="33"/>
                    <a:pt x="535" y="33"/>
                    <a:pt x="536" y="33"/>
                  </a:cubicBezTo>
                  <a:cubicBezTo>
                    <a:pt x="540" y="32"/>
                    <a:pt x="544" y="33"/>
                    <a:pt x="548" y="34"/>
                  </a:cubicBezTo>
                  <a:cubicBezTo>
                    <a:pt x="549" y="34"/>
                    <a:pt x="550" y="35"/>
                    <a:pt x="551" y="36"/>
                  </a:cubicBezTo>
                  <a:cubicBezTo>
                    <a:pt x="552" y="34"/>
                    <a:pt x="551" y="33"/>
                    <a:pt x="552" y="32"/>
                  </a:cubicBezTo>
                  <a:cubicBezTo>
                    <a:pt x="552" y="31"/>
                    <a:pt x="551" y="30"/>
                    <a:pt x="552" y="29"/>
                  </a:cubicBezTo>
                  <a:cubicBezTo>
                    <a:pt x="552" y="28"/>
                    <a:pt x="551" y="27"/>
                    <a:pt x="550" y="27"/>
                  </a:cubicBezTo>
                  <a:cubicBezTo>
                    <a:pt x="544" y="25"/>
                    <a:pt x="539" y="24"/>
                    <a:pt x="533" y="26"/>
                  </a:cubicBezTo>
                  <a:cubicBezTo>
                    <a:pt x="530" y="27"/>
                    <a:pt x="527" y="29"/>
                    <a:pt x="525" y="31"/>
                  </a:cubicBezTo>
                  <a:cubicBezTo>
                    <a:pt x="520" y="37"/>
                    <a:pt x="520" y="47"/>
                    <a:pt x="527" y="52"/>
                  </a:cubicBezTo>
                  <a:cubicBezTo>
                    <a:pt x="529" y="53"/>
                    <a:pt x="532" y="55"/>
                    <a:pt x="534" y="56"/>
                  </a:cubicBezTo>
                  <a:cubicBezTo>
                    <a:pt x="536" y="57"/>
                    <a:pt x="538" y="58"/>
                    <a:pt x="540" y="59"/>
                  </a:cubicBezTo>
                  <a:cubicBezTo>
                    <a:pt x="541" y="60"/>
                    <a:pt x="542" y="60"/>
                    <a:pt x="543" y="61"/>
                  </a:cubicBezTo>
                  <a:cubicBezTo>
                    <a:pt x="546" y="63"/>
                    <a:pt x="546" y="70"/>
                    <a:pt x="541" y="72"/>
                  </a:cubicBezTo>
                  <a:cubicBezTo>
                    <a:pt x="541" y="72"/>
                    <a:pt x="540" y="73"/>
                    <a:pt x="539" y="73"/>
                  </a:cubicBezTo>
                  <a:cubicBezTo>
                    <a:pt x="534" y="74"/>
                    <a:pt x="529" y="73"/>
                    <a:pt x="524" y="70"/>
                  </a:cubicBezTo>
                  <a:cubicBezTo>
                    <a:pt x="523" y="69"/>
                    <a:pt x="523" y="69"/>
                    <a:pt x="522" y="68"/>
                  </a:cubicBezTo>
                  <a:cubicBezTo>
                    <a:pt x="522" y="69"/>
                    <a:pt x="522" y="69"/>
                    <a:pt x="522" y="69"/>
                  </a:cubicBezTo>
                  <a:close/>
                  <a:moveTo>
                    <a:pt x="249" y="76"/>
                  </a:moveTo>
                  <a:cubicBezTo>
                    <a:pt x="249" y="77"/>
                    <a:pt x="249" y="77"/>
                    <a:pt x="250" y="78"/>
                  </a:cubicBezTo>
                  <a:cubicBezTo>
                    <a:pt x="250" y="78"/>
                    <a:pt x="251" y="78"/>
                    <a:pt x="252" y="79"/>
                  </a:cubicBezTo>
                  <a:cubicBezTo>
                    <a:pt x="256" y="80"/>
                    <a:pt x="261" y="81"/>
                    <a:pt x="266" y="80"/>
                  </a:cubicBezTo>
                  <a:cubicBezTo>
                    <a:pt x="269" y="80"/>
                    <a:pt x="272" y="79"/>
                    <a:pt x="274" y="77"/>
                  </a:cubicBezTo>
                  <a:cubicBezTo>
                    <a:pt x="278" y="75"/>
                    <a:pt x="280" y="72"/>
                    <a:pt x="281" y="68"/>
                  </a:cubicBezTo>
                  <a:cubicBezTo>
                    <a:pt x="282" y="62"/>
                    <a:pt x="280" y="57"/>
                    <a:pt x="275" y="54"/>
                  </a:cubicBezTo>
                  <a:cubicBezTo>
                    <a:pt x="274" y="53"/>
                    <a:pt x="273" y="52"/>
                    <a:pt x="272" y="52"/>
                  </a:cubicBezTo>
                  <a:cubicBezTo>
                    <a:pt x="270" y="51"/>
                    <a:pt x="268" y="50"/>
                    <a:pt x="267" y="49"/>
                  </a:cubicBezTo>
                  <a:cubicBezTo>
                    <a:pt x="264" y="48"/>
                    <a:pt x="262" y="47"/>
                    <a:pt x="260" y="46"/>
                  </a:cubicBezTo>
                  <a:cubicBezTo>
                    <a:pt x="257" y="43"/>
                    <a:pt x="256" y="37"/>
                    <a:pt x="260" y="34"/>
                  </a:cubicBezTo>
                  <a:cubicBezTo>
                    <a:pt x="261" y="33"/>
                    <a:pt x="262" y="33"/>
                    <a:pt x="263" y="33"/>
                  </a:cubicBezTo>
                  <a:cubicBezTo>
                    <a:pt x="265" y="32"/>
                    <a:pt x="267" y="32"/>
                    <a:pt x="269" y="33"/>
                  </a:cubicBezTo>
                  <a:cubicBezTo>
                    <a:pt x="272" y="33"/>
                    <a:pt x="275" y="34"/>
                    <a:pt x="277" y="35"/>
                  </a:cubicBezTo>
                  <a:cubicBezTo>
                    <a:pt x="278" y="36"/>
                    <a:pt x="278" y="36"/>
                    <a:pt x="278" y="35"/>
                  </a:cubicBezTo>
                  <a:cubicBezTo>
                    <a:pt x="278" y="33"/>
                    <a:pt x="278" y="31"/>
                    <a:pt x="278" y="29"/>
                  </a:cubicBezTo>
                  <a:cubicBezTo>
                    <a:pt x="279" y="28"/>
                    <a:pt x="278" y="27"/>
                    <a:pt x="277" y="27"/>
                  </a:cubicBezTo>
                  <a:cubicBezTo>
                    <a:pt x="272" y="25"/>
                    <a:pt x="268" y="25"/>
                    <a:pt x="263" y="25"/>
                  </a:cubicBezTo>
                  <a:cubicBezTo>
                    <a:pt x="260" y="26"/>
                    <a:pt x="258" y="27"/>
                    <a:pt x="256" y="28"/>
                  </a:cubicBezTo>
                  <a:cubicBezTo>
                    <a:pt x="251" y="31"/>
                    <a:pt x="248" y="36"/>
                    <a:pt x="249" y="42"/>
                  </a:cubicBezTo>
                  <a:cubicBezTo>
                    <a:pt x="249" y="46"/>
                    <a:pt x="250" y="49"/>
                    <a:pt x="254" y="52"/>
                  </a:cubicBezTo>
                  <a:cubicBezTo>
                    <a:pt x="256" y="53"/>
                    <a:pt x="258" y="54"/>
                    <a:pt x="260" y="55"/>
                  </a:cubicBezTo>
                  <a:cubicBezTo>
                    <a:pt x="262" y="56"/>
                    <a:pt x="264" y="57"/>
                    <a:pt x="267" y="59"/>
                  </a:cubicBezTo>
                  <a:cubicBezTo>
                    <a:pt x="268" y="59"/>
                    <a:pt x="269" y="60"/>
                    <a:pt x="270" y="60"/>
                  </a:cubicBezTo>
                  <a:cubicBezTo>
                    <a:pt x="272" y="62"/>
                    <a:pt x="272" y="65"/>
                    <a:pt x="272" y="67"/>
                  </a:cubicBezTo>
                  <a:cubicBezTo>
                    <a:pt x="272" y="70"/>
                    <a:pt x="270" y="71"/>
                    <a:pt x="268" y="72"/>
                  </a:cubicBezTo>
                  <a:cubicBezTo>
                    <a:pt x="267" y="72"/>
                    <a:pt x="267" y="73"/>
                    <a:pt x="266" y="73"/>
                  </a:cubicBezTo>
                  <a:cubicBezTo>
                    <a:pt x="261" y="74"/>
                    <a:pt x="256" y="73"/>
                    <a:pt x="251" y="70"/>
                  </a:cubicBezTo>
                  <a:cubicBezTo>
                    <a:pt x="250" y="70"/>
                    <a:pt x="250" y="69"/>
                    <a:pt x="249" y="68"/>
                  </a:cubicBezTo>
                  <a:cubicBezTo>
                    <a:pt x="249" y="71"/>
                    <a:pt x="249" y="74"/>
                    <a:pt x="249" y="76"/>
                  </a:cubicBezTo>
                  <a:close/>
                  <a:moveTo>
                    <a:pt x="934" y="11"/>
                  </a:moveTo>
                  <a:cubicBezTo>
                    <a:pt x="932" y="12"/>
                    <a:pt x="930" y="13"/>
                    <a:pt x="927" y="13"/>
                  </a:cubicBezTo>
                  <a:cubicBezTo>
                    <a:pt x="927" y="13"/>
                    <a:pt x="926" y="14"/>
                    <a:pt x="926" y="15"/>
                  </a:cubicBezTo>
                  <a:cubicBezTo>
                    <a:pt x="926" y="18"/>
                    <a:pt x="926" y="20"/>
                    <a:pt x="926" y="23"/>
                  </a:cubicBezTo>
                  <a:cubicBezTo>
                    <a:pt x="926" y="27"/>
                    <a:pt x="927" y="26"/>
                    <a:pt x="923" y="26"/>
                  </a:cubicBezTo>
                  <a:cubicBezTo>
                    <a:pt x="921" y="26"/>
                    <a:pt x="919" y="26"/>
                    <a:pt x="917" y="27"/>
                  </a:cubicBezTo>
                  <a:cubicBezTo>
                    <a:pt x="917" y="29"/>
                    <a:pt x="917" y="30"/>
                    <a:pt x="917" y="32"/>
                  </a:cubicBezTo>
                  <a:cubicBezTo>
                    <a:pt x="917" y="33"/>
                    <a:pt x="917" y="34"/>
                    <a:pt x="918" y="34"/>
                  </a:cubicBezTo>
                  <a:cubicBezTo>
                    <a:pt x="921" y="34"/>
                    <a:pt x="923" y="34"/>
                    <a:pt x="925" y="34"/>
                  </a:cubicBezTo>
                  <a:cubicBezTo>
                    <a:pt x="926" y="34"/>
                    <a:pt x="926" y="34"/>
                    <a:pt x="926" y="35"/>
                  </a:cubicBezTo>
                  <a:cubicBezTo>
                    <a:pt x="926" y="35"/>
                    <a:pt x="926" y="36"/>
                    <a:pt x="926" y="37"/>
                  </a:cubicBezTo>
                  <a:cubicBezTo>
                    <a:pt x="926" y="46"/>
                    <a:pt x="926" y="55"/>
                    <a:pt x="926" y="64"/>
                  </a:cubicBezTo>
                  <a:cubicBezTo>
                    <a:pt x="926" y="66"/>
                    <a:pt x="926" y="68"/>
                    <a:pt x="927" y="70"/>
                  </a:cubicBezTo>
                  <a:cubicBezTo>
                    <a:pt x="928" y="74"/>
                    <a:pt x="930" y="78"/>
                    <a:pt x="935" y="79"/>
                  </a:cubicBezTo>
                  <a:cubicBezTo>
                    <a:pt x="938" y="81"/>
                    <a:pt x="942" y="81"/>
                    <a:pt x="946" y="79"/>
                  </a:cubicBezTo>
                  <a:cubicBezTo>
                    <a:pt x="947" y="79"/>
                    <a:pt x="947" y="79"/>
                    <a:pt x="947" y="79"/>
                  </a:cubicBezTo>
                  <a:cubicBezTo>
                    <a:pt x="948" y="79"/>
                    <a:pt x="948" y="78"/>
                    <a:pt x="948" y="78"/>
                  </a:cubicBezTo>
                  <a:cubicBezTo>
                    <a:pt x="948" y="76"/>
                    <a:pt x="948" y="74"/>
                    <a:pt x="948" y="72"/>
                  </a:cubicBezTo>
                  <a:cubicBezTo>
                    <a:pt x="947" y="72"/>
                    <a:pt x="947" y="72"/>
                    <a:pt x="946" y="72"/>
                  </a:cubicBezTo>
                  <a:cubicBezTo>
                    <a:pt x="944" y="73"/>
                    <a:pt x="942" y="73"/>
                    <a:pt x="940" y="73"/>
                  </a:cubicBezTo>
                  <a:cubicBezTo>
                    <a:pt x="938" y="72"/>
                    <a:pt x="936" y="71"/>
                    <a:pt x="935" y="68"/>
                  </a:cubicBezTo>
                  <a:cubicBezTo>
                    <a:pt x="935" y="66"/>
                    <a:pt x="935" y="64"/>
                    <a:pt x="935" y="62"/>
                  </a:cubicBezTo>
                  <a:cubicBezTo>
                    <a:pt x="935" y="54"/>
                    <a:pt x="935" y="45"/>
                    <a:pt x="935" y="36"/>
                  </a:cubicBezTo>
                  <a:cubicBezTo>
                    <a:pt x="935" y="33"/>
                    <a:pt x="935" y="34"/>
                    <a:pt x="938" y="34"/>
                  </a:cubicBezTo>
                  <a:cubicBezTo>
                    <a:pt x="941" y="34"/>
                    <a:pt x="944" y="34"/>
                    <a:pt x="947" y="34"/>
                  </a:cubicBezTo>
                  <a:cubicBezTo>
                    <a:pt x="948" y="34"/>
                    <a:pt x="948" y="33"/>
                    <a:pt x="948" y="32"/>
                  </a:cubicBezTo>
                  <a:cubicBezTo>
                    <a:pt x="948" y="31"/>
                    <a:pt x="948" y="29"/>
                    <a:pt x="948" y="28"/>
                  </a:cubicBezTo>
                  <a:cubicBezTo>
                    <a:pt x="948" y="27"/>
                    <a:pt x="948" y="26"/>
                    <a:pt x="947" y="26"/>
                  </a:cubicBezTo>
                  <a:cubicBezTo>
                    <a:pt x="944" y="26"/>
                    <a:pt x="940" y="26"/>
                    <a:pt x="937" y="26"/>
                  </a:cubicBezTo>
                  <a:cubicBezTo>
                    <a:pt x="937" y="26"/>
                    <a:pt x="936" y="26"/>
                    <a:pt x="935" y="26"/>
                  </a:cubicBezTo>
                  <a:cubicBezTo>
                    <a:pt x="935" y="26"/>
                    <a:pt x="935" y="26"/>
                    <a:pt x="935" y="26"/>
                  </a:cubicBezTo>
                  <a:cubicBezTo>
                    <a:pt x="935" y="25"/>
                    <a:pt x="935" y="24"/>
                    <a:pt x="935" y="23"/>
                  </a:cubicBezTo>
                  <a:cubicBezTo>
                    <a:pt x="935" y="19"/>
                    <a:pt x="935" y="15"/>
                    <a:pt x="935" y="11"/>
                  </a:cubicBezTo>
                  <a:cubicBezTo>
                    <a:pt x="934" y="11"/>
                    <a:pt x="934" y="11"/>
                    <a:pt x="934" y="11"/>
                  </a:cubicBezTo>
                  <a:close/>
                  <a:moveTo>
                    <a:pt x="452" y="177"/>
                  </a:moveTo>
                  <a:cubicBezTo>
                    <a:pt x="450" y="178"/>
                    <a:pt x="448" y="178"/>
                    <a:pt x="446" y="178"/>
                  </a:cubicBezTo>
                  <a:cubicBezTo>
                    <a:pt x="444" y="178"/>
                    <a:pt x="442" y="176"/>
                    <a:pt x="441" y="174"/>
                  </a:cubicBezTo>
                  <a:cubicBezTo>
                    <a:pt x="441" y="174"/>
                    <a:pt x="441" y="173"/>
                    <a:pt x="441" y="172"/>
                  </a:cubicBezTo>
                  <a:cubicBezTo>
                    <a:pt x="441" y="170"/>
                    <a:pt x="441" y="169"/>
                    <a:pt x="441" y="167"/>
                  </a:cubicBezTo>
                  <a:cubicBezTo>
                    <a:pt x="441" y="159"/>
                    <a:pt x="441" y="150"/>
                    <a:pt x="441" y="142"/>
                  </a:cubicBezTo>
                  <a:cubicBezTo>
                    <a:pt x="441" y="141"/>
                    <a:pt x="441" y="140"/>
                    <a:pt x="441" y="140"/>
                  </a:cubicBezTo>
                  <a:cubicBezTo>
                    <a:pt x="441" y="139"/>
                    <a:pt x="441" y="139"/>
                    <a:pt x="442" y="139"/>
                  </a:cubicBezTo>
                  <a:cubicBezTo>
                    <a:pt x="444" y="139"/>
                    <a:pt x="446" y="139"/>
                    <a:pt x="448" y="139"/>
                  </a:cubicBezTo>
                  <a:cubicBezTo>
                    <a:pt x="450" y="139"/>
                    <a:pt x="452" y="139"/>
                    <a:pt x="454" y="139"/>
                  </a:cubicBezTo>
                  <a:cubicBezTo>
                    <a:pt x="454" y="137"/>
                    <a:pt x="454" y="135"/>
                    <a:pt x="454" y="133"/>
                  </a:cubicBezTo>
                  <a:cubicBezTo>
                    <a:pt x="454" y="132"/>
                    <a:pt x="454" y="132"/>
                    <a:pt x="452" y="132"/>
                  </a:cubicBezTo>
                  <a:cubicBezTo>
                    <a:pt x="449" y="132"/>
                    <a:pt x="446" y="132"/>
                    <a:pt x="443" y="132"/>
                  </a:cubicBezTo>
                  <a:cubicBezTo>
                    <a:pt x="442" y="132"/>
                    <a:pt x="442" y="132"/>
                    <a:pt x="441" y="132"/>
                  </a:cubicBezTo>
                  <a:cubicBezTo>
                    <a:pt x="441" y="132"/>
                    <a:pt x="441" y="131"/>
                    <a:pt x="441" y="131"/>
                  </a:cubicBezTo>
                  <a:cubicBezTo>
                    <a:pt x="441" y="131"/>
                    <a:pt x="441" y="130"/>
                    <a:pt x="441" y="129"/>
                  </a:cubicBezTo>
                  <a:cubicBezTo>
                    <a:pt x="441" y="126"/>
                    <a:pt x="441" y="122"/>
                    <a:pt x="441" y="119"/>
                  </a:cubicBezTo>
                  <a:cubicBezTo>
                    <a:pt x="441" y="118"/>
                    <a:pt x="441" y="117"/>
                    <a:pt x="440" y="116"/>
                  </a:cubicBezTo>
                  <a:cubicBezTo>
                    <a:pt x="438" y="117"/>
                    <a:pt x="436" y="118"/>
                    <a:pt x="433" y="118"/>
                  </a:cubicBezTo>
                  <a:cubicBezTo>
                    <a:pt x="432" y="119"/>
                    <a:pt x="432" y="119"/>
                    <a:pt x="432" y="120"/>
                  </a:cubicBezTo>
                  <a:cubicBezTo>
                    <a:pt x="432" y="124"/>
                    <a:pt x="432" y="127"/>
                    <a:pt x="432" y="130"/>
                  </a:cubicBezTo>
                  <a:cubicBezTo>
                    <a:pt x="432" y="132"/>
                    <a:pt x="432" y="132"/>
                    <a:pt x="431" y="132"/>
                  </a:cubicBezTo>
                  <a:cubicBezTo>
                    <a:pt x="429" y="132"/>
                    <a:pt x="426" y="132"/>
                    <a:pt x="424" y="132"/>
                  </a:cubicBezTo>
                  <a:cubicBezTo>
                    <a:pt x="423" y="132"/>
                    <a:pt x="423" y="132"/>
                    <a:pt x="423" y="133"/>
                  </a:cubicBezTo>
                  <a:cubicBezTo>
                    <a:pt x="423" y="135"/>
                    <a:pt x="423" y="136"/>
                    <a:pt x="423" y="138"/>
                  </a:cubicBezTo>
                  <a:cubicBezTo>
                    <a:pt x="423" y="139"/>
                    <a:pt x="423" y="139"/>
                    <a:pt x="424" y="139"/>
                  </a:cubicBezTo>
                  <a:cubicBezTo>
                    <a:pt x="426" y="139"/>
                    <a:pt x="428" y="139"/>
                    <a:pt x="430" y="139"/>
                  </a:cubicBezTo>
                  <a:cubicBezTo>
                    <a:pt x="432" y="139"/>
                    <a:pt x="432" y="139"/>
                    <a:pt x="432" y="141"/>
                  </a:cubicBezTo>
                  <a:cubicBezTo>
                    <a:pt x="432" y="151"/>
                    <a:pt x="432" y="160"/>
                    <a:pt x="432" y="169"/>
                  </a:cubicBezTo>
                  <a:cubicBezTo>
                    <a:pt x="432" y="171"/>
                    <a:pt x="432" y="173"/>
                    <a:pt x="432" y="175"/>
                  </a:cubicBezTo>
                  <a:cubicBezTo>
                    <a:pt x="434" y="181"/>
                    <a:pt x="437" y="185"/>
                    <a:pt x="444" y="185"/>
                  </a:cubicBezTo>
                  <a:cubicBezTo>
                    <a:pt x="447" y="186"/>
                    <a:pt x="450" y="186"/>
                    <a:pt x="453" y="184"/>
                  </a:cubicBezTo>
                  <a:cubicBezTo>
                    <a:pt x="454" y="184"/>
                    <a:pt x="454" y="184"/>
                    <a:pt x="454" y="183"/>
                  </a:cubicBezTo>
                  <a:cubicBezTo>
                    <a:pt x="454" y="181"/>
                    <a:pt x="454" y="179"/>
                    <a:pt x="454" y="177"/>
                  </a:cubicBezTo>
                  <a:cubicBezTo>
                    <a:pt x="453" y="177"/>
                    <a:pt x="453" y="177"/>
                    <a:pt x="452" y="177"/>
                  </a:cubicBezTo>
                  <a:close/>
                  <a:moveTo>
                    <a:pt x="151" y="70"/>
                  </a:moveTo>
                  <a:cubicBezTo>
                    <a:pt x="149" y="72"/>
                    <a:pt x="146" y="73"/>
                    <a:pt x="143" y="73"/>
                  </a:cubicBezTo>
                  <a:cubicBezTo>
                    <a:pt x="134" y="74"/>
                    <a:pt x="126" y="70"/>
                    <a:pt x="123" y="60"/>
                  </a:cubicBezTo>
                  <a:cubicBezTo>
                    <a:pt x="122" y="57"/>
                    <a:pt x="122" y="53"/>
                    <a:pt x="123" y="49"/>
                  </a:cubicBezTo>
                  <a:cubicBezTo>
                    <a:pt x="123" y="45"/>
                    <a:pt x="125" y="41"/>
                    <a:pt x="128" y="38"/>
                  </a:cubicBezTo>
                  <a:cubicBezTo>
                    <a:pt x="130" y="35"/>
                    <a:pt x="133" y="33"/>
                    <a:pt x="137" y="33"/>
                  </a:cubicBezTo>
                  <a:cubicBezTo>
                    <a:pt x="142" y="32"/>
                    <a:pt x="146" y="33"/>
                    <a:pt x="151" y="35"/>
                  </a:cubicBezTo>
                  <a:cubicBezTo>
                    <a:pt x="151" y="35"/>
                    <a:pt x="152" y="36"/>
                    <a:pt x="153" y="36"/>
                  </a:cubicBezTo>
                  <a:cubicBezTo>
                    <a:pt x="153" y="36"/>
                    <a:pt x="153" y="35"/>
                    <a:pt x="153" y="35"/>
                  </a:cubicBezTo>
                  <a:cubicBezTo>
                    <a:pt x="153" y="33"/>
                    <a:pt x="153" y="31"/>
                    <a:pt x="153" y="30"/>
                  </a:cubicBezTo>
                  <a:cubicBezTo>
                    <a:pt x="154" y="28"/>
                    <a:pt x="153" y="27"/>
                    <a:pt x="152" y="27"/>
                  </a:cubicBezTo>
                  <a:cubicBezTo>
                    <a:pt x="151" y="27"/>
                    <a:pt x="150" y="26"/>
                    <a:pt x="150" y="26"/>
                  </a:cubicBezTo>
                  <a:cubicBezTo>
                    <a:pt x="145" y="25"/>
                    <a:pt x="140" y="25"/>
                    <a:pt x="135" y="26"/>
                  </a:cubicBezTo>
                  <a:cubicBezTo>
                    <a:pt x="126" y="27"/>
                    <a:pt x="120" y="33"/>
                    <a:pt x="116" y="41"/>
                  </a:cubicBezTo>
                  <a:cubicBezTo>
                    <a:pt x="113" y="48"/>
                    <a:pt x="113" y="55"/>
                    <a:pt x="115" y="63"/>
                  </a:cubicBezTo>
                  <a:cubicBezTo>
                    <a:pt x="117" y="71"/>
                    <a:pt x="122" y="76"/>
                    <a:pt x="130" y="79"/>
                  </a:cubicBezTo>
                  <a:cubicBezTo>
                    <a:pt x="135" y="81"/>
                    <a:pt x="139" y="81"/>
                    <a:pt x="143" y="80"/>
                  </a:cubicBezTo>
                  <a:cubicBezTo>
                    <a:pt x="146" y="80"/>
                    <a:pt x="149" y="79"/>
                    <a:pt x="152" y="77"/>
                  </a:cubicBezTo>
                  <a:cubicBezTo>
                    <a:pt x="153" y="77"/>
                    <a:pt x="153" y="77"/>
                    <a:pt x="153" y="76"/>
                  </a:cubicBezTo>
                  <a:cubicBezTo>
                    <a:pt x="153" y="74"/>
                    <a:pt x="153" y="71"/>
                    <a:pt x="153" y="69"/>
                  </a:cubicBezTo>
                  <a:cubicBezTo>
                    <a:pt x="152" y="69"/>
                    <a:pt x="152" y="70"/>
                    <a:pt x="151" y="70"/>
                  </a:cubicBezTo>
                  <a:close/>
                  <a:moveTo>
                    <a:pt x="586" y="72"/>
                  </a:moveTo>
                  <a:cubicBezTo>
                    <a:pt x="584" y="73"/>
                    <a:pt x="582" y="73"/>
                    <a:pt x="580" y="73"/>
                  </a:cubicBezTo>
                  <a:cubicBezTo>
                    <a:pt x="577" y="72"/>
                    <a:pt x="575" y="71"/>
                    <a:pt x="575" y="68"/>
                  </a:cubicBezTo>
                  <a:cubicBezTo>
                    <a:pt x="574" y="66"/>
                    <a:pt x="574" y="65"/>
                    <a:pt x="574" y="63"/>
                  </a:cubicBezTo>
                  <a:cubicBezTo>
                    <a:pt x="574" y="55"/>
                    <a:pt x="574" y="47"/>
                    <a:pt x="574" y="39"/>
                  </a:cubicBezTo>
                  <a:cubicBezTo>
                    <a:pt x="574" y="38"/>
                    <a:pt x="574" y="37"/>
                    <a:pt x="574" y="35"/>
                  </a:cubicBezTo>
                  <a:cubicBezTo>
                    <a:pt x="574" y="34"/>
                    <a:pt x="574" y="34"/>
                    <a:pt x="576" y="34"/>
                  </a:cubicBezTo>
                  <a:cubicBezTo>
                    <a:pt x="578" y="34"/>
                    <a:pt x="581" y="34"/>
                    <a:pt x="583" y="34"/>
                  </a:cubicBezTo>
                  <a:cubicBezTo>
                    <a:pt x="584" y="34"/>
                    <a:pt x="585" y="34"/>
                    <a:pt x="586" y="34"/>
                  </a:cubicBezTo>
                  <a:cubicBezTo>
                    <a:pt x="587" y="34"/>
                    <a:pt x="587" y="33"/>
                    <a:pt x="587" y="33"/>
                  </a:cubicBezTo>
                  <a:cubicBezTo>
                    <a:pt x="587" y="31"/>
                    <a:pt x="587" y="29"/>
                    <a:pt x="587" y="28"/>
                  </a:cubicBezTo>
                  <a:cubicBezTo>
                    <a:pt x="587" y="27"/>
                    <a:pt x="587" y="26"/>
                    <a:pt x="586" y="26"/>
                  </a:cubicBezTo>
                  <a:cubicBezTo>
                    <a:pt x="582" y="26"/>
                    <a:pt x="579" y="26"/>
                    <a:pt x="575" y="26"/>
                  </a:cubicBezTo>
                  <a:cubicBezTo>
                    <a:pt x="574" y="26"/>
                    <a:pt x="574" y="26"/>
                    <a:pt x="574" y="25"/>
                  </a:cubicBezTo>
                  <a:cubicBezTo>
                    <a:pt x="574" y="21"/>
                    <a:pt x="574" y="17"/>
                    <a:pt x="574" y="13"/>
                  </a:cubicBezTo>
                  <a:cubicBezTo>
                    <a:pt x="574" y="12"/>
                    <a:pt x="574" y="11"/>
                    <a:pt x="574" y="11"/>
                  </a:cubicBezTo>
                  <a:cubicBezTo>
                    <a:pt x="571" y="12"/>
                    <a:pt x="569" y="12"/>
                    <a:pt x="567" y="13"/>
                  </a:cubicBezTo>
                  <a:cubicBezTo>
                    <a:pt x="566" y="14"/>
                    <a:pt x="566" y="14"/>
                    <a:pt x="566" y="15"/>
                  </a:cubicBezTo>
                  <a:cubicBezTo>
                    <a:pt x="566" y="18"/>
                    <a:pt x="566" y="20"/>
                    <a:pt x="566" y="23"/>
                  </a:cubicBezTo>
                  <a:cubicBezTo>
                    <a:pt x="566" y="27"/>
                    <a:pt x="566" y="26"/>
                    <a:pt x="562" y="26"/>
                  </a:cubicBezTo>
                  <a:cubicBezTo>
                    <a:pt x="560" y="26"/>
                    <a:pt x="559" y="26"/>
                    <a:pt x="557" y="27"/>
                  </a:cubicBezTo>
                  <a:cubicBezTo>
                    <a:pt x="556" y="29"/>
                    <a:pt x="557" y="31"/>
                    <a:pt x="557" y="32"/>
                  </a:cubicBezTo>
                  <a:cubicBezTo>
                    <a:pt x="557" y="33"/>
                    <a:pt x="557" y="34"/>
                    <a:pt x="558" y="34"/>
                  </a:cubicBezTo>
                  <a:cubicBezTo>
                    <a:pt x="560" y="34"/>
                    <a:pt x="562" y="34"/>
                    <a:pt x="564" y="34"/>
                  </a:cubicBezTo>
                  <a:cubicBezTo>
                    <a:pt x="566" y="34"/>
                    <a:pt x="566" y="34"/>
                    <a:pt x="566" y="36"/>
                  </a:cubicBezTo>
                  <a:cubicBezTo>
                    <a:pt x="566" y="36"/>
                    <a:pt x="566" y="37"/>
                    <a:pt x="566" y="37"/>
                  </a:cubicBezTo>
                  <a:cubicBezTo>
                    <a:pt x="566" y="46"/>
                    <a:pt x="566" y="54"/>
                    <a:pt x="566" y="63"/>
                  </a:cubicBezTo>
                  <a:cubicBezTo>
                    <a:pt x="566" y="65"/>
                    <a:pt x="566" y="66"/>
                    <a:pt x="566" y="68"/>
                  </a:cubicBezTo>
                  <a:cubicBezTo>
                    <a:pt x="566" y="70"/>
                    <a:pt x="566" y="72"/>
                    <a:pt x="567" y="74"/>
                  </a:cubicBezTo>
                  <a:cubicBezTo>
                    <a:pt x="569" y="76"/>
                    <a:pt x="571" y="78"/>
                    <a:pt x="573" y="79"/>
                  </a:cubicBezTo>
                  <a:cubicBezTo>
                    <a:pt x="574" y="80"/>
                    <a:pt x="576" y="80"/>
                    <a:pt x="577" y="80"/>
                  </a:cubicBezTo>
                  <a:cubicBezTo>
                    <a:pt x="580" y="81"/>
                    <a:pt x="583" y="80"/>
                    <a:pt x="586" y="79"/>
                  </a:cubicBezTo>
                  <a:cubicBezTo>
                    <a:pt x="587" y="79"/>
                    <a:pt x="587" y="78"/>
                    <a:pt x="587" y="77"/>
                  </a:cubicBezTo>
                  <a:cubicBezTo>
                    <a:pt x="587" y="76"/>
                    <a:pt x="587" y="74"/>
                    <a:pt x="587" y="72"/>
                  </a:cubicBezTo>
                  <a:cubicBezTo>
                    <a:pt x="587" y="72"/>
                    <a:pt x="586" y="72"/>
                    <a:pt x="586" y="72"/>
                  </a:cubicBezTo>
                  <a:close/>
                  <a:moveTo>
                    <a:pt x="1189" y="7"/>
                  </a:moveTo>
                  <a:cubicBezTo>
                    <a:pt x="1189" y="6"/>
                    <a:pt x="1189" y="5"/>
                    <a:pt x="1189" y="4"/>
                  </a:cubicBezTo>
                  <a:cubicBezTo>
                    <a:pt x="1189" y="4"/>
                    <a:pt x="1189" y="4"/>
                    <a:pt x="1189" y="4"/>
                  </a:cubicBezTo>
                  <a:cubicBezTo>
                    <a:pt x="1187" y="4"/>
                    <a:pt x="1186" y="4"/>
                    <a:pt x="1185" y="5"/>
                  </a:cubicBezTo>
                  <a:cubicBezTo>
                    <a:pt x="1184" y="6"/>
                    <a:pt x="1182" y="7"/>
                    <a:pt x="1181" y="8"/>
                  </a:cubicBezTo>
                  <a:cubicBezTo>
                    <a:pt x="1176" y="11"/>
                    <a:pt x="1171" y="13"/>
                    <a:pt x="1165" y="15"/>
                  </a:cubicBezTo>
                  <a:cubicBezTo>
                    <a:pt x="1164" y="15"/>
                    <a:pt x="1164" y="16"/>
                    <a:pt x="1164" y="17"/>
                  </a:cubicBezTo>
                  <a:cubicBezTo>
                    <a:pt x="1164" y="19"/>
                    <a:pt x="1164" y="21"/>
                    <a:pt x="1164" y="23"/>
                  </a:cubicBezTo>
                  <a:cubicBezTo>
                    <a:pt x="1164" y="24"/>
                    <a:pt x="1164" y="24"/>
                    <a:pt x="1165" y="24"/>
                  </a:cubicBezTo>
                  <a:cubicBezTo>
                    <a:pt x="1170" y="22"/>
                    <a:pt x="1175" y="20"/>
                    <a:pt x="1180" y="17"/>
                  </a:cubicBezTo>
                  <a:cubicBezTo>
                    <a:pt x="1180" y="16"/>
                    <a:pt x="1180" y="16"/>
                    <a:pt x="1181" y="16"/>
                  </a:cubicBezTo>
                  <a:cubicBezTo>
                    <a:pt x="1181" y="16"/>
                    <a:pt x="1181" y="17"/>
                    <a:pt x="1181" y="17"/>
                  </a:cubicBezTo>
                  <a:cubicBezTo>
                    <a:pt x="1181" y="18"/>
                    <a:pt x="1181" y="18"/>
                    <a:pt x="1181" y="19"/>
                  </a:cubicBezTo>
                  <a:cubicBezTo>
                    <a:pt x="1181" y="38"/>
                    <a:pt x="1181" y="57"/>
                    <a:pt x="1181" y="76"/>
                  </a:cubicBezTo>
                  <a:cubicBezTo>
                    <a:pt x="1181" y="76"/>
                    <a:pt x="1181" y="77"/>
                    <a:pt x="1181" y="78"/>
                  </a:cubicBezTo>
                  <a:cubicBezTo>
                    <a:pt x="1181" y="79"/>
                    <a:pt x="1181" y="79"/>
                    <a:pt x="1182" y="79"/>
                  </a:cubicBezTo>
                  <a:cubicBezTo>
                    <a:pt x="1184" y="79"/>
                    <a:pt x="1185" y="79"/>
                    <a:pt x="1187" y="79"/>
                  </a:cubicBezTo>
                  <a:cubicBezTo>
                    <a:pt x="1189" y="79"/>
                    <a:pt x="1189" y="79"/>
                    <a:pt x="1189" y="77"/>
                  </a:cubicBezTo>
                  <a:cubicBezTo>
                    <a:pt x="1189" y="65"/>
                    <a:pt x="1189" y="53"/>
                    <a:pt x="1189" y="41"/>
                  </a:cubicBezTo>
                  <a:cubicBezTo>
                    <a:pt x="1189" y="30"/>
                    <a:pt x="1189" y="18"/>
                    <a:pt x="1189" y="7"/>
                  </a:cubicBezTo>
                  <a:close/>
                  <a:moveTo>
                    <a:pt x="983" y="141"/>
                  </a:moveTo>
                  <a:cubicBezTo>
                    <a:pt x="983" y="139"/>
                    <a:pt x="983" y="137"/>
                    <a:pt x="983" y="135"/>
                  </a:cubicBezTo>
                  <a:cubicBezTo>
                    <a:pt x="983" y="134"/>
                    <a:pt x="983" y="133"/>
                    <a:pt x="983" y="133"/>
                  </a:cubicBezTo>
                  <a:cubicBezTo>
                    <a:pt x="983" y="132"/>
                    <a:pt x="983" y="132"/>
                    <a:pt x="982" y="132"/>
                  </a:cubicBezTo>
                  <a:cubicBezTo>
                    <a:pt x="981" y="132"/>
                    <a:pt x="979" y="132"/>
                    <a:pt x="978" y="132"/>
                  </a:cubicBezTo>
                  <a:cubicBezTo>
                    <a:pt x="975" y="132"/>
                    <a:pt x="975" y="131"/>
                    <a:pt x="975" y="134"/>
                  </a:cubicBezTo>
                  <a:cubicBezTo>
                    <a:pt x="975" y="150"/>
                    <a:pt x="975" y="166"/>
                    <a:pt x="975" y="182"/>
                  </a:cubicBezTo>
                  <a:cubicBezTo>
                    <a:pt x="975" y="182"/>
                    <a:pt x="975" y="183"/>
                    <a:pt x="975" y="183"/>
                  </a:cubicBezTo>
                  <a:cubicBezTo>
                    <a:pt x="975" y="184"/>
                    <a:pt x="975" y="184"/>
                    <a:pt x="976" y="184"/>
                  </a:cubicBezTo>
                  <a:cubicBezTo>
                    <a:pt x="978" y="184"/>
                    <a:pt x="980" y="184"/>
                    <a:pt x="983" y="184"/>
                  </a:cubicBezTo>
                  <a:cubicBezTo>
                    <a:pt x="983" y="184"/>
                    <a:pt x="983" y="184"/>
                    <a:pt x="983" y="183"/>
                  </a:cubicBezTo>
                  <a:cubicBezTo>
                    <a:pt x="983" y="183"/>
                    <a:pt x="983" y="182"/>
                    <a:pt x="983" y="181"/>
                  </a:cubicBezTo>
                  <a:cubicBezTo>
                    <a:pt x="983" y="174"/>
                    <a:pt x="983" y="166"/>
                    <a:pt x="983" y="159"/>
                  </a:cubicBezTo>
                  <a:cubicBezTo>
                    <a:pt x="983" y="156"/>
                    <a:pt x="984" y="154"/>
                    <a:pt x="984" y="151"/>
                  </a:cubicBezTo>
                  <a:cubicBezTo>
                    <a:pt x="985" y="148"/>
                    <a:pt x="986" y="145"/>
                    <a:pt x="988" y="142"/>
                  </a:cubicBezTo>
                  <a:cubicBezTo>
                    <a:pt x="990" y="140"/>
                    <a:pt x="992" y="139"/>
                    <a:pt x="994" y="139"/>
                  </a:cubicBezTo>
                  <a:cubicBezTo>
                    <a:pt x="997" y="138"/>
                    <a:pt x="999" y="139"/>
                    <a:pt x="1001" y="139"/>
                  </a:cubicBezTo>
                  <a:cubicBezTo>
                    <a:pt x="1002" y="140"/>
                    <a:pt x="1002" y="140"/>
                    <a:pt x="1002" y="140"/>
                  </a:cubicBezTo>
                  <a:cubicBezTo>
                    <a:pt x="1002" y="137"/>
                    <a:pt x="1002" y="135"/>
                    <a:pt x="1002" y="132"/>
                  </a:cubicBezTo>
                  <a:cubicBezTo>
                    <a:pt x="1002" y="132"/>
                    <a:pt x="1002" y="131"/>
                    <a:pt x="1002" y="131"/>
                  </a:cubicBezTo>
                  <a:cubicBezTo>
                    <a:pt x="996" y="130"/>
                    <a:pt x="992" y="131"/>
                    <a:pt x="988" y="135"/>
                  </a:cubicBezTo>
                  <a:cubicBezTo>
                    <a:pt x="987" y="136"/>
                    <a:pt x="986" y="138"/>
                    <a:pt x="985" y="139"/>
                  </a:cubicBezTo>
                  <a:cubicBezTo>
                    <a:pt x="985" y="140"/>
                    <a:pt x="984" y="141"/>
                    <a:pt x="984" y="141"/>
                  </a:cubicBezTo>
                  <a:cubicBezTo>
                    <a:pt x="984" y="141"/>
                    <a:pt x="984" y="141"/>
                    <a:pt x="983" y="141"/>
                  </a:cubicBezTo>
                  <a:close/>
                  <a:moveTo>
                    <a:pt x="163" y="29"/>
                  </a:moveTo>
                  <a:cubicBezTo>
                    <a:pt x="163" y="45"/>
                    <a:pt x="163" y="61"/>
                    <a:pt x="163" y="76"/>
                  </a:cubicBezTo>
                  <a:cubicBezTo>
                    <a:pt x="163" y="77"/>
                    <a:pt x="163" y="77"/>
                    <a:pt x="163" y="78"/>
                  </a:cubicBezTo>
                  <a:cubicBezTo>
                    <a:pt x="163" y="79"/>
                    <a:pt x="163" y="79"/>
                    <a:pt x="164" y="79"/>
                  </a:cubicBezTo>
                  <a:cubicBezTo>
                    <a:pt x="166" y="79"/>
                    <a:pt x="168" y="79"/>
                    <a:pt x="170" y="79"/>
                  </a:cubicBezTo>
                  <a:cubicBezTo>
                    <a:pt x="171" y="79"/>
                    <a:pt x="171" y="79"/>
                    <a:pt x="171" y="78"/>
                  </a:cubicBezTo>
                  <a:cubicBezTo>
                    <a:pt x="171" y="77"/>
                    <a:pt x="171" y="77"/>
                    <a:pt x="171" y="76"/>
                  </a:cubicBezTo>
                  <a:cubicBezTo>
                    <a:pt x="171" y="68"/>
                    <a:pt x="171" y="60"/>
                    <a:pt x="171" y="52"/>
                  </a:cubicBezTo>
                  <a:cubicBezTo>
                    <a:pt x="171" y="50"/>
                    <a:pt x="171" y="48"/>
                    <a:pt x="172" y="46"/>
                  </a:cubicBezTo>
                  <a:cubicBezTo>
                    <a:pt x="172" y="43"/>
                    <a:pt x="174" y="40"/>
                    <a:pt x="176" y="37"/>
                  </a:cubicBezTo>
                  <a:cubicBezTo>
                    <a:pt x="178" y="35"/>
                    <a:pt x="180" y="34"/>
                    <a:pt x="182" y="33"/>
                  </a:cubicBezTo>
                  <a:cubicBezTo>
                    <a:pt x="185" y="33"/>
                    <a:pt x="187" y="33"/>
                    <a:pt x="189" y="34"/>
                  </a:cubicBezTo>
                  <a:cubicBezTo>
                    <a:pt x="189" y="34"/>
                    <a:pt x="190" y="35"/>
                    <a:pt x="190" y="34"/>
                  </a:cubicBezTo>
                  <a:cubicBezTo>
                    <a:pt x="190" y="32"/>
                    <a:pt x="190" y="30"/>
                    <a:pt x="190" y="28"/>
                  </a:cubicBezTo>
                  <a:cubicBezTo>
                    <a:pt x="190" y="26"/>
                    <a:pt x="190" y="26"/>
                    <a:pt x="188" y="26"/>
                  </a:cubicBezTo>
                  <a:cubicBezTo>
                    <a:pt x="187" y="26"/>
                    <a:pt x="187" y="26"/>
                    <a:pt x="186" y="26"/>
                  </a:cubicBezTo>
                  <a:cubicBezTo>
                    <a:pt x="182" y="25"/>
                    <a:pt x="178" y="27"/>
                    <a:pt x="175" y="30"/>
                  </a:cubicBezTo>
                  <a:cubicBezTo>
                    <a:pt x="174" y="31"/>
                    <a:pt x="173" y="33"/>
                    <a:pt x="172" y="35"/>
                  </a:cubicBezTo>
                  <a:cubicBezTo>
                    <a:pt x="172" y="36"/>
                    <a:pt x="172" y="36"/>
                    <a:pt x="171" y="36"/>
                  </a:cubicBezTo>
                  <a:cubicBezTo>
                    <a:pt x="171" y="35"/>
                    <a:pt x="171" y="34"/>
                    <a:pt x="171" y="33"/>
                  </a:cubicBezTo>
                  <a:cubicBezTo>
                    <a:pt x="171" y="31"/>
                    <a:pt x="171" y="29"/>
                    <a:pt x="171" y="27"/>
                  </a:cubicBezTo>
                  <a:cubicBezTo>
                    <a:pt x="171" y="27"/>
                    <a:pt x="171" y="26"/>
                    <a:pt x="170" y="26"/>
                  </a:cubicBezTo>
                  <a:cubicBezTo>
                    <a:pt x="168" y="26"/>
                    <a:pt x="165" y="26"/>
                    <a:pt x="163" y="26"/>
                  </a:cubicBezTo>
                  <a:cubicBezTo>
                    <a:pt x="162" y="27"/>
                    <a:pt x="163" y="28"/>
                    <a:pt x="163" y="29"/>
                  </a:cubicBezTo>
                  <a:close/>
                  <a:moveTo>
                    <a:pt x="355" y="133"/>
                  </a:moveTo>
                  <a:cubicBezTo>
                    <a:pt x="355" y="132"/>
                    <a:pt x="354" y="132"/>
                    <a:pt x="354" y="132"/>
                  </a:cubicBezTo>
                  <a:cubicBezTo>
                    <a:pt x="352" y="132"/>
                    <a:pt x="350" y="132"/>
                    <a:pt x="348" y="132"/>
                  </a:cubicBezTo>
                  <a:cubicBezTo>
                    <a:pt x="346" y="132"/>
                    <a:pt x="346" y="132"/>
                    <a:pt x="346" y="133"/>
                  </a:cubicBezTo>
                  <a:cubicBezTo>
                    <a:pt x="346" y="133"/>
                    <a:pt x="346" y="134"/>
                    <a:pt x="346" y="134"/>
                  </a:cubicBezTo>
                  <a:cubicBezTo>
                    <a:pt x="346" y="150"/>
                    <a:pt x="346" y="166"/>
                    <a:pt x="346" y="182"/>
                  </a:cubicBezTo>
                  <a:cubicBezTo>
                    <a:pt x="346" y="183"/>
                    <a:pt x="346" y="183"/>
                    <a:pt x="346" y="184"/>
                  </a:cubicBezTo>
                  <a:cubicBezTo>
                    <a:pt x="346" y="184"/>
                    <a:pt x="347" y="184"/>
                    <a:pt x="347" y="184"/>
                  </a:cubicBezTo>
                  <a:cubicBezTo>
                    <a:pt x="349" y="184"/>
                    <a:pt x="352" y="184"/>
                    <a:pt x="354" y="184"/>
                  </a:cubicBezTo>
                  <a:cubicBezTo>
                    <a:pt x="354" y="184"/>
                    <a:pt x="355" y="184"/>
                    <a:pt x="355" y="183"/>
                  </a:cubicBezTo>
                  <a:cubicBezTo>
                    <a:pt x="355" y="183"/>
                    <a:pt x="355" y="182"/>
                    <a:pt x="355" y="181"/>
                  </a:cubicBezTo>
                  <a:cubicBezTo>
                    <a:pt x="355" y="174"/>
                    <a:pt x="355" y="166"/>
                    <a:pt x="355" y="158"/>
                  </a:cubicBezTo>
                  <a:cubicBezTo>
                    <a:pt x="355" y="156"/>
                    <a:pt x="355" y="154"/>
                    <a:pt x="355" y="152"/>
                  </a:cubicBezTo>
                  <a:cubicBezTo>
                    <a:pt x="356" y="149"/>
                    <a:pt x="357" y="145"/>
                    <a:pt x="359" y="143"/>
                  </a:cubicBezTo>
                  <a:cubicBezTo>
                    <a:pt x="361" y="140"/>
                    <a:pt x="364" y="138"/>
                    <a:pt x="368" y="139"/>
                  </a:cubicBezTo>
                  <a:cubicBezTo>
                    <a:pt x="369" y="139"/>
                    <a:pt x="371" y="139"/>
                    <a:pt x="372" y="139"/>
                  </a:cubicBezTo>
                  <a:cubicBezTo>
                    <a:pt x="373" y="140"/>
                    <a:pt x="373" y="140"/>
                    <a:pt x="374" y="140"/>
                  </a:cubicBezTo>
                  <a:cubicBezTo>
                    <a:pt x="374" y="137"/>
                    <a:pt x="374" y="135"/>
                    <a:pt x="374" y="132"/>
                  </a:cubicBezTo>
                  <a:cubicBezTo>
                    <a:pt x="374" y="132"/>
                    <a:pt x="373" y="131"/>
                    <a:pt x="373" y="131"/>
                  </a:cubicBezTo>
                  <a:cubicBezTo>
                    <a:pt x="367" y="130"/>
                    <a:pt x="362" y="131"/>
                    <a:pt x="358" y="136"/>
                  </a:cubicBezTo>
                  <a:cubicBezTo>
                    <a:pt x="357" y="137"/>
                    <a:pt x="356" y="139"/>
                    <a:pt x="356" y="140"/>
                  </a:cubicBezTo>
                  <a:cubicBezTo>
                    <a:pt x="356" y="141"/>
                    <a:pt x="355" y="141"/>
                    <a:pt x="355" y="141"/>
                  </a:cubicBezTo>
                  <a:cubicBezTo>
                    <a:pt x="355" y="138"/>
                    <a:pt x="355" y="136"/>
                    <a:pt x="355" y="133"/>
                  </a:cubicBezTo>
                  <a:close/>
                  <a:moveTo>
                    <a:pt x="1015" y="33"/>
                  </a:moveTo>
                  <a:cubicBezTo>
                    <a:pt x="1015" y="31"/>
                    <a:pt x="1015" y="29"/>
                    <a:pt x="1015" y="27"/>
                  </a:cubicBezTo>
                  <a:cubicBezTo>
                    <a:pt x="1015" y="27"/>
                    <a:pt x="1015" y="26"/>
                    <a:pt x="1014" y="26"/>
                  </a:cubicBezTo>
                  <a:cubicBezTo>
                    <a:pt x="1013" y="26"/>
                    <a:pt x="1011" y="26"/>
                    <a:pt x="1009" y="26"/>
                  </a:cubicBezTo>
                  <a:cubicBezTo>
                    <a:pt x="1007" y="26"/>
                    <a:pt x="1007" y="26"/>
                    <a:pt x="1007" y="29"/>
                  </a:cubicBezTo>
                  <a:cubicBezTo>
                    <a:pt x="1007" y="45"/>
                    <a:pt x="1007" y="61"/>
                    <a:pt x="1007" y="77"/>
                  </a:cubicBezTo>
                  <a:cubicBezTo>
                    <a:pt x="1007" y="77"/>
                    <a:pt x="1007" y="78"/>
                    <a:pt x="1007" y="78"/>
                  </a:cubicBezTo>
                  <a:cubicBezTo>
                    <a:pt x="1007" y="79"/>
                    <a:pt x="1007" y="79"/>
                    <a:pt x="1008" y="79"/>
                  </a:cubicBezTo>
                  <a:cubicBezTo>
                    <a:pt x="1010" y="79"/>
                    <a:pt x="1012" y="79"/>
                    <a:pt x="1014" y="79"/>
                  </a:cubicBezTo>
                  <a:cubicBezTo>
                    <a:pt x="1015" y="79"/>
                    <a:pt x="1015" y="79"/>
                    <a:pt x="1015" y="78"/>
                  </a:cubicBezTo>
                  <a:cubicBezTo>
                    <a:pt x="1015" y="77"/>
                    <a:pt x="1015" y="77"/>
                    <a:pt x="1015" y="76"/>
                  </a:cubicBezTo>
                  <a:cubicBezTo>
                    <a:pt x="1015" y="69"/>
                    <a:pt x="1015" y="61"/>
                    <a:pt x="1015" y="54"/>
                  </a:cubicBezTo>
                  <a:cubicBezTo>
                    <a:pt x="1015" y="51"/>
                    <a:pt x="1015" y="49"/>
                    <a:pt x="1016" y="47"/>
                  </a:cubicBezTo>
                  <a:cubicBezTo>
                    <a:pt x="1016" y="43"/>
                    <a:pt x="1017" y="40"/>
                    <a:pt x="1020" y="37"/>
                  </a:cubicBezTo>
                  <a:cubicBezTo>
                    <a:pt x="1021" y="35"/>
                    <a:pt x="1023" y="34"/>
                    <a:pt x="1026" y="33"/>
                  </a:cubicBezTo>
                  <a:cubicBezTo>
                    <a:pt x="1028" y="33"/>
                    <a:pt x="1031" y="33"/>
                    <a:pt x="1033" y="34"/>
                  </a:cubicBezTo>
                  <a:cubicBezTo>
                    <a:pt x="1033" y="34"/>
                    <a:pt x="1034" y="35"/>
                    <a:pt x="1034" y="34"/>
                  </a:cubicBezTo>
                  <a:cubicBezTo>
                    <a:pt x="1034" y="32"/>
                    <a:pt x="1034" y="30"/>
                    <a:pt x="1034" y="27"/>
                  </a:cubicBezTo>
                  <a:cubicBezTo>
                    <a:pt x="1034" y="26"/>
                    <a:pt x="1034" y="26"/>
                    <a:pt x="1033" y="26"/>
                  </a:cubicBezTo>
                  <a:cubicBezTo>
                    <a:pt x="1028" y="25"/>
                    <a:pt x="1023" y="26"/>
                    <a:pt x="1019" y="31"/>
                  </a:cubicBezTo>
                  <a:cubicBezTo>
                    <a:pt x="1018" y="32"/>
                    <a:pt x="1017" y="33"/>
                    <a:pt x="1016" y="35"/>
                  </a:cubicBezTo>
                  <a:cubicBezTo>
                    <a:pt x="1016" y="35"/>
                    <a:pt x="1016" y="36"/>
                    <a:pt x="1015" y="36"/>
                  </a:cubicBezTo>
                  <a:cubicBezTo>
                    <a:pt x="1015" y="35"/>
                    <a:pt x="1015" y="34"/>
                    <a:pt x="1015" y="33"/>
                  </a:cubicBezTo>
                  <a:close/>
                  <a:moveTo>
                    <a:pt x="462" y="178"/>
                  </a:moveTo>
                  <a:cubicBezTo>
                    <a:pt x="462" y="180"/>
                    <a:pt x="461" y="182"/>
                    <a:pt x="462" y="184"/>
                  </a:cubicBezTo>
                  <a:cubicBezTo>
                    <a:pt x="464" y="185"/>
                    <a:pt x="466" y="184"/>
                    <a:pt x="469" y="184"/>
                  </a:cubicBezTo>
                  <a:cubicBezTo>
                    <a:pt x="469" y="184"/>
                    <a:pt x="469" y="184"/>
                    <a:pt x="469" y="184"/>
                  </a:cubicBezTo>
                  <a:cubicBezTo>
                    <a:pt x="470" y="184"/>
                    <a:pt x="470" y="184"/>
                    <a:pt x="470" y="183"/>
                  </a:cubicBezTo>
                  <a:cubicBezTo>
                    <a:pt x="470" y="183"/>
                    <a:pt x="470" y="182"/>
                    <a:pt x="470" y="181"/>
                  </a:cubicBezTo>
                  <a:cubicBezTo>
                    <a:pt x="470" y="167"/>
                    <a:pt x="470" y="153"/>
                    <a:pt x="470" y="139"/>
                  </a:cubicBezTo>
                  <a:cubicBezTo>
                    <a:pt x="470" y="136"/>
                    <a:pt x="471" y="134"/>
                    <a:pt x="470" y="132"/>
                  </a:cubicBezTo>
                  <a:cubicBezTo>
                    <a:pt x="467" y="131"/>
                    <a:pt x="465" y="132"/>
                    <a:pt x="463" y="132"/>
                  </a:cubicBezTo>
                  <a:cubicBezTo>
                    <a:pt x="463" y="132"/>
                    <a:pt x="463" y="132"/>
                    <a:pt x="463" y="132"/>
                  </a:cubicBezTo>
                  <a:cubicBezTo>
                    <a:pt x="462" y="132"/>
                    <a:pt x="462" y="132"/>
                    <a:pt x="462" y="133"/>
                  </a:cubicBezTo>
                  <a:cubicBezTo>
                    <a:pt x="462" y="133"/>
                    <a:pt x="462" y="134"/>
                    <a:pt x="462" y="135"/>
                  </a:cubicBezTo>
                  <a:cubicBezTo>
                    <a:pt x="462" y="143"/>
                    <a:pt x="462" y="150"/>
                    <a:pt x="462" y="158"/>
                  </a:cubicBezTo>
                  <a:cubicBezTo>
                    <a:pt x="462" y="165"/>
                    <a:pt x="462" y="171"/>
                    <a:pt x="462" y="178"/>
                  </a:cubicBezTo>
                  <a:close/>
                  <a:moveTo>
                    <a:pt x="210" y="135"/>
                  </a:moveTo>
                  <a:cubicBezTo>
                    <a:pt x="210" y="149"/>
                    <a:pt x="210" y="164"/>
                    <a:pt x="210" y="178"/>
                  </a:cubicBezTo>
                  <a:cubicBezTo>
                    <a:pt x="210" y="180"/>
                    <a:pt x="210" y="181"/>
                    <a:pt x="210" y="183"/>
                  </a:cubicBezTo>
                  <a:cubicBezTo>
                    <a:pt x="210" y="184"/>
                    <a:pt x="210" y="184"/>
                    <a:pt x="211" y="184"/>
                  </a:cubicBezTo>
                  <a:cubicBezTo>
                    <a:pt x="213" y="184"/>
                    <a:pt x="214" y="184"/>
                    <a:pt x="216" y="184"/>
                  </a:cubicBezTo>
                  <a:cubicBezTo>
                    <a:pt x="218" y="184"/>
                    <a:pt x="218" y="184"/>
                    <a:pt x="218" y="182"/>
                  </a:cubicBezTo>
                  <a:cubicBezTo>
                    <a:pt x="218" y="166"/>
                    <a:pt x="218" y="150"/>
                    <a:pt x="218" y="134"/>
                  </a:cubicBezTo>
                  <a:cubicBezTo>
                    <a:pt x="218" y="133"/>
                    <a:pt x="218" y="133"/>
                    <a:pt x="218" y="133"/>
                  </a:cubicBezTo>
                  <a:cubicBezTo>
                    <a:pt x="218" y="132"/>
                    <a:pt x="218" y="132"/>
                    <a:pt x="217" y="132"/>
                  </a:cubicBezTo>
                  <a:cubicBezTo>
                    <a:pt x="215" y="132"/>
                    <a:pt x="212" y="132"/>
                    <a:pt x="210" y="132"/>
                  </a:cubicBezTo>
                  <a:cubicBezTo>
                    <a:pt x="209" y="133"/>
                    <a:pt x="210" y="134"/>
                    <a:pt x="210" y="135"/>
                  </a:cubicBezTo>
                  <a:close/>
                  <a:moveTo>
                    <a:pt x="96" y="76"/>
                  </a:moveTo>
                  <a:cubicBezTo>
                    <a:pt x="96" y="77"/>
                    <a:pt x="96" y="78"/>
                    <a:pt x="96" y="78"/>
                  </a:cubicBezTo>
                  <a:cubicBezTo>
                    <a:pt x="96" y="79"/>
                    <a:pt x="96" y="79"/>
                    <a:pt x="96" y="79"/>
                  </a:cubicBezTo>
                  <a:cubicBezTo>
                    <a:pt x="99" y="79"/>
                    <a:pt x="101" y="79"/>
                    <a:pt x="103" y="79"/>
                  </a:cubicBezTo>
                  <a:cubicBezTo>
                    <a:pt x="104" y="79"/>
                    <a:pt x="104" y="79"/>
                    <a:pt x="104" y="78"/>
                  </a:cubicBezTo>
                  <a:cubicBezTo>
                    <a:pt x="104" y="77"/>
                    <a:pt x="104" y="77"/>
                    <a:pt x="104" y="76"/>
                  </a:cubicBezTo>
                  <a:cubicBezTo>
                    <a:pt x="104" y="62"/>
                    <a:pt x="104" y="47"/>
                    <a:pt x="104" y="33"/>
                  </a:cubicBezTo>
                  <a:cubicBezTo>
                    <a:pt x="104" y="31"/>
                    <a:pt x="104" y="29"/>
                    <a:pt x="104" y="27"/>
                  </a:cubicBezTo>
                  <a:cubicBezTo>
                    <a:pt x="102" y="26"/>
                    <a:pt x="99" y="27"/>
                    <a:pt x="97" y="26"/>
                  </a:cubicBezTo>
                  <a:cubicBezTo>
                    <a:pt x="97" y="26"/>
                    <a:pt x="97" y="26"/>
                    <a:pt x="96" y="26"/>
                  </a:cubicBezTo>
                  <a:cubicBezTo>
                    <a:pt x="96" y="26"/>
                    <a:pt x="96" y="27"/>
                    <a:pt x="96" y="27"/>
                  </a:cubicBezTo>
                  <a:cubicBezTo>
                    <a:pt x="96" y="28"/>
                    <a:pt x="96" y="29"/>
                    <a:pt x="96" y="29"/>
                  </a:cubicBezTo>
                  <a:cubicBezTo>
                    <a:pt x="96" y="37"/>
                    <a:pt x="96" y="45"/>
                    <a:pt x="96" y="52"/>
                  </a:cubicBezTo>
                  <a:cubicBezTo>
                    <a:pt x="96" y="60"/>
                    <a:pt x="96" y="68"/>
                    <a:pt x="96" y="76"/>
                  </a:cubicBezTo>
                  <a:close/>
                  <a:moveTo>
                    <a:pt x="94" y="8"/>
                  </a:moveTo>
                  <a:cubicBezTo>
                    <a:pt x="94" y="11"/>
                    <a:pt x="97" y="13"/>
                    <a:pt x="100" y="13"/>
                  </a:cubicBezTo>
                  <a:cubicBezTo>
                    <a:pt x="103" y="13"/>
                    <a:pt x="105" y="11"/>
                    <a:pt x="106" y="8"/>
                  </a:cubicBezTo>
                  <a:cubicBezTo>
                    <a:pt x="106" y="5"/>
                    <a:pt x="103" y="2"/>
                    <a:pt x="100" y="2"/>
                  </a:cubicBezTo>
                  <a:cubicBezTo>
                    <a:pt x="97" y="2"/>
                    <a:pt x="94" y="5"/>
                    <a:pt x="94" y="8"/>
                  </a:cubicBezTo>
                  <a:close/>
                  <a:moveTo>
                    <a:pt x="208" y="113"/>
                  </a:moveTo>
                  <a:cubicBezTo>
                    <a:pt x="208" y="116"/>
                    <a:pt x="211" y="118"/>
                    <a:pt x="214" y="118"/>
                  </a:cubicBezTo>
                  <a:cubicBezTo>
                    <a:pt x="217" y="119"/>
                    <a:pt x="220" y="116"/>
                    <a:pt x="220" y="113"/>
                  </a:cubicBezTo>
                  <a:cubicBezTo>
                    <a:pt x="220" y="110"/>
                    <a:pt x="217" y="107"/>
                    <a:pt x="214" y="107"/>
                  </a:cubicBezTo>
                  <a:cubicBezTo>
                    <a:pt x="211" y="107"/>
                    <a:pt x="208" y="110"/>
                    <a:pt x="208" y="113"/>
                  </a:cubicBezTo>
                  <a:close/>
                  <a:moveTo>
                    <a:pt x="466" y="107"/>
                  </a:moveTo>
                  <a:cubicBezTo>
                    <a:pt x="463" y="107"/>
                    <a:pt x="460" y="110"/>
                    <a:pt x="460" y="113"/>
                  </a:cubicBezTo>
                  <a:cubicBezTo>
                    <a:pt x="460" y="116"/>
                    <a:pt x="463" y="118"/>
                    <a:pt x="466" y="118"/>
                  </a:cubicBezTo>
                  <a:cubicBezTo>
                    <a:pt x="469" y="118"/>
                    <a:pt x="472" y="116"/>
                    <a:pt x="472" y="113"/>
                  </a:cubicBezTo>
                  <a:cubicBezTo>
                    <a:pt x="472" y="110"/>
                    <a:pt x="469" y="107"/>
                    <a:pt x="466" y="107"/>
                  </a:cubicBezTo>
                  <a:close/>
                  <a:moveTo>
                    <a:pt x="268" y="157"/>
                  </a:moveTo>
                  <a:cubicBezTo>
                    <a:pt x="268" y="156"/>
                    <a:pt x="268" y="154"/>
                    <a:pt x="268" y="152"/>
                  </a:cubicBezTo>
                  <a:cubicBezTo>
                    <a:pt x="268" y="151"/>
                    <a:pt x="268" y="150"/>
                    <a:pt x="267" y="149"/>
                  </a:cubicBezTo>
                  <a:cubicBezTo>
                    <a:pt x="266" y="143"/>
                    <a:pt x="261" y="139"/>
                    <a:pt x="255" y="138"/>
                  </a:cubicBezTo>
                  <a:cubicBezTo>
                    <a:pt x="249" y="137"/>
                    <a:pt x="244" y="139"/>
                    <a:pt x="240" y="144"/>
                  </a:cubicBezTo>
                  <a:cubicBezTo>
                    <a:pt x="239" y="146"/>
                    <a:pt x="238" y="148"/>
                    <a:pt x="238" y="149"/>
                  </a:cubicBezTo>
                  <a:cubicBezTo>
                    <a:pt x="236" y="154"/>
                    <a:pt x="236" y="159"/>
                    <a:pt x="237" y="164"/>
                  </a:cubicBezTo>
                  <a:cubicBezTo>
                    <a:pt x="237" y="167"/>
                    <a:pt x="238" y="169"/>
                    <a:pt x="239" y="171"/>
                  </a:cubicBezTo>
                  <a:cubicBezTo>
                    <a:pt x="245" y="181"/>
                    <a:pt x="257" y="180"/>
                    <a:pt x="262" y="175"/>
                  </a:cubicBezTo>
                  <a:cubicBezTo>
                    <a:pt x="266" y="171"/>
                    <a:pt x="267" y="167"/>
                    <a:pt x="268" y="163"/>
                  </a:cubicBezTo>
                  <a:cubicBezTo>
                    <a:pt x="268" y="161"/>
                    <a:pt x="268" y="159"/>
                    <a:pt x="268" y="157"/>
                  </a:cubicBezTo>
                  <a:cubicBezTo>
                    <a:pt x="268" y="157"/>
                    <a:pt x="268" y="157"/>
                    <a:pt x="268" y="157"/>
                  </a:cubicBezTo>
                  <a:close/>
                  <a:moveTo>
                    <a:pt x="902" y="150"/>
                  </a:moveTo>
                  <a:cubicBezTo>
                    <a:pt x="900" y="144"/>
                    <a:pt x="897" y="140"/>
                    <a:pt x="891" y="138"/>
                  </a:cubicBezTo>
                  <a:cubicBezTo>
                    <a:pt x="884" y="136"/>
                    <a:pt x="877" y="139"/>
                    <a:pt x="873" y="146"/>
                  </a:cubicBezTo>
                  <a:cubicBezTo>
                    <a:pt x="873" y="147"/>
                    <a:pt x="872" y="149"/>
                    <a:pt x="872" y="150"/>
                  </a:cubicBezTo>
                  <a:cubicBezTo>
                    <a:pt x="871" y="154"/>
                    <a:pt x="870" y="158"/>
                    <a:pt x="871" y="162"/>
                  </a:cubicBezTo>
                  <a:cubicBezTo>
                    <a:pt x="871" y="166"/>
                    <a:pt x="872" y="169"/>
                    <a:pt x="874" y="172"/>
                  </a:cubicBezTo>
                  <a:cubicBezTo>
                    <a:pt x="876" y="175"/>
                    <a:pt x="878" y="177"/>
                    <a:pt x="881" y="178"/>
                  </a:cubicBezTo>
                  <a:cubicBezTo>
                    <a:pt x="887" y="180"/>
                    <a:pt x="894" y="178"/>
                    <a:pt x="898" y="173"/>
                  </a:cubicBezTo>
                  <a:cubicBezTo>
                    <a:pt x="900" y="170"/>
                    <a:pt x="901" y="168"/>
                    <a:pt x="902" y="165"/>
                  </a:cubicBezTo>
                  <a:cubicBezTo>
                    <a:pt x="902" y="162"/>
                    <a:pt x="902" y="160"/>
                    <a:pt x="902" y="157"/>
                  </a:cubicBezTo>
                  <a:cubicBezTo>
                    <a:pt x="902" y="155"/>
                    <a:pt x="902" y="152"/>
                    <a:pt x="902" y="150"/>
                  </a:cubicBezTo>
                  <a:close/>
                  <a:moveTo>
                    <a:pt x="1298" y="13"/>
                  </a:moveTo>
                  <a:cubicBezTo>
                    <a:pt x="1296" y="13"/>
                    <a:pt x="1294" y="13"/>
                    <a:pt x="1292" y="13"/>
                  </a:cubicBezTo>
                  <a:cubicBezTo>
                    <a:pt x="1290" y="13"/>
                    <a:pt x="1290" y="13"/>
                    <a:pt x="1290" y="15"/>
                  </a:cubicBezTo>
                  <a:cubicBezTo>
                    <a:pt x="1290" y="17"/>
                    <a:pt x="1290" y="19"/>
                    <a:pt x="1290" y="22"/>
                  </a:cubicBezTo>
                  <a:cubicBezTo>
                    <a:pt x="1290" y="27"/>
                    <a:pt x="1290" y="33"/>
                    <a:pt x="1290" y="39"/>
                  </a:cubicBezTo>
                  <a:cubicBezTo>
                    <a:pt x="1290" y="40"/>
                    <a:pt x="1290" y="40"/>
                    <a:pt x="1291" y="40"/>
                  </a:cubicBezTo>
                  <a:cubicBezTo>
                    <a:pt x="1295" y="40"/>
                    <a:pt x="1299" y="40"/>
                    <a:pt x="1303" y="40"/>
                  </a:cubicBezTo>
                  <a:cubicBezTo>
                    <a:pt x="1304" y="40"/>
                    <a:pt x="1305" y="40"/>
                    <a:pt x="1306" y="39"/>
                  </a:cubicBezTo>
                  <a:cubicBezTo>
                    <a:pt x="1312" y="38"/>
                    <a:pt x="1318" y="33"/>
                    <a:pt x="1317" y="24"/>
                  </a:cubicBezTo>
                  <a:cubicBezTo>
                    <a:pt x="1316" y="19"/>
                    <a:pt x="1314" y="16"/>
                    <a:pt x="1309" y="14"/>
                  </a:cubicBezTo>
                  <a:cubicBezTo>
                    <a:pt x="1307" y="14"/>
                    <a:pt x="1305" y="13"/>
                    <a:pt x="1304" y="13"/>
                  </a:cubicBezTo>
                  <a:cubicBezTo>
                    <a:pt x="1302" y="13"/>
                    <a:pt x="1300" y="13"/>
                    <a:pt x="1298" y="13"/>
                  </a:cubicBezTo>
                  <a:cubicBezTo>
                    <a:pt x="1298" y="13"/>
                    <a:pt x="1298" y="13"/>
                    <a:pt x="1298" y="13"/>
                  </a:cubicBezTo>
                  <a:close/>
                  <a:moveTo>
                    <a:pt x="1150" y="38"/>
                  </a:moveTo>
                  <a:cubicBezTo>
                    <a:pt x="1150" y="33"/>
                    <a:pt x="1149" y="28"/>
                    <a:pt x="1148" y="23"/>
                  </a:cubicBezTo>
                  <a:cubicBezTo>
                    <a:pt x="1147" y="21"/>
                    <a:pt x="1146" y="19"/>
                    <a:pt x="1145" y="17"/>
                  </a:cubicBezTo>
                  <a:cubicBezTo>
                    <a:pt x="1140" y="9"/>
                    <a:pt x="1130" y="10"/>
                    <a:pt x="1125" y="16"/>
                  </a:cubicBezTo>
                  <a:cubicBezTo>
                    <a:pt x="1124" y="17"/>
                    <a:pt x="1123" y="19"/>
                    <a:pt x="1123" y="21"/>
                  </a:cubicBezTo>
                  <a:cubicBezTo>
                    <a:pt x="1121" y="24"/>
                    <a:pt x="1120" y="28"/>
                    <a:pt x="1120" y="31"/>
                  </a:cubicBezTo>
                  <a:cubicBezTo>
                    <a:pt x="1119" y="37"/>
                    <a:pt x="1119" y="43"/>
                    <a:pt x="1119" y="49"/>
                  </a:cubicBezTo>
                  <a:cubicBezTo>
                    <a:pt x="1120" y="54"/>
                    <a:pt x="1120" y="58"/>
                    <a:pt x="1122" y="62"/>
                  </a:cubicBezTo>
                  <a:cubicBezTo>
                    <a:pt x="1122" y="64"/>
                    <a:pt x="1123" y="66"/>
                    <a:pt x="1125" y="68"/>
                  </a:cubicBezTo>
                  <a:cubicBezTo>
                    <a:pt x="1126" y="70"/>
                    <a:pt x="1129" y="72"/>
                    <a:pt x="1131" y="73"/>
                  </a:cubicBezTo>
                  <a:cubicBezTo>
                    <a:pt x="1137" y="74"/>
                    <a:pt x="1142" y="72"/>
                    <a:pt x="1145" y="67"/>
                  </a:cubicBezTo>
                  <a:cubicBezTo>
                    <a:pt x="1147" y="64"/>
                    <a:pt x="1148" y="62"/>
                    <a:pt x="1148" y="59"/>
                  </a:cubicBezTo>
                  <a:cubicBezTo>
                    <a:pt x="1150" y="54"/>
                    <a:pt x="1150" y="48"/>
                    <a:pt x="1150" y="42"/>
                  </a:cubicBezTo>
                  <a:cubicBezTo>
                    <a:pt x="1150" y="41"/>
                    <a:pt x="1150" y="40"/>
                    <a:pt x="1150" y="38"/>
                  </a:cubicBezTo>
                  <a:close/>
                  <a:moveTo>
                    <a:pt x="627" y="40"/>
                  </a:moveTo>
                  <a:cubicBezTo>
                    <a:pt x="625" y="36"/>
                    <a:pt x="623" y="34"/>
                    <a:pt x="620" y="33"/>
                  </a:cubicBezTo>
                  <a:cubicBezTo>
                    <a:pt x="614" y="31"/>
                    <a:pt x="609" y="33"/>
                    <a:pt x="605" y="37"/>
                  </a:cubicBezTo>
                  <a:cubicBezTo>
                    <a:pt x="603" y="39"/>
                    <a:pt x="601" y="43"/>
                    <a:pt x="600" y="46"/>
                  </a:cubicBezTo>
                  <a:cubicBezTo>
                    <a:pt x="600" y="46"/>
                    <a:pt x="600" y="47"/>
                    <a:pt x="600" y="47"/>
                  </a:cubicBezTo>
                  <a:cubicBezTo>
                    <a:pt x="603" y="48"/>
                    <a:pt x="626" y="48"/>
                    <a:pt x="628" y="47"/>
                  </a:cubicBezTo>
                  <a:cubicBezTo>
                    <a:pt x="628" y="45"/>
                    <a:pt x="628" y="42"/>
                    <a:pt x="627" y="40"/>
                  </a:cubicBezTo>
                  <a:close/>
                  <a:moveTo>
                    <a:pt x="848" y="39"/>
                  </a:moveTo>
                  <a:cubicBezTo>
                    <a:pt x="846" y="36"/>
                    <a:pt x="844" y="34"/>
                    <a:pt x="842" y="33"/>
                  </a:cubicBezTo>
                  <a:cubicBezTo>
                    <a:pt x="836" y="31"/>
                    <a:pt x="832" y="32"/>
                    <a:pt x="827" y="36"/>
                  </a:cubicBezTo>
                  <a:cubicBezTo>
                    <a:pt x="825" y="38"/>
                    <a:pt x="823" y="41"/>
                    <a:pt x="822" y="44"/>
                  </a:cubicBezTo>
                  <a:cubicBezTo>
                    <a:pt x="822" y="45"/>
                    <a:pt x="821" y="46"/>
                    <a:pt x="821" y="47"/>
                  </a:cubicBezTo>
                  <a:cubicBezTo>
                    <a:pt x="824" y="48"/>
                    <a:pt x="847" y="48"/>
                    <a:pt x="850" y="47"/>
                  </a:cubicBezTo>
                  <a:cubicBezTo>
                    <a:pt x="850" y="44"/>
                    <a:pt x="849" y="41"/>
                    <a:pt x="848" y="39"/>
                  </a:cubicBezTo>
                  <a:close/>
                  <a:moveTo>
                    <a:pt x="956" y="144"/>
                  </a:moveTo>
                  <a:cubicBezTo>
                    <a:pt x="954" y="142"/>
                    <a:pt x="952" y="140"/>
                    <a:pt x="950" y="139"/>
                  </a:cubicBezTo>
                  <a:cubicBezTo>
                    <a:pt x="945" y="137"/>
                    <a:pt x="941" y="137"/>
                    <a:pt x="936" y="140"/>
                  </a:cubicBezTo>
                  <a:cubicBezTo>
                    <a:pt x="932" y="143"/>
                    <a:pt x="930" y="148"/>
                    <a:pt x="929" y="153"/>
                  </a:cubicBezTo>
                  <a:cubicBezTo>
                    <a:pt x="938" y="153"/>
                    <a:pt x="948" y="153"/>
                    <a:pt x="957" y="153"/>
                  </a:cubicBezTo>
                  <a:cubicBezTo>
                    <a:pt x="957" y="150"/>
                    <a:pt x="957" y="147"/>
                    <a:pt x="956" y="144"/>
                  </a:cubicBezTo>
                  <a:close/>
                  <a:moveTo>
                    <a:pt x="986" y="37"/>
                  </a:moveTo>
                  <a:cubicBezTo>
                    <a:pt x="985" y="35"/>
                    <a:pt x="983" y="34"/>
                    <a:pt x="980" y="33"/>
                  </a:cubicBezTo>
                  <a:cubicBezTo>
                    <a:pt x="975" y="31"/>
                    <a:pt x="969" y="33"/>
                    <a:pt x="965" y="37"/>
                  </a:cubicBezTo>
                  <a:cubicBezTo>
                    <a:pt x="963" y="40"/>
                    <a:pt x="962" y="43"/>
                    <a:pt x="961" y="46"/>
                  </a:cubicBezTo>
                  <a:cubicBezTo>
                    <a:pt x="961" y="46"/>
                    <a:pt x="961" y="47"/>
                    <a:pt x="961" y="47"/>
                  </a:cubicBezTo>
                  <a:cubicBezTo>
                    <a:pt x="965" y="48"/>
                    <a:pt x="987" y="48"/>
                    <a:pt x="989" y="47"/>
                  </a:cubicBezTo>
                  <a:cubicBezTo>
                    <a:pt x="989" y="44"/>
                    <a:pt x="988" y="40"/>
                    <a:pt x="986" y="37"/>
                  </a:cubicBezTo>
                  <a:close/>
                  <a:moveTo>
                    <a:pt x="844" y="158"/>
                  </a:moveTo>
                  <a:cubicBezTo>
                    <a:pt x="840" y="158"/>
                    <a:pt x="835" y="159"/>
                    <a:pt x="831" y="160"/>
                  </a:cubicBezTo>
                  <a:cubicBezTo>
                    <a:pt x="830" y="160"/>
                    <a:pt x="828" y="160"/>
                    <a:pt x="826" y="161"/>
                  </a:cubicBezTo>
                  <a:cubicBezTo>
                    <a:pt x="823" y="162"/>
                    <a:pt x="821" y="164"/>
                    <a:pt x="820" y="168"/>
                  </a:cubicBezTo>
                  <a:cubicBezTo>
                    <a:pt x="820" y="173"/>
                    <a:pt x="823" y="177"/>
                    <a:pt x="827" y="178"/>
                  </a:cubicBezTo>
                  <a:cubicBezTo>
                    <a:pt x="835" y="180"/>
                    <a:pt x="842" y="176"/>
                    <a:pt x="844" y="168"/>
                  </a:cubicBezTo>
                  <a:cubicBezTo>
                    <a:pt x="845" y="166"/>
                    <a:pt x="845" y="161"/>
                    <a:pt x="845" y="158"/>
                  </a:cubicBezTo>
                  <a:cubicBezTo>
                    <a:pt x="844" y="158"/>
                    <a:pt x="844" y="158"/>
                    <a:pt x="844" y="158"/>
                  </a:cubicBezTo>
                  <a:close/>
                  <a:moveTo>
                    <a:pt x="200" y="61"/>
                  </a:moveTo>
                  <a:cubicBezTo>
                    <a:pt x="202" y="67"/>
                    <a:pt x="206" y="71"/>
                    <a:pt x="212" y="73"/>
                  </a:cubicBezTo>
                  <a:cubicBezTo>
                    <a:pt x="215" y="73"/>
                    <a:pt x="219" y="73"/>
                    <a:pt x="222" y="73"/>
                  </a:cubicBezTo>
                  <a:cubicBezTo>
                    <a:pt x="226" y="71"/>
                    <a:pt x="229" y="69"/>
                    <a:pt x="231" y="66"/>
                  </a:cubicBezTo>
                  <a:cubicBezTo>
                    <a:pt x="232" y="64"/>
                    <a:pt x="232" y="62"/>
                    <a:pt x="233" y="61"/>
                  </a:cubicBezTo>
                  <a:cubicBezTo>
                    <a:pt x="234" y="56"/>
                    <a:pt x="234" y="51"/>
                    <a:pt x="233" y="46"/>
                  </a:cubicBezTo>
                  <a:cubicBezTo>
                    <a:pt x="233" y="44"/>
                    <a:pt x="232" y="42"/>
                    <a:pt x="231" y="40"/>
                  </a:cubicBezTo>
                  <a:cubicBezTo>
                    <a:pt x="229" y="37"/>
                    <a:pt x="226" y="34"/>
                    <a:pt x="223" y="33"/>
                  </a:cubicBezTo>
                  <a:cubicBezTo>
                    <a:pt x="219" y="32"/>
                    <a:pt x="215" y="32"/>
                    <a:pt x="211" y="33"/>
                  </a:cubicBezTo>
                  <a:cubicBezTo>
                    <a:pt x="206" y="35"/>
                    <a:pt x="202" y="39"/>
                    <a:pt x="201" y="44"/>
                  </a:cubicBezTo>
                  <a:cubicBezTo>
                    <a:pt x="200" y="47"/>
                    <a:pt x="199" y="50"/>
                    <a:pt x="199" y="53"/>
                  </a:cubicBezTo>
                  <a:cubicBezTo>
                    <a:pt x="199" y="55"/>
                    <a:pt x="199" y="58"/>
                    <a:pt x="200" y="61"/>
                  </a:cubicBezTo>
                  <a:close/>
                  <a:moveTo>
                    <a:pt x="408" y="159"/>
                  </a:moveTo>
                  <a:cubicBezTo>
                    <a:pt x="408" y="158"/>
                    <a:pt x="408" y="158"/>
                    <a:pt x="408" y="158"/>
                  </a:cubicBezTo>
                  <a:cubicBezTo>
                    <a:pt x="407" y="158"/>
                    <a:pt x="407" y="158"/>
                    <a:pt x="407" y="158"/>
                  </a:cubicBezTo>
                  <a:cubicBezTo>
                    <a:pt x="403" y="159"/>
                    <a:pt x="399" y="159"/>
                    <a:pt x="395" y="160"/>
                  </a:cubicBezTo>
                  <a:cubicBezTo>
                    <a:pt x="393" y="160"/>
                    <a:pt x="391" y="160"/>
                    <a:pt x="389" y="161"/>
                  </a:cubicBezTo>
                  <a:cubicBezTo>
                    <a:pt x="387" y="162"/>
                    <a:pt x="386" y="163"/>
                    <a:pt x="385" y="164"/>
                  </a:cubicBezTo>
                  <a:cubicBezTo>
                    <a:pt x="384" y="167"/>
                    <a:pt x="383" y="171"/>
                    <a:pt x="385" y="174"/>
                  </a:cubicBezTo>
                  <a:cubicBezTo>
                    <a:pt x="386" y="176"/>
                    <a:pt x="388" y="178"/>
                    <a:pt x="391" y="178"/>
                  </a:cubicBezTo>
                  <a:cubicBezTo>
                    <a:pt x="398" y="180"/>
                    <a:pt x="405" y="176"/>
                    <a:pt x="407" y="169"/>
                  </a:cubicBezTo>
                  <a:cubicBezTo>
                    <a:pt x="408" y="166"/>
                    <a:pt x="408" y="164"/>
                    <a:pt x="408" y="161"/>
                  </a:cubicBezTo>
                  <a:cubicBezTo>
                    <a:pt x="408" y="160"/>
                    <a:pt x="408" y="160"/>
                    <a:pt x="408" y="159"/>
                  </a:cubicBezTo>
                  <a:close/>
                  <a:moveTo>
                    <a:pt x="71" y="163"/>
                  </a:moveTo>
                  <a:cubicBezTo>
                    <a:pt x="71" y="164"/>
                    <a:pt x="72" y="165"/>
                    <a:pt x="72" y="166"/>
                  </a:cubicBezTo>
                  <a:cubicBezTo>
                    <a:pt x="74" y="172"/>
                    <a:pt x="77" y="176"/>
                    <a:pt x="83" y="178"/>
                  </a:cubicBezTo>
                  <a:cubicBezTo>
                    <a:pt x="87" y="179"/>
                    <a:pt x="90" y="179"/>
                    <a:pt x="94" y="178"/>
                  </a:cubicBezTo>
                  <a:cubicBezTo>
                    <a:pt x="97" y="177"/>
                    <a:pt x="100" y="175"/>
                    <a:pt x="102" y="171"/>
                  </a:cubicBezTo>
                  <a:cubicBezTo>
                    <a:pt x="103" y="170"/>
                    <a:pt x="104" y="168"/>
                    <a:pt x="104" y="166"/>
                  </a:cubicBezTo>
                  <a:cubicBezTo>
                    <a:pt x="106" y="161"/>
                    <a:pt x="106" y="157"/>
                    <a:pt x="105" y="152"/>
                  </a:cubicBezTo>
                  <a:cubicBezTo>
                    <a:pt x="105" y="150"/>
                    <a:pt x="104" y="148"/>
                    <a:pt x="103" y="146"/>
                  </a:cubicBezTo>
                  <a:cubicBezTo>
                    <a:pt x="101" y="142"/>
                    <a:pt x="97" y="139"/>
                    <a:pt x="93" y="138"/>
                  </a:cubicBezTo>
                  <a:cubicBezTo>
                    <a:pt x="91" y="138"/>
                    <a:pt x="90" y="138"/>
                    <a:pt x="88" y="138"/>
                  </a:cubicBezTo>
                  <a:cubicBezTo>
                    <a:pt x="80" y="138"/>
                    <a:pt x="75" y="142"/>
                    <a:pt x="72" y="149"/>
                  </a:cubicBezTo>
                  <a:cubicBezTo>
                    <a:pt x="71" y="152"/>
                    <a:pt x="71" y="155"/>
                    <a:pt x="71" y="159"/>
                  </a:cubicBezTo>
                  <a:cubicBezTo>
                    <a:pt x="71" y="160"/>
                    <a:pt x="71" y="162"/>
                    <a:pt x="71" y="163"/>
                  </a:cubicBezTo>
                  <a:close/>
                  <a:moveTo>
                    <a:pt x="329" y="49"/>
                  </a:moveTo>
                  <a:cubicBezTo>
                    <a:pt x="329" y="47"/>
                    <a:pt x="328" y="44"/>
                    <a:pt x="327" y="41"/>
                  </a:cubicBezTo>
                  <a:cubicBezTo>
                    <a:pt x="325" y="37"/>
                    <a:pt x="322" y="34"/>
                    <a:pt x="318" y="33"/>
                  </a:cubicBezTo>
                  <a:cubicBezTo>
                    <a:pt x="314" y="32"/>
                    <a:pt x="310" y="32"/>
                    <a:pt x="306" y="33"/>
                  </a:cubicBezTo>
                  <a:cubicBezTo>
                    <a:pt x="301" y="35"/>
                    <a:pt x="297" y="39"/>
                    <a:pt x="296" y="44"/>
                  </a:cubicBezTo>
                  <a:cubicBezTo>
                    <a:pt x="294" y="48"/>
                    <a:pt x="294" y="53"/>
                    <a:pt x="295" y="57"/>
                  </a:cubicBezTo>
                  <a:cubicBezTo>
                    <a:pt x="295" y="59"/>
                    <a:pt x="295" y="61"/>
                    <a:pt x="296" y="63"/>
                  </a:cubicBezTo>
                  <a:cubicBezTo>
                    <a:pt x="298" y="67"/>
                    <a:pt x="301" y="71"/>
                    <a:pt x="306" y="72"/>
                  </a:cubicBezTo>
                  <a:cubicBezTo>
                    <a:pt x="310" y="74"/>
                    <a:pt x="314" y="74"/>
                    <a:pt x="318" y="72"/>
                  </a:cubicBezTo>
                  <a:cubicBezTo>
                    <a:pt x="321" y="71"/>
                    <a:pt x="324" y="69"/>
                    <a:pt x="325" y="67"/>
                  </a:cubicBezTo>
                  <a:cubicBezTo>
                    <a:pt x="327" y="65"/>
                    <a:pt x="327" y="63"/>
                    <a:pt x="328" y="62"/>
                  </a:cubicBezTo>
                  <a:cubicBezTo>
                    <a:pt x="329" y="59"/>
                    <a:pt x="329" y="56"/>
                    <a:pt x="329" y="53"/>
                  </a:cubicBezTo>
                  <a:cubicBezTo>
                    <a:pt x="329" y="52"/>
                    <a:pt x="329" y="51"/>
                    <a:pt x="329" y="49"/>
                  </a:cubicBezTo>
                  <a:close/>
                  <a:moveTo>
                    <a:pt x="523" y="152"/>
                  </a:moveTo>
                  <a:cubicBezTo>
                    <a:pt x="522" y="150"/>
                    <a:pt x="522" y="148"/>
                    <a:pt x="520" y="146"/>
                  </a:cubicBezTo>
                  <a:cubicBezTo>
                    <a:pt x="518" y="142"/>
                    <a:pt x="515" y="139"/>
                    <a:pt x="510" y="138"/>
                  </a:cubicBezTo>
                  <a:cubicBezTo>
                    <a:pt x="509" y="138"/>
                    <a:pt x="507" y="138"/>
                    <a:pt x="505" y="138"/>
                  </a:cubicBezTo>
                  <a:cubicBezTo>
                    <a:pt x="498" y="138"/>
                    <a:pt x="492" y="142"/>
                    <a:pt x="490" y="149"/>
                  </a:cubicBezTo>
                  <a:cubicBezTo>
                    <a:pt x="488" y="154"/>
                    <a:pt x="488" y="159"/>
                    <a:pt x="489" y="165"/>
                  </a:cubicBezTo>
                  <a:cubicBezTo>
                    <a:pt x="489" y="166"/>
                    <a:pt x="490" y="167"/>
                    <a:pt x="490" y="169"/>
                  </a:cubicBezTo>
                  <a:cubicBezTo>
                    <a:pt x="493" y="175"/>
                    <a:pt x="498" y="178"/>
                    <a:pt x="505" y="178"/>
                  </a:cubicBezTo>
                  <a:cubicBezTo>
                    <a:pt x="514" y="179"/>
                    <a:pt x="520" y="175"/>
                    <a:pt x="522" y="166"/>
                  </a:cubicBezTo>
                  <a:cubicBezTo>
                    <a:pt x="523" y="164"/>
                    <a:pt x="523" y="161"/>
                    <a:pt x="523" y="159"/>
                  </a:cubicBezTo>
                  <a:cubicBezTo>
                    <a:pt x="523" y="157"/>
                    <a:pt x="523" y="155"/>
                    <a:pt x="523" y="152"/>
                  </a:cubicBezTo>
                  <a:close/>
                  <a:moveTo>
                    <a:pt x="739" y="159"/>
                  </a:moveTo>
                  <a:cubicBezTo>
                    <a:pt x="739" y="158"/>
                    <a:pt x="738" y="158"/>
                    <a:pt x="738" y="158"/>
                  </a:cubicBezTo>
                  <a:cubicBezTo>
                    <a:pt x="738" y="158"/>
                    <a:pt x="737" y="158"/>
                    <a:pt x="737" y="158"/>
                  </a:cubicBezTo>
                  <a:cubicBezTo>
                    <a:pt x="733" y="158"/>
                    <a:pt x="730" y="159"/>
                    <a:pt x="726" y="160"/>
                  </a:cubicBezTo>
                  <a:cubicBezTo>
                    <a:pt x="723" y="160"/>
                    <a:pt x="721" y="160"/>
                    <a:pt x="719" y="162"/>
                  </a:cubicBezTo>
                  <a:cubicBezTo>
                    <a:pt x="717" y="163"/>
                    <a:pt x="715" y="164"/>
                    <a:pt x="715" y="166"/>
                  </a:cubicBezTo>
                  <a:cubicBezTo>
                    <a:pt x="714" y="167"/>
                    <a:pt x="714" y="169"/>
                    <a:pt x="714" y="170"/>
                  </a:cubicBezTo>
                  <a:cubicBezTo>
                    <a:pt x="714" y="173"/>
                    <a:pt x="716" y="176"/>
                    <a:pt x="719" y="177"/>
                  </a:cubicBezTo>
                  <a:cubicBezTo>
                    <a:pt x="721" y="178"/>
                    <a:pt x="724" y="179"/>
                    <a:pt x="726" y="178"/>
                  </a:cubicBezTo>
                  <a:cubicBezTo>
                    <a:pt x="732" y="178"/>
                    <a:pt x="737" y="173"/>
                    <a:pt x="738" y="167"/>
                  </a:cubicBezTo>
                  <a:cubicBezTo>
                    <a:pt x="739" y="165"/>
                    <a:pt x="739" y="164"/>
                    <a:pt x="739" y="162"/>
                  </a:cubicBezTo>
                  <a:cubicBezTo>
                    <a:pt x="739" y="161"/>
                    <a:pt x="739" y="160"/>
                    <a:pt x="739" y="159"/>
                  </a:cubicBezTo>
                  <a:close/>
                </a:path>
              </a:pathLst>
            </a:custGeom>
            <a:solidFill>
              <a:schemeClr val="tx1"/>
            </a:solidFill>
            <a:ln>
              <a:noFill/>
            </a:ln>
          </p:spPr>
          <p:txBody>
            <a:bodyPr vert="horz" wrap="square" lIns="89606" tIns="44804" rIns="89606" bIns="44804" numCol="1" anchor="t" anchorCtr="0" compatLnSpc="1">
              <a:prstTxWarp prst="textNoShape">
                <a:avLst/>
              </a:prstTxWarp>
            </a:bodyPr>
            <a:lstStyle/>
            <a:p>
              <a:pPr defTabSz="914005"/>
              <a:endParaRPr lang="en-US" sz="1763"/>
            </a:p>
          </p:txBody>
        </p:sp>
      </p:grpSp>
      <p:sp>
        <p:nvSpPr>
          <p:cNvPr id="10" name="Rectangle 9"/>
          <p:cNvSpPr/>
          <p:nvPr/>
        </p:nvSpPr>
        <p:spPr bwMode="auto">
          <a:xfrm>
            <a:off x="3962198" y="1169350"/>
            <a:ext cx="884440" cy="615371"/>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20" name="Group 419"/>
          <p:cNvGrpSpPr/>
          <p:nvPr/>
        </p:nvGrpSpPr>
        <p:grpSpPr>
          <a:xfrm>
            <a:off x="3945674" y="833584"/>
            <a:ext cx="1855581" cy="951137"/>
            <a:chOff x="6975298" y="1331295"/>
            <a:chExt cx="1855844" cy="951272"/>
          </a:xfrm>
        </p:grpSpPr>
        <p:sp>
          <p:nvSpPr>
            <p:cNvPr id="468" name="Freeform 10"/>
            <p:cNvSpPr>
              <a:spLocks noChangeAspect="1" noEditPoints="1"/>
            </p:cNvSpPr>
            <p:nvPr/>
          </p:nvSpPr>
          <p:spPr bwMode="auto">
            <a:xfrm>
              <a:off x="7200682" y="1892133"/>
              <a:ext cx="1484461" cy="153633"/>
            </a:xfrm>
            <a:custGeom>
              <a:avLst/>
              <a:gdLst>
                <a:gd name="T0" fmla="*/ 215 w 954"/>
                <a:gd name="T1" fmla="*/ 82 h 96"/>
                <a:gd name="T2" fmla="*/ 165 w 954"/>
                <a:gd name="T3" fmla="*/ 73 h 96"/>
                <a:gd name="T4" fmla="*/ 131 w 954"/>
                <a:gd name="T5" fmla="*/ 5 h 96"/>
                <a:gd name="T6" fmla="*/ 189 w 954"/>
                <a:gd name="T7" fmla="*/ 20 h 96"/>
                <a:gd name="T8" fmla="*/ 266 w 954"/>
                <a:gd name="T9" fmla="*/ 7 h 96"/>
                <a:gd name="T10" fmla="*/ 254 w 954"/>
                <a:gd name="T11" fmla="*/ 12 h 96"/>
                <a:gd name="T12" fmla="*/ 264 w 954"/>
                <a:gd name="T13" fmla="*/ 94 h 96"/>
                <a:gd name="T14" fmla="*/ 332 w 954"/>
                <a:gd name="T15" fmla="*/ 94 h 96"/>
                <a:gd name="T16" fmla="*/ 289 w 954"/>
                <a:gd name="T17" fmla="*/ 41 h 96"/>
                <a:gd name="T18" fmla="*/ 289 w 954"/>
                <a:gd name="T19" fmla="*/ 94 h 96"/>
                <a:gd name="T20" fmla="*/ 322 w 954"/>
                <a:gd name="T21" fmla="*/ 94 h 96"/>
                <a:gd name="T22" fmla="*/ 390 w 954"/>
                <a:gd name="T23" fmla="*/ 0 h 96"/>
                <a:gd name="T24" fmla="*/ 341 w 954"/>
                <a:gd name="T25" fmla="*/ 63 h 96"/>
                <a:gd name="T26" fmla="*/ 390 w 954"/>
                <a:gd name="T27" fmla="*/ 94 h 96"/>
                <a:gd name="T28" fmla="*/ 357 w 954"/>
                <a:gd name="T29" fmla="*/ 81 h 96"/>
                <a:gd name="T30" fmla="*/ 390 w 954"/>
                <a:gd name="T31" fmla="*/ 56 h 96"/>
                <a:gd name="T32" fmla="*/ 420 w 954"/>
                <a:gd name="T33" fmla="*/ 37 h 96"/>
                <a:gd name="T34" fmla="*/ 474 w 954"/>
                <a:gd name="T35" fmla="*/ 62 h 96"/>
                <a:gd name="T36" fmla="*/ 421 w 954"/>
                <a:gd name="T37" fmla="*/ 63 h 96"/>
                <a:gd name="T38" fmla="*/ 565 w 954"/>
                <a:gd name="T39" fmla="*/ 30 h 96"/>
                <a:gd name="T40" fmla="*/ 540 w 954"/>
                <a:gd name="T41" fmla="*/ 84 h 96"/>
                <a:gd name="T42" fmla="*/ 500 w 954"/>
                <a:gd name="T43" fmla="*/ 84 h 96"/>
                <a:gd name="T44" fmla="*/ 495 w 954"/>
                <a:gd name="T45" fmla="*/ 94 h 96"/>
                <a:gd name="T46" fmla="*/ 522 w 954"/>
                <a:gd name="T47" fmla="*/ 49 h 96"/>
                <a:gd name="T48" fmla="*/ 602 w 954"/>
                <a:gd name="T49" fmla="*/ 65 h 96"/>
                <a:gd name="T50" fmla="*/ 589 w 954"/>
                <a:gd name="T51" fmla="*/ 37 h 96"/>
                <a:gd name="T52" fmla="*/ 567 w 954"/>
                <a:gd name="T53" fmla="*/ 47 h 96"/>
                <a:gd name="T54" fmla="*/ 584 w 954"/>
                <a:gd name="T55" fmla="*/ 87 h 96"/>
                <a:gd name="T56" fmla="*/ 606 w 954"/>
                <a:gd name="T57" fmla="*/ 77 h 96"/>
                <a:gd name="T58" fmla="*/ 636 w 954"/>
                <a:gd name="T59" fmla="*/ 5 h 96"/>
                <a:gd name="T60" fmla="*/ 695 w 954"/>
                <a:gd name="T61" fmla="*/ 29 h 96"/>
                <a:gd name="T62" fmla="*/ 664 w 954"/>
                <a:gd name="T63" fmla="*/ 94 h 96"/>
                <a:gd name="T64" fmla="*/ 706 w 954"/>
                <a:gd name="T65" fmla="*/ 58 h 96"/>
                <a:gd name="T66" fmla="*/ 760 w 954"/>
                <a:gd name="T67" fmla="*/ 85 h 96"/>
                <a:gd name="T68" fmla="*/ 760 w 954"/>
                <a:gd name="T69" fmla="*/ 39 h 96"/>
                <a:gd name="T70" fmla="*/ 734 w 954"/>
                <a:gd name="T71" fmla="*/ 30 h 96"/>
                <a:gd name="T72" fmla="*/ 751 w 954"/>
                <a:gd name="T73" fmla="*/ 95 h 96"/>
                <a:gd name="T74" fmla="*/ 810 w 954"/>
                <a:gd name="T75" fmla="*/ 30 h 96"/>
                <a:gd name="T76" fmla="*/ 778 w 954"/>
                <a:gd name="T77" fmla="*/ 30 h 96"/>
                <a:gd name="T78" fmla="*/ 810 w 954"/>
                <a:gd name="T79" fmla="*/ 84 h 96"/>
                <a:gd name="T80" fmla="*/ 889 w 954"/>
                <a:gd name="T81" fmla="*/ 55 h 96"/>
                <a:gd name="T82" fmla="*/ 846 w 954"/>
                <a:gd name="T83" fmla="*/ 30 h 96"/>
                <a:gd name="T84" fmla="*/ 851 w 954"/>
                <a:gd name="T85" fmla="*/ 43 h 96"/>
                <a:gd name="T86" fmla="*/ 954 w 954"/>
                <a:gd name="T87" fmla="*/ 65 h 96"/>
                <a:gd name="T88" fmla="*/ 907 w 954"/>
                <a:gd name="T89" fmla="*/ 37 h 96"/>
                <a:gd name="T90" fmla="*/ 949 w 954"/>
                <a:gd name="T91" fmla="*/ 80 h 96"/>
                <a:gd name="T92" fmla="*/ 943 w 954"/>
                <a:gd name="T93" fmla="*/ 56 h 96"/>
                <a:gd name="T94" fmla="*/ 939 w 954"/>
                <a:gd name="T95" fmla="*/ 42 h 96"/>
                <a:gd name="T96" fmla="*/ 95 w 954"/>
                <a:gd name="T97" fmla="*/ 46 h 96"/>
                <a:gd name="T98" fmla="*/ 0 w 954"/>
                <a:gd name="T99" fmla="*/ 46 h 96"/>
                <a:gd name="T100" fmla="*/ 0 w 954"/>
                <a:gd name="T101" fmla="*/ 82 h 96"/>
                <a:gd name="T102" fmla="*/ 43 w 954"/>
                <a:gd name="T103" fmla="*/ 88 h 96"/>
                <a:gd name="T104" fmla="*/ 43 w 954"/>
                <a:gd name="T105"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4" h="96">
                  <a:moveTo>
                    <a:pt x="246" y="5"/>
                  </a:moveTo>
                  <a:cubicBezTo>
                    <a:pt x="246" y="5"/>
                    <a:pt x="246" y="5"/>
                    <a:pt x="246" y="5"/>
                  </a:cubicBezTo>
                  <a:cubicBezTo>
                    <a:pt x="235" y="5"/>
                    <a:pt x="235" y="5"/>
                    <a:pt x="235" y="5"/>
                  </a:cubicBezTo>
                  <a:cubicBezTo>
                    <a:pt x="235" y="5"/>
                    <a:pt x="235" y="5"/>
                    <a:pt x="217" y="73"/>
                  </a:cubicBezTo>
                  <a:cubicBezTo>
                    <a:pt x="216" y="77"/>
                    <a:pt x="215" y="80"/>
                    <a:pt x="215" y="82"/>
                  </a:cubicBezTo>
                  <a:cubicBezTo>
                    <a:pt x="215" y="82"/>
                    <a:pt x="215" y="82"/>
                    <a:pt x="215" y="82"/>
                  </a:cubicBezTo>
                  <a:cubicBezTo>
                    <a:pt x="215" y="79"/>
                    <a:pt x="214" y="76"/>
                    <a:pt x="214" y="74"/>
                  </a:cubicBezTo>
                  <a:cubicBezTo>
                    <a:pt x="214" y="74"/>
                    <a:pt x="214" y="74"/>
                    <a:pt x="195" y="5"/>
                  </a:cubicBezTo>
                  <a:cubicBezTo>
                    <a:pt x="195" y="5"/>
                    <a:pt x="195" y="5"/>
                    <a:pt x="185" y="5"/>
                  </a:cubicBezTo>
                  <a:cubicBezTo>
                    <a:pt x="185" y="5"/>
                    <a:pt x="185" y="5"/>
                    <a:pt x="165" y="73"/>
                  </a:cubicBezTo>
                  <a:cubicBezTo>
                    <a:pt x="164" y="77"/>
                    <a:pt x="163" y="80"/>
                    <a:pt x="163" y="82"/>
                  </a:cubicBezTo>
                  <a:cubicBezTo>
                    <a:pt x="163" y="82"/>
                    <a:pt x="163" y="82"/>
                    <a:pt x="163" y="82"/>
                  </a:cubicBezTo>
                  <a:cubicBezTo>
                    <a:pt x="162" y="79"/>
                    <a:pt x="162" y="76"/>
                    <a:pt x="161" y="73"/>
                  </a:cubicBezTo>
                  <a:cubicBezTo>
                    <a:pt x="161" y="73"/>
                    <a:pt x="161" y="73"/>
                    <a:pt x="142" y="5"/>
                  </a:cubicBezTo>
                  <a:cubicBezTo>
                    <a:pt x="142" y="5"/>
                    <a:pt x="142" y="5"/>
                    <a:pt x="131" y="5"/>
                  </a:cubicBezTo>
                  <a:cubicBezTo>
                    <a:pt x="131" y="5"/>
                    <a:pt x="131" y="5"/>
                    <a:pt x="157" y="94"/>
                  </a:cubicBezTo>
                  <a:cubicBezTo>
                    <a:pt x="157" y="94"/>
                    <a:pt x="157" y="94"/>
                    <a:pt x="169" y="94"/>
                  </a:cubicBezTo>
                  <a:cubicBezTo>
                    <a:pt x="169" y="94"/>
                    <a:pt x="169" y="94"/>
                    <a:pt x="188" y="29"/>
                  </a:cubicBezTo>
                  <a:cubicBezTo>
                    <a:pt x="188" y="26"/>
                    <a:pt x="189" y="23"/>
                    <a:pt x="189" y="20"/>
                  </a:cubicBezTo>
                  <a:cubicBezTo>
                    <a:pt x="189" y="20"/>
                    <a:pt x="189" y="20"/>
                    <a:pt x="189" y="20"/>
                  </a:cubicBezTo>
                  <a:cubicBezTo>
                    <a:pt x="189" y="23"/>
                    <a:pt x="190" y="26"/>
                    <a:pt x="191" y="29"/>
                  </a:cubicBezTo>
                  <a:cubicBezTo>
                    <a:pt x="191" y="29"/>
                    <a:pt x="191" y="29"/>
                    <a:pt x="209" y="94"/>
                  </a:cubicBezTo>
                  <a:cubicBezTo>
                    <a:pt x="209" y="94"/>
                    <a:pt x="209" y="94"/>
                    <a:pt x="221" y="94"/>
                  </a:cubicBezTo>
                  <a:cubicBezTo>
                    <a:pt x="221" y="94"/>
                    <a:pt x="221" y="94"/>
                    <a:pt x="246" y="5"/>
                  </a:cubicBezTo>
                  <a:close/>
                  <a:moveTo>
                    <a:pt x="266" y="7"/>
                  </a:moveTo>
                  <a:cubicBezTo>
                    <a:pt x="266" y="6"/>
                    <a:pt x="265" y="4"/>
                    <a:pt x="263" y="3"/>
                  </a:cubicBezTo>
                  <a:cubicBezTo>
                    <a:pt x="262" y="2"/>
                    <a:pt x="261" y="1"/>
                    <a:pt x="258" y="1"/>
                  </a:cubicBezTo>
                  <a:cubicBezTo>
                    <a:pt x="257" y="1"/>
                    <a:pt x="255" y="2"/>
                    <a:pt x="254" y="3"/>
                  </a:cubicBezTo>
                  <a:cubicBezTo>
                    <a:pt x="253" y="4"/>
                    <a:pt x="252" y="6"/>
                    <a:pt x="252" y="7"/>
                  </a:cubicBezTo>
                  <a:cubicBezTo>
                    <a:pt x="252" y="10"/>
                    <a:pt x="253" y="11"/>
                    <a:pt x="254" y="12"/>
                  </a:cubicBezTo>
                  <a:cubicBezTo>
                    <a:pt x="255" y="14"/>
                    <a:pt x="257" y="14"/>
                    <a:pt x="258" y="14"/>
                  </a:cubicBezTo>
                  <a:cubicBezTo>
                    <a:pt x="261" y="14"/>
                    <a:pt x="262" y="14"/>
                    <a:pt x="263" y="12"/>
                  </a:cubicBezTo>
                  <a:cubicBezTo>
                    <a:pt x="265" y="11"/>
                    <a:pt x="266" y="9"/>
                    <a:pt x="266" y="7"/>
                  </a:cubicBezTo>
                  <a:close/>
                  <a:moveTo>
                    <a:pt x="264" y="94"/>
                  </a:moveTo>
                  <a:cubicBezTo>
                    <a:pt x="264" y="94"/>
                    <a:pt x="264" y="94"/>
                    <a:pt x="264" y="94"/>
                  </a:cubicBezTo>
                  <a:cubicBezTo>
                    <a:pt x="264" y="30"/>
                    <a:pt x="264" y="30"/>
                    <a:pt x="264" y="30"/>
                  </a:cubicBezTo>
                  <a:cubicBezTo>
                    <a:pt x="264" y="30"/>
                    <a:pt x="264" y="30"/>
                    <a:pt x="253" y="30"/>
                  </a:cubicBezTo>
                  <a:cubicBezTo>
                    <a:pt x="253" y="30"/>
                    <a:pt x="253" y="30"/>
                    <a:pt x="253" y="94"/>
                  </a:cubicBezTo>
                  <a:cubicBezTo>
                    <a:pt x="253" y="94"/>
                    <a:pt x="253" y="94"/>
                    <a:pt x="264" y="94"/>
                  </a:cubicBezTo>
                  <a:close/>
                  <a:moveTo>
                    <a:pt x="332" y="94"/>
                  </a:moveTo>
                  <a:cubicBezTo>
                    <a:pt x="332" y="94"/>
                    <a:pt x="332" y="94"/>
                    <a:pt x="332" y="94"/>
                  </a:cubicBezTo>
                  <a:cubicBezTo>
                    <a:pt x="332" y="55"/>
                    <a:pt x="332" y="55"/>
                    <a:pt x="332" y="55"/>
                  </a:cubicBezTo>
                  <a:cubicBezTo>
                    <a:pt x="332" y="47"/>
                    <a:pt x="330" y="40"/>
                    <a:pt x="327" y="36"/>
                  </a:cubicBezTo>
                  <a:cubicBezTo>
                    <a:pt x="323" y="31"/>
                    <a:pt x="318" y="29"/>
                    <a:pt x="311" y="29"/>
                  </a:cubicBezTo>
                  <a:cubicBezTo>
                    <a:pt x="301" y="29"/>
                    <a:pt x="294" y="33"/>
                    <a:pt x="289" y="41"/>
                  </a:cubicBezTo>
                  <a:cubicBezTo>
                    <a:pt x="289" y="41"/>
                    <a:pt x="289" y="41"/>
                    <a:pt x="289" y="41"/>
                  </a:cubicBezTo>
                  <a:cubicBezTo>
                    <a:pt x="289" y="41"/>
                    <a:pt x="289" y="41"/>
                    <a:pt x="289" y="30"/>
                  </a:cubicBezTo>
                  <a:cubicBezTo>
                    <a:pt x="289" y="30"/>
                    <a:pt x="289" y="30"/>
                    <a:pt x="279" y="30"/>
                  </a:cubicBezTo>
                  <a:cubicBezTo>
                    <a:pt x="279" y="30"/>
                    <a:pt x="279" y="30"/>
                    <a:pt x="279" y="94"/>
                  </a:cubicBezTo>
                  <a:cubicBezTo>
                    <a:pt x="279" y="94"/>
                    <a:pt x="279" y="94"/>
                    <a:pt x="289" y="94"/>
                  </a:cubicBezTo>
                  <a:cubicBezTo>
                    <a:pt x="289" y="94"/>
                    <a:pt x="289" y="94"/>
                    <a:pt x="289" y="58"/>
                  </a:cubicBezTo>
                  <a:cubicBezTo>
                    <a:pt x="289" y="52"/>
                    <a:pt x="291" y="47"/>
                    <a:pt x="294" y="43"/>
                  </a:cubicBezTo>
                  <a:cubicBezTo>
                    <a:pt x="298" y="39"/>
                    <a:pt x="302" y="37"/>
                    <a:pt x="307" y="37"/>
                  </a:cubicBezTo>
                  <a:cubicBezTo>
                    <a:pt x="317" y="37"/>
                    <a:pt x="322" y="44"/>
                    <a:pt x="322" y="58"/>
                  </a:cubicBezTo>
                  <a:cubicBezTo>
                    <a:pt x="322" y="58"/>
                    <a:pt x="322" y="58"/>
                    <a:pt x="322" y="94"/>
                  </a:cubicBezTo>
                  <a:cubicBezTo>
                    <a:pt x="322" y="94"/>
                    <a:pt x="322" y="94"/>
                    <a:pt x="332" y="94"/>
                  </a:cubicBezTo>
                  <a:close/>
                  <a:moveTo>
                    <a:pt x="400" y="94"/>
                  </a:moveTo>
                  <a:cubicBezTo>
                    <a:pt x="400" y="94"/>
                    <a:pt x="400" y="94"/>
                    <a:pt x="400" y="94"/>
                  </a:cubicBezTo>
                  <a:cubicBezTo>
                    <a:pt x="400" y="0"/>
                    <a:pt x="400" y="0"/>
                    <a:pt x="400" y="0"/>
                  </a:cubicBezTo>
                  <a:cubicBezTo>
                    <a:pt x="400" y="0"/>
                    <a:pt x="400" y="0"/>
                    <a:pt x="390" y="0"/>
                  </a:cubicBezTo>
                  <a:cubicBezTo>
                    <a:pt x="390" y="0"/>
                    <a:pt x="390" y="0"/>
                    <a:pt x="390" y="39"/>
                  </a:cubicBezTo>
                  <a:cubicBezTo>
                    <a:pt x="390" y="39"/>
                    <a:pt x="390" y="39"/>
                    <a:pt x="389" y="39"/>
                  </a:cubicBezTo>
                  <a:cubicBezTo>
                    <a:pt x="385" y="32"/>
                    <a:pt x="379" y="29"/>
                    <a:pt x="370" y="29"/>
                  </a:cubicBezTo>
                  <a:cubicBezTo>
                    <a:pt x="361" y="29"/>
                    <a:pt x="354" y="32"/>
                    <a:pt x="349" y="38"/>
                  </a:cubicBezTo>
                  <a:cubicBezTo>
                    <a:pt x="344" y="44"/>
                    <a:pt x="341" y="53"/>
                    <a:pt x="341" y="63"/>
                  </a:cubicBezTo>
                  <a:cubicBezTo>
                    <a:pt x="341" y="74"/>
                    <a:pt x="344" y="82"/>
                    <a:pt x="349" y="87"/>
                  </a:cubicBezTo>
                  <a:cubicBezTo>
                    <a:pt x="353" y="93"/>
                    <a:pt x="360" y="95"/>
                    <a:pt x="368" y="95"/>
                  </a:cubicBezTo>
                  <a:cubicBezTo>
                    <a:pt x="377" y="95"/>
                    <a:pt x="385" y="91"/>
                    <a:pt x="389" y="83"/>
                  </a:cubicBezTo>
                  <a:cubicBezTo>
                    <a:pt x="389" y="83"/>
                    <a:pt x="389" y="83"/>
                    <a:pt x="390" y="83"/>
                  </a:cubicBezTo>
                  <a:cubicBezTo>
                    <a:pt x="390" y="83"/>
                    <a:pt x="390" y="83"/>
                    <a:pt x="390" y="94"/>
                  </a:cubicBezTo>
                  <a:cubicBezTo>
                    <a:pt x="390" y="94"/>
                    <a:pt x="390" y="94"/>
                    <a:pt x="400" y="94"/>
                  </a:cubicBezTo>
                  <a:close/>
                  <a:moveTo>
                    <a:pt x="390" y="65"/>
                  </a:moveTo>
                  <a:cubicBezTo>
                    <a:pt x="390" y="71"/>
                    <a:pt x="388" y="76"/>
                    <a:pt x="385" y="80"/>
                  </a:cubicBezTo>
                  <a:cubicBezTo>
                    <a:pt x="381" y="85"/>
                    <a:pt x="377" y="87"/>
                    <a:pt x="371" y="87"/>
                  </a:cubicBezTo>
                  <a:cubicBezTo>
                    <a:pt x="365" y="87"/>
                    <a:pt x="361" y="85"/>
                    <a:pt x="357" y="81"/>
                  </a:cubicBezTo>
                  <a:cubicBezTo>
                    <a:pt x="353" y="77"/>
                    <a:pt x="352" y="70"/>
                    <a:pt x="352" y="63"/>
                  </a:cubicBezTo>
                  <a:cubicBezTo>
                    <a:pt x="352" y="55"/>
                    <a:pt x="353" y="49"/>
                    <a:pt x="357" y="44"/>
                  </a:cubicBezTo>
                  <a:cubicBezTo>
                    <a:pt x="361" y="40"/>
                    <a:pt x="365" y="37"/>
                    <a:pt x="372" y="37"/>
                  </a:cubicBezTo>
                  <a:cubicBezTo>
                    <a:pt x="377" y="37"/>
                    <a:pt x="381" y="39"/>
                    <a:pt x="385" y="43"/>
                  </a:cubicBezTo>
                  <a:cubicBezTo>
                    <a:pt x="388" y="46"/>
                    <a:pt x="390" y="51"/>
                    <a:pt x="390" y="56"/>
                  </a:cubicBezTo>
                  <a:cubicBezTo>
                    <a:pt x="390" y="56"/>
                    <a:pt x="390" y="56"/>
                    <a:pt x="390" y="65"/>
                  </a:cubicBezTo>
                  <a:close/>
                  <a:moveTo>
                    <a:pt x="474" y="62"/>
                  </a:moveTo>
                  <a:cubicBezTo>
                    <a:pt x="474" y="52"/>
                    <a:pt x="471" y="44"/>
                    <a:pt x="466" y="37"/>
                  </a:cubicBezTo>
                  <a:cubicBezTo>
                    <a:pt x="460" y="32"/>
                    <a:pt x="453" y="29"/>
                    <a:pt x="443" y="29"/>
                  </a:cubicBezTo>
                  <a:cubicBezTo>
                    <a:pt x="434" y="29"/>
                    <a:pt x="426" y="32"/>
                    <a:pt x="420" y="37"/>
                  </a:cubicBezTo>
                  <a:cubicBezTo>
                    <a:pt x="414" y="43"/>
                    <a:pt x="411" y="52"/>
                    <a:pt x="411" y="63"/>
                  </a:cubicBezTo>
                  <a:cubicBezTo>
                    <a:pt x="411" y="72"/>
                    <a:pt x="413" y="80"/>
                    <a:pt x="419" y="86"/>
                  </a:cubicBezTo>
                  <a:cubicBezTo>
                    <a:pt x="424" y="92"/>
                    <a:pt x="432" y="95"/>
                    <a:pt x="442" y="95"/>
                  </a:cubicBezTo>
                  <a:cubicBezTo>
                    <a:pt x="452" y="95"/>
                    <a:pt x="459" y="92"/>
                    <a:pt x="465" y="86"/>
                  </a:cubicBezTo>
                  <a:cubicBezTo>
                    <a:pt x="471" y="80"/>
                    <a:pt x="474" y="72"/>
                    <a:pt x="474" y="62"/>
                  </a:cubicBezTo>
                  <a:close/>
                  <a:moveTo>
                    <a:pt x="463" y="62"/>
                  </a:moveTo>
                  <a:cubicBezTo>
                    <a:pt x="463" y="70"/>
                    <a:pt x="461" y="76"/>
                    <a:pt x="458" y="80"/>
                  </a:cubicBezTo>
                  <a:cubicBezTo>
                    <a:pt x="455" y="85"/>
                    <a:pt x="449" y="87"/>
                    <a:pt x="443" y="87"/>
                  </a:cubicBezTo>
                  <a:cubicBezTo>
                    <a:pt x="436" y="87"/>
                    <a:pt x="431" y="85"/>
                    <a:pt x="427" y="80"/>
                  </a:cubicBezTo>
                  <a:cubicBezTo>
                    <a:pt x="423" y="76"/>
                    <a:pt x="421" y="70"/>
                    <a:pt x="421" y="63"/>
                  </a:cubicBezTo>
                  <a:cubicBezTo>
                    <a:pt x="421" y="54"/>
                    <a:pt x="423" y="48"/>
                    <a:pt x="427" y="44"/>
                  </a:cubicBezTo>
                  <a:cubicBezTo>
                    <a:pt x="431" y="40"/>
                    <a:pt x="436" y="37"/>
                    <a:pt x="443" y="37"/>
                  </a:cubicBezTo>
                  <a:cubicBezTo>
                    <a:pt x="449" y="37"/>
                    <a:pt x="454" y="40"/>
                    <a:pt x="458" y="44"/>
                  </a:cubicBezTo>
                  <a:cubicBezTo>
                    <a:pt x="461" y="48"/>
                    <a:pt x="463" y="54"/>
                    <a:pt x="463" y="62"/>
                  </a:cubicBezTo>
                  <a:close/>
                  <a:moveTo>
                    <a:pt x="565" y="30"/>
                  </a:moveTo>
                  <a:cubicBezTo>
                    <a:pt x="565" y="30"/>
                    <a:pt x="565" y="30"/>
                    <a:pt x="565" y="30"/>
                  </a:cubicBezTo>
                  <a:cubicBezTo>
                    <a:pt x="554" y="30"/>
                    <a:pt x="554" y="30"/>
                    <a:pt x="554" y="30"/>
                  </a:cubicBezTo>
                  <a:cubicBezTo>
                    <a:pt x="554" y="30"/>
                    <a:pt x="554" y="30"/>
                    <a:pt x="541" y="78"/>
                  </a:cubicBezTo>
                  <a:cubicBezTo>
                    <a:pt x="541" y="80"/>
                    <a:pt x="540" y="83"/>
                    <a:pt x="540" y="84"/>
                  </a:cubicBezTo>
                  <a:cubicBezTo>
                    <a:pt x="540" y="84"/>
                    <a:pt x="540" y="84"/>
                    <a:pt x="540" y="84"/>
                  </a:cubicBezTo>
                  <a:cubicBezTo>
                    <a:pt x="540" y="82"/>
                    <a:pt x="539" y="80"/>
                    <a:pt x="539" y="78"/>
                  </a:cubicBezTo>
                  <a:cubicBezTo>
                    <a:pt x="539" y="78"/>
                    <a:pt x="539" y="78"/>
                    <a:pt x="526" y="30"/>
                  </a:cubicBezTo>
                  <a:cubicBezTo>
                    <a:pt x="526" y="30"/>
                    <a:pt x="526" y="30"/>
                    <a:pt x="516" y="30"/>
                  </a:cubicBezTo>
                  <a:cubicBezTo>
                    <a:pt x="516" y="30"/>
                    <a:pt x="516" y="30"/>
                    <a:pt x="502" y="78"/>
                  </a:cubicBezTo>
                  <a:cubicBezTo>
                    <a:pt x="501" y="80"/>
                    <a:pt x="501" y="82"/>
                    <a:pt x="500" y="84"/>
                  </a:cubicBezTo>
                  <a:cubicBezTo>
                    <a:pt x="500" y="84"/>
                    <a:pt x="500" y="84"/>
                    <a:pt x="500" y="84"/>
                  </a:cubicBezTo>
                  <a:cubicBezTo>
                    <a:pt x="500" y="82"/>
                    <a:pt x="500" y="80"/>
                    <a:pt x="499" y="78"/>
                  </a:cubicBezTo>
                  <a:cubicBezTo>
                    <a:pt x="499" y="78"/>
                    <a:pt x="499" y="78"/>
                    <a:pt x="486" y="30"/>
                  </a:cubicBezTo>
                  <a:cubicBezTo>
                    <a:pt x="486" y="30"/>
                    <a:pt x="486" y="30"/>
                    <a:pt x="475" y="30"/>
                  </a:cubicBezTo>
                  <a:cubicBezTo>
                    <a:pt x="475" y="30"/>
                    <a:pt x="475" y="30"/>
                    <a:pt x="495" y="94"/>
                  </a:cubicBezTo>
                  <a:cubicBezTo>
                    <a:pt x="495" y="94"/>
                    <a:pt x="495" y="94"/>
                    <a:pt x="505" y="94"/>
                  </a:cubicBezTo>
                  <a:cubicBezTo>
                    <a:pt x="505" y="94"/>
                    <a:pt x="505" y="94"/>
                    <a:pt x="519" y="48"/>
                  </a:cubicBezTo>
                  <a:cubicBezTo>
                    <a:pt x="520" y="46"/>
                    <a:pt x="520" y="44"/>
                    <a:pt x="520" y="43"/>
                  </a:cubicBezTo>
                  <a:cubicBezTo>
                    <a:pt x="520" y="43"/>
                    <a:pt x="520" y="43"/>
                    <a:pt x="521" y="43"/>
                  </a:cubicBezTo>
                  <a:cubicBezTo>
                    <a:pt x="521" y="45"/>
                    <a:pt x="521" y="47"/>
                    <a:pt x="522" y="49"/>
                  </a:cubicBezTo>
                  <a:cubicBezTo>
                    <a:pt x="522" y="49"/>
                    <a:pt x="522" y="49"/>
                    <a:pt x="535" y="94"/>
                  </a:cubicBezTo>
                  <a:cubicBezTo>
                    <a:pt x="535" y="94"/>
                    <a:pt x="535" y="94"/>
                    <a:pt x="545" y="94"/>
                  </a:cubicBezTo>
                  <a:cubicBezTo>
                    <a:pt x="545" y="94"/>
                    <a:pt x="545" y="94"/>
                    <a:pt x="565" y="30"/>
                  </a:cubicBezTo>
                  <a:close/>
                  <a:moveTo>
                    <a:pt x="606" y="77"/>
                  </a:moveTo>
                  <a:cubicBezTo>
                    <a:pt x="606" y="72"/>
                    <a:pt x="605" y="68"/>
                    <a:pt x="602" y="65"/>
                  </a:cubicBezTo>
                  <a:cubicBezTo>
                    <a:pt x="599" y="63"/>
                    <a:pt x="595" y="60"/>
                    <a:pt x="590" y="58"/>
                  </a:cubicBezTo>
                  <a:cubicBezTo>
                    <a:pt x="585" y="56"/>
                    <a:pt x="582" y="54"/>
                    <a:pt x="580" y="53"/>
                  </a:cubicBezTo>
                  <a:cubicBezTo>
                    <a:pt x="579" y="51"/>
                    <a:pt x="578" y="49"/>
                    <a:pt x="578" y="46"/>
                  </a:cubicBezTo>
                  <a:cubicBezTo>
                    <a:pt x="578" y="44"/>
                    <a:pt x="579" y="41"/>
                    <a:pt x="581" y="40"/>
                  </a:cubicBezTo>
                  <a:cubicBezTo>
                    <a:pt x="583" y="38"/>
                    <a:pt x="586" y="37"/>
                    <a:pt x="589" y="37"/>
                  </a:cubicBezTo>
                  <a:cubicBezTo>
                    <a:pt x="594" y="37"/>
                    <a:pt x="599" y="39"/>
                    <a:pt x="603" y="42"/>
                  </a:cubicBezTo>
                  <a:cubicBezTo>
                    <a:pt x="603" y="42"/>
                    <a:pt x="603" y="42"/>
                    <a:pt x="603" y="32"/>
                  </a:cubicBezTo>
                  <a:cubicBezTo>
                    <a:pt x="599" y="30"/>
                    <a:pt x="595" y="29"/>
                    <a:pt x="590" y="29"/>
                  </a:cubicBezTo>
                  <a:cubicBezTo>
                    <a:pt x="583" y="29"/>
                    <a:pt x="578" y="30"/>
                    <a:pt x="574" y="34"/>
                  </a:cubicBezTo>
                  <a:cubicBezTo>
                    <a:pt x="569" y="37"/>
                    <a:pt x="567" y="42"/>
                    <a:pt x="567" y="47"/>
                  </a:cubicBezTo>
                  <a:cubicBezTo>
                    <a:pt x="567" y="52"/>
                    <a:pt x="568" y="56"/>
                    <a:pt x="572" y="59"/>
                  </a:cubicBezTo>
                  <a:cubicBezTo>
                    <a:pt x="574" y="61"/>
                    <a:pt x="577" y="63"/>
                    <a:pt x="583" y="66"/>
                  </a:cubicBezTo>
                  <a:cubicBezTo>
                    <a:pt x="588" y="68"/>
                    <a:pt x="591" y="70"/>
                    <a:pt x="593" y="72"/>
                  </a:cubicBezTo>
                  <a:cubicBezTo>
                    <a:pt x="595" y="73"/>
                    <a:pt x="596" y="75"/>
                    <a:pt x="596" y="78"/>
                  </a:cubicBezTo>
                  <a:cubicBezTo>
                    <a:pt x="596" y="84"/>
                    <a:pt x="592" y="87"/>
                    <a:pt x="584" y="87"/>
                  </a:cubicBezTo>
                  <a:cubicBezTo>
                    <a:pt x="578" y="87"/>
                    <a:pt x="572" y="85"/>
                    <a:pt x="567" y="81"/>
                  </a:cubicBezTo>
                  <a:cubicBezTo>
                    <a:pt x="567" y="81"/>
                    <a:pt x="567" y="81"/>
                    <a:pt x="567" y="92"/>
                  </a:cubicBezTo>
                  <a:cubicBezTo>
                    <a:pt x="572" y="94"/>
                    <a:pt x="577" y="95"/>
                    <a:pt x="583" y="95"/>
                  </a:cubicBezTo>
                  <a:cubicBezTo>
                    <a:pt x="590" y="95"/>
                    <a:pt x="596" y="94"/>
                    <a:pt x="600" y="90"/>
                  </a:cubicBezTo>
                  <a:cubicBezTo>
                    <a:pt x="604" y="86"/>
                    <a:pt x="606" y="82"/>
                    <a:pt x="606" y="77"/>
                  </a:cubicBezTo>
                  <a:close/>
                  <a:moveTo>
                    <a:pt x="636" y="5"/>
                  </a:moveTo>
                  <a:cubicBezTo>
                    <a:pt x="636" y="94"/>
                    <a:pt x="636" y="94"/>
                    <a:pt x="636" y="94"/>
                  </a:cubicBezTo>
                  <a:cubicBezTo>
                    <a:pt x="647" y="94"/>
                    <a:pt x="647" y="94"/>
                    <a:pt x="647" y="94"/>
                  </a:cubicBezTo>
                  <a:cubicBezTo>
                    <a:pt x="647" y="5"/>
                    <a:pt x="647" y="5"/>
                    <a:pt x="647" y="5"/>
                  </a:cubicBezTo>
                  <a:cubicBezTo>
                    <a:pt x="636" y="5"/>
                    <a:pt x="636" y="5"/>
                    <a:pt x="636" y="5"/>
                  </a:cubicBezTo>
                  <a:close/>
                  <a:moveTo>
                    <a:pt x="716" y="94"/>
                  </a:moveTo>
                  <a:cubicBezTo>
                    <a:pt x="716" y="94"/>
                    <a:pt x="716" y="94"/>
                    <a:pt x="716" y="94"/>
                  </a:cubicBezTo>
                  <a:cubicBezTo>
                    <a:pt x="716" y="55"/>
                    <a:pt x="716" y="55"/>
                    <a:pt x="716" y="55"/>
                  </a:cubicBezTo>
                  <a:cubicBezTo>
                    <a:pt x="716" y="47"/>
                    <a:pt x="715" y="40"/>
                    <a:pt x="711" y="36"/>
                  </a:cubicBezTo>
                  <a:cubicBezTo>
                    <a:pt x="708" y="31"/>
                    <a:pt x="702" y="29"/>
                    <a:pt x="695" y="29"/>
                  </a:cubicBezTo>
                  <a:cubicBezTo>
                    <a:pt x="686" y="29"/>
                    <a:pt x="679" y="33"/>
                    <a:pt x="674" y="41"/>
                  </a:cubicBezTo>
                  <a:cubicBezTo>
                    <a:pt x="674" y="41"/>
                    <a:pt x="674" y="41"/>
                    <a:pt x="674" y="41"/>
                  </a:cubicBezTo>
                  <a:cubicBezTo>
                    <a:pt x="674" y="41"/>
                    <a:pt x="674" y="41"/>
                    <a:pt x="674" y="30"/>
                  </a:cubicBezTo>
                  <a:cubicBezTo>
                    <a:pt x="674" y="30"/>
                    <a:pt x="674" y="30"/>
                    <a:pt x="664" y="30"/>
                  </a:cubicBezTo>
                  <a:cubicBezTo>
                    <a:pt x="664" y="30"/>
                    <a:pt x="664" y="30"/>
                    <a:pt x="664" y="94"/>
                  </a:cubicBezTo>
                  <a:cubicBezTo>
                    <a:pt x="664" y="94"/>
                    <a:pt x="664" y="94"/>
                    <a:pt x="674" y="94"/>
                  </a:cubicBezTo>
                  <a:cubicBezTo>
                    <a:pt x="674" y="94"/>
                    <a:pt x="674" y="94"/>
                    <a:pt x="674" y="58"/>
                  </a:cubicBezTo>
                  <a:cubicBezTo>
                    <a:pt x="674" y="52"/>
                    <a:pt x="676" y="47"/>
                    <a:pt x="679" y="43"/>
                  </a:cubicBezTo>
                  <a:cubicBezTo>
                    <a:pt x="682" y="39"/>
                    <a:pt x="686" y="37"/>
                    <a:pt x="692" y="37"/>
                  </a:cubicBezTo>
                  <a:cubicBezTo>
                    <a:pt x="701" y="37"/>
                    <a:pt x="706" y="44"/>
                    <a:pt x="706" y="58"/>
                  </a:cubicBezTo>
                  <a:cubicBezTo>
                    <a:pt x="706" y="58"/>
                    <a:pt x="706" y="58"/>
                    <a:pt x="706" y="94"/>
                  </a:cubicBezTo>
                  <a:cubicBezTo>
                    <a:pt x="706" y="94"/>
                    <a:pt x="706" y="94"/>
                    <a:pt x="716" y="94"/>
                  </a:cubicBezTo>
                  <a:close/>
                  <a:moveTo>
                    <a:pt x="760" y="93"/>
                  </a:moveTo>
                  <a:cubicBezTo>
                    <a:pt x="760" y="93"/>
                    <a:pt x="760" y="93"/>
                    <a:pt x="760" y="93"/>
                  </a:cubicBezTo>
                  <a:cubicBezTo>
                    <a:pt x="760" y="85"/>
                    <a:pt x="760" y="85"/>
                    <a:pt x="760" y="85"/>
                  </a:cubicBezTo>
                  <a:cubicBezTo>
                    <a:pt x="759" y="86"/>
                    <a:pt x="756" y="86"/>
                    <a:pt x="754" y="86"/>
                  </a:cubicBezTo>
                  <a:cubicBezTo>
                    <a:pt x="750" y="86"/>
                    <a:pt x="748" y="86"/>
                    <a:pt x="747" y="84"/>
                  </a:cubicBezTo>
                  <a:cubicBezTo>
                    <a:pt x="745" y="82"/>
                    <a:pt x="745" y="79"/>
                    <a:pt x="745" y="75"/>
                  </a:cubicBezTo>
                  <a:cubicBezTo>
                    <a:pt x="745" y="75"/>
                    <a:pt x="745" y="75"/>
                    <a:pt x="745" y="39"/>
                  </a:cubicBezTo>
                  <a:cubicBezTo>
                    <a:pt x="745" y="39"/>
                    <a:pt x="745" y="39"/>
                    <a:pt x="760" y="39"/>
                  </a:cubicBezTo>
                  <a:cubicBezTo>
                    <a:pt x="760" y="39"/>
                    <a:pt x="760" y="39"/>
                    <a:pt x="760" y="30"/>
                  </a:cubicBezTo>
                  <a:cubicBezTo>
                    <a:pt x="760" y="30"/>
                    <a:pt x="760" y="30"/>
                    <a:pt x="745" y="30"/>
                  </a:cubicBezTo>
                  <a:cubicBezTo>
                    <a:pt x="745" y="30"/>
                    <a:pt x="745" y="30"/>
                    <a:pt x="745" y="11"/>
                  </a:cubicBezTo>
                  <a:cubicBezTo>
                    <a:pt x="741" y="12"/>
                    <a:pt x="737" y="13"/>
                    <a:pt x="734" y="15"/>
                  </a:cubicBezTo>
                  <a:cubicBezTo>
                    <a:pt x="734" y="15"/>
                    <a:pt x="734" y="15"/>
                    <a:pt x="734" y="30"/>
                  </a:cubicBezTo>
                  <a:cubicBezTo>
                    <a:pt x="734" y="30"/>
                    <a:pt x="734" y="30"/>
                    <a:pt x="723" y="30"/>
                  </a:cubicBezTo>
                  <a:cubicBezTo>
                    <a:pt x="723" y="30"/>
                    <a:pt x="723" y="30"/>
                    <a:pt x="723" y="39"/>
                  </a:cubicBezTo>
                  <a:cubicBezTo>
                    <a:pt x="723" y="39"/>
                    <a:pt x="723" y="39"/>
                    <a:pt x="734" y="39"/>
                  </a:cubicBezTo>
                  <a:cubicBezTo>
                    <a:pt x="734" y="39"/>
                    <a:pt x="734" y="39"/>
                    <a:pt x="734" y="77"/>
                  </a:cubicBezTo>
                  <a:cubicBezTo>
                    <a:pt x="734" y="89"/>
                    <a:pt x="740" y="95"/>
                    <a:pt x="751" y="95"/>
                  </a:cubicBezTo>
                  <a:cubicBezTo>
                    <a:pt x="755" y="95"/>
                    <a:pt x="758" y="95"/>
                    <a:pt x="760" y="93"/>
                  </a:cubicBezTo>
                  <a:close/>
                  <a:moveTo>
                    <a:pt x="820" y="94"/>
                  </a:moveTo>
                  <a:cubicBezTo>
                    <a:pt x="820" y="94"/>
                    <a:pt x="820" y="94"/>
                    <a:pt x="820" y="94"/>
                  </a:cubicBezTo>
                  <a:cubicBezTo>
                    <a:pt x="820" y="30"/>
                    <a:pt x="820" y="30"/>
                    <a:pt x="820" y="30"/>
                  </a:cubicBezTo>
                  <a:cubicBezTo>
                    <a:pt x="820" y="30"/>
                    <a:pt x="820" y="30"/>
                    <a:pt x="810" y="30"/>
                  </a:cubicBezTo>
                  <a:cubicBezTo>
                    <a:pt x="810" y="30"/>
                    <a:pt x="810" y="30"/>
                    <a:pt x="810" y="67"/>
                  </a:cubicBezTo>
                  <a:cubicBezTo>
                    <a:pt x="810" y="73"/>
                    <a:pt x="809" y="78"/>
                    <a:pt x="805" y="81"/>
                  </a:cubicBezTo>
                  <a:cubicBezTo>
                    <a:pt x="802" y="85"/>
                    <a:pt x="798" y="87"/>
                    <a:pt x="793" y="87"/>
                  </a:cubicBezTo>
                  <a:cubicBezTo>
                    <a:pt x="783" y="87"/>
                    <a:pt x="778" y="80"/>
                    <a:pt x="778" y="67"/>
                  </a:cubicBezTo>
                  <a:cubicBezTo>
                    <a:pt x="778" y="67"/>
                    <a:pt x="778" y="67"/>
                    <a:pt x="778" y="30"/>
                  </a:cubicBezTo>
                  <a:cubicBezTo>
                    <a:pt x="778" y="30"/>
                    <a:pt x="778" y="30"/>
                    <a:pt x="768" y="30"/>
                  </a:cubicBezTo>
                  <a:cubicBezTo>
                    <a:pt x="768" y="30"/>
                    <a:pt x="768" y="30"/>
                    <a:pt x="768" y="68"/>
                  </a:cubicBezTo>
                  <a:cubicBezTo>
                    <a:pt x="768" y="86"/>
                    <a:pt x="775" y="95"/>
                    <a:pt x="790" y="95"/>
                  </a:cubicBezTo>
                  <a:cubicBezTo>
                    <a:pt x="799" y="95"/>
                    <a:pt x="805" y="92"/>
                    <a:pt x="810" y="84"/>
                  </a:cubicBezTo>
                  <a:cubicBezTo>
                    <a:pt x="810" y="84"/>
                    <a:pt x="810" y="84"/>
                    <a:pt x="810" y="84"/>
                  </a:cubicBezTo>
                  <a:cubicBezTo>
                    <a:pt x="810" y="84"/>
                    <a:pt x="810" y="84"/>
                    <a:pt x="810" y="94"/>
                  </a:cubicBezTo>
                  <a:cubicBezTo>
                    <a:pt x="810" y="94"/>
                    <a:pt x="810" y="94"/>
                    <a:pt x="820" y="94"/>
                  </a:cubicBezTo>
                  <a:close/>
                  <a:moveTo>
                    <a:pt x="889" y="94"/>
                  </a:moveTo>
                  <a:cubicBezTo>
                    <a:pt x="889" y="94"/>
                    <a:pt x="889" y="94"/>
                    <a:pt x="889" y="94"/>
                  </a:cubicBezTo>
                  <a:cubicBezTo>
                    <a:pt x="889" y="55"/>
                    <a:pt x="889" y="55"/>
                    <a:pt x="889" y="55"/>
                  </a:cubicBezTo>
                  <a:cubicBezTo>
                    <a:pt x="889" y="47"/>
                    <a:pt x="887" y="40"/>
                    <a:pt x="883" y="36"/>
                  </a:cubicBezTo>
                  <a:cubicBezTo>
                    <a:pt x="880" y="31"/>
                    <a:pt x="875" y="29"/>
                    <a:pt x="868" y="29"/>
                  </a:cubicBezTo>
                  <a:cubicBezTo>
                    <a:pt x="858" y="29"/>
                    <a:pt x="851" y="33"/>
                    <a:pt x="846" y="41"/>
                  </a:cubicBezTo>
                  <a:cubicBezTo>
                    <a:pt x="846" y="41"/>
                    <a:pt x="846" y="41"/>
                    <a:pt x="846" y="41"/>
                  </a:cubicBezTo>
                  <a:cubicBezTo>
                    <a:pt x="846" y="41"/>
                    <a:pt x="846" y="41"/>
                    <a:pt x="846" y="30"/>
                  </a:cubicBezTo>
                  <a:cubicBezTo>
                    <a:pt x="846" y="30"/>
                    <a:pt x="846" y="30"/>
                    <a:pt x="836" y="30"/>
                  </a:cubicBezTo>
                  <a:cubicBezTo>
                    <a:pt x="836" y="30"/>
                    <a:pt x="836" y="30"/>
                    <a:pt x="836" y="94"/>
                  </a:cubicBezTo>
                  <a:cubicBezTo>
                    <a:pt x="836" y="94"/>
                    <a:pt x="836" y="94"/>
                    <a:pt x="846" y="94"/>
                  </a:cubicBezTo>
                  <a:cubicBezTo>
                    <a:pt x="846" y="94"/>
                    <a:pt x="846" y="94"/>
                    <a:pt x="846" y="58"/>
                  </a:cubicBezTo>
                  <a:cubicBezTo>
                    <a:pt x="846" y="52"/>
                    <a:pt x="848" y="47"/>
                    <a:pt x="851" y="43"/>
                  </a:cubicBezTo>
                  <a:cubicBezTo>
                    <a:pt x="855" y="39"/>
                    <a:pt x="859" y="37"/>
                    <a:pt x="864" y="37"/>
                  </a:cubicBezTo>
                  <a:cubicBezTo>
                    <a:pt x="874" y="37"/>
                    <a:pt x="879" y="44"/>
                    <a:pt x="879" y="58"/>
                  </a:cubicBezTo>
                  <a:cubicBezTo>
                    <a:pt x="879" y="58"/>
                    <a:pt x="879" y="58"/>
                    <a:pt x="879" y="94"/>
                  </a:cubicBezTo>
                  <a:cubicBezTo>
                    <a:pt x="879" y="94"/>
                    <a:pt x="879" y="94"/>
                    <a:pt x="889" y="94"/>
                  </a:cubicBezTo>
                  <a:close/>
                  <a:moveTo>
                    <a:pt x="954" y="65"/>
                  </a:moveTo>
                  <a:cubicBezTo>
                    <a:pt x="954" y="65"/>
                    <a:pt x="954" y="65"/>
                    <a:pt x="954" y="65"/>
                  </a:cubicBezTo>
                  <a:cubicBezTo>
                    <a:pt x="954" y="59"/>
                    <a:pt x="954" y="59"/>
                    <a:pt x="954" y="59"/>
                  </a:cubicBezTo>
                  <a:cubicBezTo>
                    <a:pt x="954" y="50"/>
                    <a:pt x="951" y="43"/>
                    <a:pt x="947" y="37"/>
                  </a:cubicBezTo>
                  <a:cubicBezTo>
                    <a:pt x="943" y="32"/>
                    <a:pt x="936" y="29"/>
                    <a:pt x="928" y="29"/>
                  </a:cubicBezTo>
                  <a:cubicBezTo>
                    <a:pt x="919" y="29"/>
                    <a:pt x="913" y="32"/>
                    <a:pt x="907" y="37"/>
                  </a:cubicBezTo>
                  <a:cubicBezTo>
                    <a:pt x="901" y="44"/>
                    <a:pt x="898" y="52"/>
                    <a:pt x="898" y="62"/>
                  </a:cubicBezTo>
                  <a:cubicBezTo>
                    <a:pt x="898" y="73"/>
                    <a:pt x="901" y="82"/>
                    <a:pt x="906" y="87"/>
                  </a:cubicBezTo>
                  <a:cubicBezTo>
                    <a:pt x="911" y="93"/>
                    <a:pt x="918" y="95"/>
                    <a:pt x="927" y="95"/>
                  </a:cubicBezTo>
                  <a:cubicBezTo>
                    <a:pt x="936" y="95"/>
                    <a:pt x="944" y="94"/>
                    <a:pt x="949" y="89"/>
                  </a:cubicBezTo>
                  <a:cubicBezTo>
                    <a:pt x="949" y="89"/>
                    <a:pt x="949" y="89"/>
                    <a:pt x="949" y="80"/>
                  </a:cubicBezTo>
                  <a:cubicBezTo>
                    <a:pt x="943" y="84"/>
                    <a:pt x="936" y="87"/>
                    <a:pt x="929" y="87"/>
                  </a:cubicBezTo>
                  <a:cubicBezTo>
                    <a:pt x="923" y="87"/>
                    <a:pt x="918" y="85"/>
                    <a:pt x="914" y="81"/>
                  </a:cubicBezTo>
                  <a:cubicBezTo>
                    <a:pt x="911" y="77"/>
                    <a:pt x="909" y="72"/>
                    <a:pt x="909" y="65"/>
                  </a:cubicBezTo>
                  <a:cubicBezTo>
                    <a:pt x="909" y="65"/>
                    <a:pt x="909" y="65"/>
                    <a:pt x="954" y="65"/>
                  </a:cubicBezTo>
                  <a:close/>
                  <a:moveTo>
                    <a:pt x="943" y="56"/>
                  </a:moveTo>
                  <a:cubicBezTo>
                    <a:pt x="943" y="56"/>
                    <a:pt x="943" y="56"/>
                    <a:pt x="943" y="56"/>
                  </a:cubicBezTo>
                  <a:cubicBezTo>
                    <a:pt x="909" y="56"/>
                    <a:pt x="909" y="56"/>
                    <a:pt x="909" y="56"/>
                  </a:cubicBezTo>
                  <a:cubicBezTo>
                    <a:pt x="910" y="50"/>
                    <a:pt x="912" y="46"/>
                    <a:pt x="915" y="43"/>
                  </a:cubicBezTo>
                  <a:cubicBezTo>
                    <a:pt x="918" y="39"/>
                    <a:pt x="922" y="37"/>
                    <a:pt x="927" y="37"/>
                  </a:cubicBezTo>
                  <a:cubicBezTo>
                    <a:pt x="933" y="37"/>
                    <a:pt x="936" y="39"/>
                    <a:pt x="939" y="42"/>
                  </a:cubicBezTo>
                  <a:cubicBezTo>
                    <a:pt x="942" y="46"/>
                    <a:pt x="943" y="50"/>
                    <a:pt x="943" y="56"/>
                  </a:cubicBezTo>
                  <a:close/>
                  <a:moveTo>
                    <a:pt x="43" y="46"/>
                  </a:moveTo>
                  <a:cubicBezTo>
                    <a:pt x="43" y="7"/>
                    <a:pt x="43" y="7"/>
                    <a:pt x="43" y="7"/>
                  </a:cubicBezTo>
                  <a:cubicBezTo>
                    <a:pt x="95" y="0"/>
                    <a:pt x="95" y="0"/>
                    <a:pt x="95" y="0"/>
                  </a:cubicBezTo>
                  <a:cubicBezTo>
                    <a:pt x="95" y="46"/>
                    <a:pt x="95" y="46"/>
                    <a:pt x="95" y="46"/>
                  </a:cubicBezTo>
                  <a:cubicBezTo>
                    <a:pt x="43" y="46"/>
                    <a:pt x="43" y="46"/>
                    <a:pt x="43" y="46"/>
                  </a:cubicBezTo>
                  <a:cubicBezTo>
                    <a:pt x="43" y="46"/>
                    <a:pt x="43" y="46"/>
                    <a:pt x="43" y="46"/>
                  </a:cubicBezTo>
                  <a:close/>
                  <a:moveTo>
                    <a:pt x="39" y="8"/>
                  </a:moveTo>
                  <a:cubicBezTo>
                    <a:pt x="0" y="14"/>
                    <a:pt x="0" y="14"/>
                    <a:pt x="0" y="14"/>
                  </a:cubicBezTo>
                  <a:cubicBezTo>
                    <a:pt x="0" y="46"/>
                    <a:pt x="0" y="46"/>
                    <a:pt x="0" y="46"/>
                  </a:cubicBezTo>
                  <a:cubicBezTo>
                    <a:pt x="39" y="46"/>
                    <a:pt x="39" y="46"/>
                    <a:pt x="39" y="46"/>
                  </a:cubicBezTo>
                  <a:cubicBezTo>
                    <a:pt x="39" y="8"/>
                    <a:pt x="39" y="8"/>
                    <a:pt x="39" y="8"/>
                  </a:cubicBezTo>
                  <a:cubicBezTo>
                    <a:pt x="39" y="8"/>
                    <a:pt x="39" y="8"/>
                    <a:pt x="39" y="8"/>
                  </a:cubicBezTo>
                  <a:close/>
                  <a:moveTo>
                    <a:pt x="0" y="49"/>
                  </a:moveTo>
                  <a:cubicBezTo>
                    <a:pt x="0" y="82"/>
                    <a:pt x="0" y="82"/>
                    <a:pt x="0" y="82"/>
                  </a:cubicBezTo>
                  <a:cubicBezTo>
                    <a:pt x="39" y="88"/>
                    <a:pt x="39" y="88"/>
                    <a:pt x="39" y="88"/>
                  </a:cubicBezTo>
                  <a:cubicBezTo>
                    <a:pt x="39" y="49"/>
                    <a:pt x="39" y="49"/>
                    <a:pt x="39" y="49"/>
                  </a:cubicBezTo>
                  <a:cubicBezTo>
                    <a:pt x="0" y="49"/>
                    <a:pt x="0" y="49"/>
                    <a:pt x="0" y="49"/>
                  </a:cubicBezTo>
                  <a:cubicBezTo>
                    <a:pt x="0" y="49"/>
                    <a:pt x="0" y="49"/>
                    <a:pt x="0" y="49"/>
                  </a:cubicBezTo>
                  <a:close/>
                  <a:moveTo>
                    <a:pt x="43" y="88"/>
                  </a:moveTo>
                  <a:cubicBezTo>
                    <a:pt x="95" y="96"/>
                    <a:pt x="95" y="96"/>
                    <a:pt x="95" y="96"/>
                  </a:cubicBezTo>
                  <a:cubicBezTo>
                    <a:pt x="95" y="49"/>
                    <a:pt x="95" y="49"/>
                    <a:pt x="95" y="49"/>
                  </a:cubicBezTo>
                  <a:cubicBezTo>
                    <a:pt x="43" y="49"/>
                    <a:pt x="43" y="49"/>
                    <a:pt x="43" y="49"/>
                  </a:cubicBezTo>
                  <a:cubicBezTo>
                    <a:pt x="43" y="88"/>
                    <a:pt x="43" y="88"/>
                    <a:pt x="43" y="88"/>
                  </a:cubicBezTo>
                  <a:cubicBezTo>
                    <a:pt x="43" y="88"/>
                    <a:pt x="43" y="88"/>
                    <a:pt x="43" y="88"/>
                  </a:cubicBezTo>
                  <a:close/>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32563"/>
              <a:endParaRPr lang="en-US">
                <a:solidFill>
                  <a:srgbClr val="FFFFFF"/>
                </a:solidFill>
              </a:endParaRPr>
            </a:p>
          </p:txBody>
        </p:sp>
        <p:sp>
          <p:nvSpPr>
            <p:cNvPr id="467" name="Freeform 466"/>
            <p:cNvSpPr>
              <a:spLocks/>
            </p:cNvSpPr>
            <p:nvPr/>
          </p:nvSpPr>
          <p:spPr bwMode="auto">
            <a:xfrm>
              <a:off x="6975298" y="1331295"/>
              <a:ext cx="1855844" cy="951272"/>
            </a:xfrm>
            <a:custGeom>
              <a:avLst/>
              <a:gdLst>
                <a:gd name="T0" fmla="*/ 743 w 959"/>
                <a:gd name="T1" fmla="*/ 528 h 534"/>
                <a:gd name="T2" fmla="*/ 607 w 959"/>
                <a:gd name="T3" fmla="*/ 531 h 534"/>
                <a:gd name="T4" fmla="*/ 187 w 959"/>
                <a:gd name="T5" fmla="*/ 531 h 534"/>
                <a:gd name="T6" fmla="*/ 121 w 959"/>
                <a:gd name="T7" fmla="*/ 526 h 534"/>
                <a:gd name="T8" fmla="*/ 13 w 959"/>
                <a:gd name="T9" fmla="*/ 419 h 534"/>
                <a:gd name="T10" fmla="*/ 23 w 959"/>
                <a:gd name="T11" fmla="*/ 297 h 534"/>
                <a:gd name="T12" fmla="*/ 96 w 959"/>
                <a:gd name="T13" fmla="*/ 227 h 534"/>
                <a:gd name="T14" fmla="*/ 212 w 959"/>
                <a:gd name="T15" fmla="*/ 224 h 534"/>
                <a:gd name="T16" fmla="*/ 320 w 959"/>
                <a:gd name="T17" fmla="*/ 123 h 534"/>
                <a:gd name="T18" fmla="*/ 487 w 959"/>
                <a:gd name="T19" fmla="*/ 133 h 534"/>
                <a:gd name="T20" fmla="*/ 687 w 959"/>
                <a:gd name="T21" fmla="*/ 3 h 534"/>
                <a:gd name="T22" fmla="*/ 805 w 959"/>
                <a:gd name="T23" fmla="*/ 26 h 534"/>
                <a:gd name="T24" fmla="*/ 940 w 959"/>
                <a:gd name="T25" fmla="*/ 178 h 534"/>
                <a:gd name="T26" fmla="*/ 952 w 959"/>
                <a:gd name="T27" fmla="*/ 307 h 534"/>
                <a:gd name="T28" fmla="*/ 843 w 959"/>
                <a:gd name="T29" fmla="*/ 486 h 534"/>
                <a:gd name="T30" fmla="*/ 743 w 959"/>
                <a:gd name="T31" fmla="*/ 528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59" h="534">
                  <a:moveTo>
                    <a:pt x="743" y="528"/>
                  </a:moveTo>
                  <a:cubicBezTo>
                    <a:pt x="703" y="534"/>
                    <a:pt x="657" y="531"/>
                    <a:pt x="607" y="531"/>
                  </a:cubicBezTo>
                  <a:cubicBezTo>
                    <a:pt x="468" y="531"/>
                    <a:pt x="327" y="531"/>
                    <a:pt x="187" y="531"/>
                  </a:cubicBezTo>
                  <a:cubicBezTo>
                    <a:pt x="162" y="531"/>
                    <a:pt x="140" y="531"/>
                    <a:pt x="121" y="526"/>
                  </a:cubicBezTo>
                  <a:cubicBezTo>
                    <a:pt x="68" y="513"/>
                    <a:pt x="29" y="473"/>
                    <a:pt x="13" y="419"/>
                  </a:cubicBezTo>
                  <a:cubicBezTo>
                    <a:pt x="0" y="377"/>
                    <a:pt x="7" y="330"/>
                    <a:pt x="23" y="297"/>
                  </a:cubicBezTo>
                  <a:cubicBezTo>
                    <a:pt x="38" y="268"/>
                    <a:pt x="64" y="241"/>
                    <a:pt x="96" y="227"/>
                  </a:cubicBezTo>
                  <a:cubicBezTo>
                    <a:pt x="126" y="213"/>
                    <a:pt x="174" y="207"/>
                    <a:pt x="212" y="224"/>
                  </a:cubicBezTo>
                  <a:cubicBezTo>
                    <a:pt x="236" y="179"/>
                    <a:pt x="271" y="143"/>
                    <a:pt x="320" y="123"/>
                  </a:cubicBezTo>
                  <a:cubicBezTo>
                    <a:pt x="371" y="101"/>
                    <a:pt x="445" y="105"/>
                    <a:pt x="487" y="133"/>
                  </a:cubicBezTo>
                  <a:cubicBezTo>
                    <a:pt x="528" y="66"/>
                    <a:pt x="590" y="10"/>
                    <a:pt x="687" y="3"/>
                  </a:cubicBezTo>
                  <a:cubicBezTo>
                    <a:pt x="734" y="0"/>
                    <a:pt x="772" y="10"/>
                    <a:pt x="805" y="26"/>
                  </a:cubicBezTo>
                  <a:cubicBezTo>
                    <a:pt x="868" y="55"/>
                    <a:pt x="917" y="106"/>
                    <a:pt x="940" y="178"/>
                  </a:cubicBezTo>
                  <a:cubicBezTo>
                    <a:pt x="952" y="213"/>
                    <a:pt x="959" y="259"/>
                    <a:pt x="952" y="307"/>
                  </a:cubicBezTo>
                  <a:cubicBezTo>
                    <a:pt x="941" y="389"/>
                    <a:pt x="897" y="448"/>
                    <a:pt x="843" y="486"/>
                  </a:cubicBezTo>
                  <a:cubicBezTo>
                    <a:pt x="815" y="505"/>
                    <a:pt x="782" y="521"/>
                    <a:pt x="743" y="528"/>
                  </a:cubicBezTo>
                  <a:close/>
                </a:path>
              </a:pathLst>
            </a:custGeom>
            <a:noFill/>
            <a:ln w="19050" cap="flat" cmpd="sng" algn="ctr">
              <a:solidFill>
                <a:srgbClr val="FFFFFF"/>
              </a:solidFill>
              <a:prstDash val="solid"/>
              <a:headEnd type="none" w="med" len="med"/>
              <a:tailEnd type="none" w="med" len="med"/>
            </a:ln>
            <a:effectLst/>
            <a:extLst/>
          </p:spPr>
          <p:txBody>
            <a:bodyPr vert="horz" wrap="square" lIns="114247" tIns="0" rIns="114247" bIns="57123" numCol="1" rtlCol="0" anchor="ctr" anchorCtr="0" compatLnSpc="1">
              <a:prstTxWarp prst="textNoShape">
                <a:avLst/>
              </a:prstTxWarp>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8"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1"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defTabSz="1142179" fontAlgn="base">
                <a:spcBef>
                  <a:spcPct val="0"/>
                </a:spcBef>
                <a:spcAft>
                  <a:spcPct val="0"/>
                </a:spcAft>
                <a:defRPr/>
              </a:pPr>
              <a:endParaRPr lang="en-US" sz="1938" b="1" kern="0" dirty="0">
                <a:solidFill>
                  <a:srgbClr val="FFFFFF"/>
                </a:solidFill>
                <a:latin typeface="Segoe" pitchFamily="34" charset="0"/>
              </a:endParaRPr>
            </a:p>
          </p:txBody>
        </p:sp>
      </p:grpSp>
      <p:sp>
        <p:nvSpPr>
          <p:cNvPr id="3" name="Title 2"/>
          <p:cNvSpPr>
            <a:spLocks noGrp="1"/>
          </p:cNvSpPr>
          <p:nvPr>
            <p:ph type="title"/>
          </p:nvPr>
        </p:nvSpPr>
        <p:spPr>
          <a:xfrm>
            <a:off x="269754" y="298774"/>
            <a:ext cx="11370697" cy="636505"/>
          </a:xfrm>
        </p:spPr>
        <p:txBody>
          <a:bodyPr vert="horz" wrap="square" lIns="146262" tIns="91414" rIns="146262" bIns="91414" rtlCol="0" anchor="t">
            <a:spAutoFit/>
          </a:bodyPr>
          <a:lstStyle/>
          <a:p>
            <a:r>
              <a:rPr lang="en-US" sz="3200" dirty="0"/>
              <a:t>Enabling work from anywhere</a:t>
            </a:r>
            <a:endParaRPr lang="en-US" sz="3198" dirty="0"/>
          </a:p>
        </p:txBody>
      </p:sp>
      <p:sp>
        <p:nvSpPr>
          <p:cNvPr id="2" name="Slide Number Placeholder 1"/>
          <p:cNvSpPr>
            <a:spLocks noGrp="1"/>
          </p:cNvSpPr>
          <p:nvPr>
            <p:ph type="sldNum" sz="quarter" idx="4294967295"/>
          </p:nvPr>
        </p:nvSpPr>
        <p:spPr>
          <a:xfrm>
            <a:off x="11649404" y="6573013"/>
            <a:ext cx="511592" cy="124650"/>
          </a:xfrm>
          <a:prstGeom prst="rect">
            <a:avLst/>
          </a:prstGeom>
        </p:spPr>
        <p:txBody>
          <a:bodyPr/>
          <a:lstStyle/>
          <a:p>
            <a:pPr>
              <a:lnSpc>
                <a:spcPct val="90000"/>
              </a:lnSpc>
            </a:pPr>
            <a:fld id="{1BC86A1F-E589-44B2-A543-2EC98F5547A7}" type="slidenum">
              <a:rPr>
                <a:solidFill>
                  <a:srgbClr val="FFFFFF"/>
                </a:solidFill>
              </a:rPr>
              <a:pPr>
                <a:lnSpc>
                  <a:spcPct val="90000"/>
                </a:lnSpc>
              </a:pPr>
              <a:t>3</a:t>
            </a:fld>
            <a:endParaRPr dirty="0">
              <a:solidFill>
                <a:srgbClr val="FFFFFF"/>
              </a:solidFill>
            </a:endParaRPr>
          </a:p>
        </p:txBody>
      </p:sp>
      <p:sp>
        <p:nvSpPr>
          <p:cNvPr id="459" name="Rectangle 458"/>
          <p:cNvSpPr/>
          <p:nvPr>
            <p:custDataLst>
              <p:tags r:id="rId1"/>
            </p:custDataLst>
          </p:nvPr>
        </p:nvSpPr>
        <p:spPr bwMode="auto">
          <a:xfrm>
            <a:off x="10016736" y="3269108"/>
            <a:ext cx="2172832" cy="1355278"/>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a:t>
            </a:r>
            <a:r>
              <a:rPr lang="en-US" sz="1599" b="1" spc="-31" dirty="0">
                <a:solidFill>
                  <a:srgbClr val="FFFFFF"/>
                </a:solidFill>
              </a:rPr>
              <a:t>publish access</a:t>
            </a:r>
            <a:r>
              <a:rPr lang="en-US" sz="1599" spc="-31" dirty="0">
                <a:solidFill>
                  <a:srgbClr val="FFFFFF"/>
                </a:solidFill>
              </a:rPr>
              <a:t> to resources with the </a:t>
            </a:r>
            <a:r>
              <a:rPr lang="en-US" sz="1599" b="1" spc="-31" dirty="0">
                <a:solidFill>
                  <a:srgbClr val="FFFFFF"/>
                </a:solidFill>
              </a:rPr>
              <a:t>Web Application Proxy</a:t>
            </a:r>
            <a:r>
              <a:rPr lang="en-US" sz="1599" spc="-31" dirty="0">
                <a:solidFill>
                  <a:srgbClr val="FFFFFF"/>
                </a:solidFill>
              </a:rPr>
              <a:t> based on device awareness and the users identity</a:t>
            </a:r>
          </a:p>
        </p:txBody>
      </p:sp>
      <p:sp>
        <p:nvSpPr>
          <p:cNvPr id="415" name="Rectangle 414"/>
          <p:cNvSpPr/>
          <p:nvPr/>
        </p:nvSpPr>
        <p:spPr>
          <a:xfrm>
            <a:off x="10033665" y="4970663"/>
            <a:ext cx="2117807" cy="1129399"/>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rovide seamless corporate access with </a:t>
            </a:r>
            <a:r>
              <a:rPr lang="en-US" sz="1599" b="1" spc="-31" dirty="0" err="1">
                <a:solidFill>
                  <a:srgbClr val="FFFFFF"/>
                </a:solidFill>
              </a:rPr>
              <a:t>DirectAccess</a:t>
            </a:r>
            <a:r>
              <a:rPr lang="en-US" sz="1599" spc="-31" dirty="0">
                <a:solidFill>
                  <a:srgbClr val="FFFFFF"/>
                </a:solidFill>
              </a:rPr>
              <a:t> and </a:t>
            </a:r>
            <a:r>
              <a:rPr lang="en-US" sz="1599" b="1" spc="-31" dirty="0">
                <a:solidFill>
                  <a:srgbClr val="FFFFFF"/>
                </a:solidFill>
              </a:rPr>
              <a:t>automatic VPN connections.</a:t>
            </a:r>
          </a:p>
        </p:txBody>
      </p:sp>
      <p:sp>
        <p:nvSpPr>
          <p:cNvPr id="618" name="Rectangle 617"/>
          <p:cNvSpPr/>
          <p:nvPr/>
        </p:nvSpPr>
        <p:spPr bwMode="auto">
          <a:xfrm>
            <a:off x="441996" y="1901246"/>
            <a:ext cx="1813162"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work from anywhere </a:t>
            </a:r>
            <a:r>
              <a:rPr lang="en-US" sz="1599" spc="-30" dirty="0">
                <a:solidFill>
                  <a:srgbClr val="FFFFFF"/>
                </a:solidFill>
              </a:rPr>
              <a:t>on their device with access to their corporate resources. </a:t>
            </a:r>
            <a:endParaRPr lang="en-US" sz="1599" b="1" spc="-30" dirty="0">
              <a:solidFill>
                <a:srgbClr val="FFFFFF"/>
              </a:solidFill>
            </a:endParaRPr>
          </a:p>
        </p:txBody>
      </p:sp>
      <p:sp>
        <p:nvSpPr>
          <p:cNvPr id="624" name="Rectangle 623"/>
          <p:cNvSpPr/>
          <p:nvPr/>
        </p:nvSpPr>
        <p:spPr bwMode="auto">
          <a:xfrm>
            <a:off x="541095" y="5527054"/>
            <a:ext cx="1915745" cy="1129399"/>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register devices for </a:t>
            </a:r>
            <a:r>
              <a:rPr lang="en-US" sz="1599" b="1" spc="-30" dirty="0">
                <a:solidFill>
                  <a:srgbClr val="FFFFFF"/>
                </a:solidFill>
              </a:rPr>
              <a:t>single sign-on </a:t>
            </a:r>
            <a:r>
              <a:rPr lang="en-US" sz="1599" spc="-30" dirty="0">
                <a:solidFill>
                  <a:srgbClr val="FFFFFF"/>
                </a:solidFill>
              </a:rPr>
              <a:t>and access to corporate data with </a:t>
            </a:r>
            <a:r>
              <a:rPr lang="en-US" sz="1599" b="1" spc="-30" dirty="0">
                <a:solidFill>
                  <a:srgbClr val="FFFFFF"/>
                </a:solidFill>
              </a:rPr>
              <a:t>Workplace Join</a:t>
            </a:r>
          </a:p>
        </p:txBody>
      </p:sp>
      <p:sp>
        <p:nvSpPr>
          <p:cNvPr id="637" name="Rectangle 636"/>
          <p:cNvSpPr/>
          <p:nvPr/>
        </p:nvSpPr>
        <p:spPr bwMode="auto">
          <a:xfrm>
            <a:off x="6010082" y="350633"/>
            <a:ext cx="2652656" cy="903520"/>
          </a:xfrm>
          <a:prstGeom prst="rect">
            <a:avLst/>
          </a:prstGeom>
          <a:ln>
            <a:noFill/>
          </a:ln>
        </p:spPr>
        <p:txBody>
          <a:bodyPr vert="horz" wrap="square" lIns="0" tIns="0" rIns="0" bIns="0" rtlCol="0">
            <a:spAutoFit/>
          </a:bodyPr>
          <a:lstStyle/>
          <a:p>
            <a:pPr defTabSz="932563">
              <a:lnSpc>
                <a:spcPct val="90000"/>
              </a:lnSpc>
              <a:spcBef>
                <a:spcPts val="1199"/>
              </a:spcBef>
            </a:pPr>
            <a:r>
              <a:rPr lang="en-US" sz="1599" spc="-30" dirty="0">
                <a:solidFill>
                  <a:srgbClr val="FFFFFF"/>
                </a:solidFill>
              </a:rPr>
              <a:t>Users can </a:t>
            </a:r>
            <a:r>
              <a:rPr lang="en-US" sz="1599" b="1" spc="-30" dirty="0">
                <a:solidFill>
                  <a:srgbClr val="FFFFFF"/>
                </a:solidFill>
              </a:rPr>
              <a:t>enroll devices </a:t>
            </a:r>
            <a:r>
              <a:rPr lang="en-US" sz="1599" spc="-30" dirty="0">
                <a:solidFill>
                  <a:srgbClr val="FFFFFF"/>
                </a:solidFill>
              </a:rPr>
              <a:t>for access to the </a:t>
            </a:r>
            <a:r>
              <a:rPr lang="en-US" sz="1599" b="1" spc="-30" dirty="0">
                <a:solidFill>
                  <a:srgbClr val="FFFFFF"/>
                </a:solidFill>
              </a:rPr>
              <a:t>Company Portal </a:t>
            </a:r>
            <a:r>
              <a:rPr lang="en-US" sz="1599" spc="-30" dirty="0">
                <a:solidFill>
                  <a:srgbClr val="FFFFFF"/>
                </a:solidFill>
              </a:rPr>
              <a:t>for easy access to corporate applications</a:t>
            </a:r>
          </a:p>
        </p:txBody>
      </p:sp>
      <p:sp>
        <p:nvSpPr>
          <p:cNvPr id="369" name="Rectangle 368"/>
          <p:cNvSpPr/>
          <p:nvPr/>
        </p:nvSpPr>
        <p:spPr>
          <a:xfrm>
            <a:off x="9844366" y="768452"/>
            <a:ext cx="2122344" cy="903520"/>
          </a:xfrm>
          <a:prstGeom prst="rect">
            <a:avLst/>
          </a:prstGeom>
          <a:ln>
            <a:noFill/>
          </a:ln>
        </p:spPr>
        <p:txBody>
          <a:bodyPr vert="horz" wrap="square" lIns="0" tIns="0" rIns="0" bIns="0" rtlCol="0">
            <a:spAutoFit/>
          </a:bodyPr>
          <a:lstStyle/>
          <a:p>
            <a:pPr defTabSz="932563">
              <a:lnSpc>
                <a:spcPct val="90000"/>
              </a:lnSpc>
              <a:spcBef>
                <a:spcPts val="1224"/>
              </a:spcBef>
            </a:pPr>
            <a:r>
              <a:rPr lang="en-US" sz="1599" spc="-31" dirty="0">
                <a:solidFill>
                  <a:srgbClr val="FFFFFF"/>
                </a:solidFill>
              </a:rPr>
              <a:t>IT can publish </a:t>
            </a:r>
            <a:r>
              <a:rPr lang="en-US" sz="1599" b="1" spc="-31" dirty="0">
                <a:solidFill>
                  <a:srgbClr val="FFFFFF"/>
                </a:solidFill>
              </a:rPr>
              <a:t>Desktop Virtualization (VDI) </a:t>
            </a:r>
            <a:r>
              <a:rPr lang="en-US" sz="1599" spc="-31" dirty="0">
                <a:solidFill>
                  <a:srgbClr val="FFFFFF"/>
                </a:solidFill>
              </a:rPr>
              <a:t>for access to centralized resources</a:t>
            </a:r>
            <a:endParaRPr lang="en-US" sz="1599" b="1" spc="-31" dirty="0">
              <a:solidFill>
                <a:srgbClr val="FFFFFF"/>
              </a:solidFill>
            </a:endParaRPr>
          </a:p>
        </p:txBody>
      </p:sp>
      <p:pic>
        <p:nvPicPr>
          <p:cNvPr id="362" name="Picture 3"/>
          <p:cNvPicPr>
            <a:picLocks noChangeAspect="1" noChangeArrowheads="1"/>
          </p:cNvPicPr>
          <p:nvPr/>
        </p:nvPicPr>
        <p:blipFill>
          <a:blip r:embed="rId6" cstate="print">
            <a:biLevel thresh="25000"/>
            <a:extLst>
              <a:ext uri="{28A0092B-C50C-407E-A947-70E740481C1C}">
                <a14:useLocalDpi xmlns:a14="http://schemas.microsoft.com/office/drawing/2010/main" val="0"/>
              </a:ext>
            </a:extLst>
          </a:blip>
          <a:stretch>
            <a:fillRect/>
          </a:stretch>
        </p:blipFill>
        <p:spPr bwMode="auto">
          <a:xfrm>
            <a:off x="462072" y="3035370"/>
            <a:ext cx="938314" cy="1418382"/>
          </a:xfrm>
          <a:prstGeom prst="rect">
            <a:avLst/>
          </a:prstGeom>
          <a:blipFill dpi="0" rotWithShape="1">
            <a:blip r:embed="rId7">
              <a:alphaModFix amt="95000"/>
              <a:biLevel thresh="25000"/>
            </a:blip>
            <a:srcRect/>
            <a:stretch>
              <a:fillRect/>
            </a:stretch>
          </a:blipFill>
          <a:ln w="55000" cap="flat" cmpd="thickThin" algn="ctr">
            <a:noFill/>
            <a:prstDash val="solid"/>
            <a:headEnd type="none" w="med" len="med"/>
            <a:tailEnd type="none" w="med" len="med"/>
          </a:ln>
          <a:effectLst/>
        </p:spPr>
      </p:pic>
      <p:grpSp>
        <p:nvGrpSpPr>
          <p:cNvPr id="412" name="Group 411"/>
          <p:cNvGrpSpPr/>
          <p:nvPr/>
        </p:nvGrpSpPr>
        <p:grpSpPr>
          <a:xfrm>
            <a:off x="2596575" y="5195883"/>
            <a:ext cx="1943385" cy="1476922"/>
            <a:chOff x="3435182" y="5042873"/>
            <a:chExt cx="1943660" cy="1477131"/>
          </a:xfrm>
        </p:grpSpPr>
        <p:sp>
          <p:nvSpPr>
            <p:cNvPr id="413" name="Oval 412"/>
            <p:cNvSpPr/>
            <p:nvPr>
              <p:custDataLst>
                <p:tags r:id="rId2"/>
              </p:custDataLst>
            </p:nvPr>
          </p:nvSpPr>
          <p:spPr bwMode="auto">
            <a:xfrm>
              <a:off x="3435182" y="5042873"/>
              <a:ext cx="1943660" cy="1477131"/>
            </a:xfrm>
            <a:prstGeom prst="ellipse">
              <a:avLst/>
            </a:prstGeom>
            <a:noFill/>
            <a:ln w="19050" cap="flat" cmpd="sng" algn="ctr">
              <a:solidFill>
                <a:srgbClr val="FFFFFF"/>
              </a:solidFill>
              <a:prstDash val="solid"/>
              <a:headEnd type="none" w="med" len="med"/>
              <a:tailEnd type="none" w="med" len="med"/>
            </a:ln>
            <a:effectLst/>
          </p:spPr>
          <p:txBody>
            <a:bodyPr vert="horz" wrap="square" lIns="114127" tIns="57063" rIns="114127" bIns="57063" numCol="1" rtlCol="0" anchor="ctr" anchorCtr="0" compatLnSpc="1">
              <a:prstTxWarp prst="textNoShape">
                <a:avLst/>
              </a:prstTxWarp>
            </a:bodyPr>
            <a:lstStyle/>
            <a:p>
              <a:pPr algn="ctr" defTabSz="1140968" fontAlgn="base">
                <a:spcBef>
                  <a:spcPct val="0"/>
                </a:spcBef>
                <a:spcAft>
                  <a:spcPct val="0"/>
                </a:spcAft>
                <a:defRPr/>
              </a:pPr>
              <a:endParaRPr lang="en-US" sz="2809" kern="0" dirty="0">
                <a:solidFill>
                  <a:srgbClr val="FFFFFF"/>
                </a:solidFill>
              </a:endParaRPr>
            </a:p>
          </p:txBody>
        </p:sp>
        <p:pic>
          <p:nvPicPr>
            <p:cNvPr id="416" name="Picture 4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76338" y="5795665"/>
              <a:ext cx="1740759" cy="446655"/>
            </a:xfrm>
            <a:prstGeom prst="rect">
              <a:avLst/>
            </a:prstGeom>
          </p:spPr>
        </p:pic>
        <p:sp>
          <p:nvSpPr>
            <p:cNvPr id="414" name="Rectangle 413"/>
            <p:cNvSpPr/>
            <p:nvPr/>
          </p:nvSpPr>
          <p:spPr>
            <a:xfrm>
              <a:off x="3942331" y="6086367"/>
              <a:ext cx="1020331" cy="176138"/>
            </a:xfrm>
            <a:prstGeom prst="rect">
              <a:avLst/>
            </a:prstGeom>
            <a:ln>
              <a:noFill/>
            </a:ln>
          </p:spPr>
          <p:txBody>
            <a:bodyPr wrap="none" lIns="0" tIns="0" rIns="0" bIns="0" anchor="ctr">
              <a:spAutoFit/>
            </a:bodyPr>
            <a:lstStyle/>
            <a:p>
              <a:pPr algn="ctr" defTabSz="1140578" fontAlgn="base">
                <a:spcBef>
                  <a:spcPts val="1497"/>
                </a:spcBef>
                <a:spcAft>
                  <a:spcPct val="0"/>
                </a:spcAft>
              </a:pPr>
              <a:r>
                <a:rPr lang="en-US" sz="1122" dirty="0">
                  <a:ln>
                    <a:solidFill>
                      <a:srgbClr val="FFFFFF">
                        <a:alpha val="0"/>
                      </a:srgbClr>
                    </a:solidFill>
                  </a:ln>
                  <a:solidFill>
                    <a:srgbClr val="FFFFFF"/>
                  </a:solidFill>
                  <a:latin typeface="Segoe"/>
                </a:rPr>
                <a:t>Active Directory</a:t>
              </a:r>
            </a:p>
          </p:txBody>
        </p:sp>
        <p:pic>
          <p:nvPicPr>
            <p:cNvPr id="417" name="Picture 4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20288" y="5203147"/>
              <a:ext cx="967012" cy="646270"/>
            </a:xfrm>
            <a:prstGeom prst="rect">
              <a:avLst/>
            </a:prstGeom>
          </p:spPr>
        </p:pic>
      </p:grpSp>
      <p:grpSp>
        <p:nvGrpSpPr>
          <p:cNvPr id="366" name="Group 365"/>
          <p:cNvGrpSpPr>
            <a:grpSpLocks noChangeAspect="1"/>
          </p:cNvGrpSpPr>
          <p:nvPr/>
        </p:nvGrpSpPr>
        <p:grpSpPr>
          <a:xfrm>
            <a:off x="8937745" y="3453070"/>
            <a:ext cx="833721" cy="887070"/>
            <a:chOff x="8956177" y="3970370"/>
            <a:chExt cx="1215849" cy="1293648"/>
          </a:xfrm>
        </p:grpSpPr>
        <p:sp>
          <p:nvSpPr>
            <p:cNvPr id="374" name="Rectangle 373"/>
            <p:cNvSpPr>
              <a:spLocks noChangeAspect="1"/>
            </p:cNvSpPr>
            <p:nvPr/>
          </p:nvSpPr>
          <p:spPr>
            <a:xfrm>
              <a:off x="8956177" y="4983820"/>
              <a:ext cx="1215849" cy="280198"/>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Web Apps</a:t>
              </a:r>
            </a:p>
          </p:txBody>
        </p:sp>
        <p:sp>
          <p:nvSpPr>
            <p:cNvPr id="375" name="Freeform 31"/>
            <p:cNvSpPr>
              <a:spLocks noEditPoints="1"/>
            </p:cNvSpPr>
            <p:nvPr/>
          </p:nvSpPr>
          <p:spPr bwMode="auto">
            <a:xfrm>
              <a:off x="9086850" y="3970370"/>
              <a:ext cx="966755" cy="966756"/>
            </a:xfrm>
            <a:custGeom>
              <a:avLst/>
              <a:gdLst>
                <a:gd name="T0" fmla="*/ 168 w 474"/>
                <a:gd name="T1" fmla="*/ 27 h 474"/>
                <a:gd name="T2" fmla="*/ 210 w 474"/>
                <a:gd name="T3" fmla="*/ 158 h 474"/>
                <a:gd name="T4" fmla="*/ 207 w 474"/>
                <a:gd name="T5" fmla="*/ 112 h 474"/>
                <a:gd name="T6" fmla="*/ 160 w 474"/>
                <a:gd name="T7" fmla="*/ 98 h 474"/>
                <a:gd name="T8" fmla="*/ 173 w 474"/>
                <a:gd name="T9" fmla="*/ 82 h 474"/>
                <a:gd name="T10" fmla="*/ 195 w 474"/>
                <a:gd name="T11" fmla="*/ 73 h 474"/>
                <a:gd name="T12" fmla="*/ 228 w 474"/>
                <a:gd name="T13" fmla="*/ 62 h 474"/>
                <a:gd name="T14" fmla="*/ 202 w 474"/>
                <a:gd name="T15" fmla="*/ 101 h 474"/>
                <a:gd name="T16" fmla="*/ 193 w 474"/>
                <a:gd name="T17" fmla="*/ 100 h 474"/>
                <a:gd name="T18" fmla="*/ 161 w 474"/>
                <a:gd name="T19" fmla="*/ 107 h 474"/>
                <a:gd name="T20" fmla="*/ 279 w 474"/>
                <a:gd name="T21" fmla="*/ 68 h 474"/>
                <a:gd name="T22" fmla="*/ 311 w 474"/>
                <a:gd name="T23" fmla="*/ 92 h 474"/>
                <a:gd name="T24" fmla="*/ 326 w 474"/>
                <a:gd name="T25" fmla="*/ 121 h 474"/>
                <a:gd name="T26" fmla="*/ 323 w 474"/>
                <a:gd name="T27" fmla="*/ 172 h 474"/>
                <a:gd name="T28" fmla="*/ 281 w 474"/>
                <a:gd name="T29" fmla="*/ 158 h 474"/>
                <a:gd name="T30" fmla="*/ 222 w 474"/>
                <a:gd name="T31" fmla="*/ 94 h 474"/>
                <a:gd name="T32" fmla="*/ 34 w 474"/>
                <a:gd name="T33" fmla="*/ 199 h 474"/>
                <a:gd name="T34" fmla="*/ 265 w 474"/>
                <a:gd name="T35" fmla="*/ 267 h 474"/>
                <a:gd name="T36" fmla="*/ 214 w 474"/>
                <a:gd name="T37" fmla="*/ 195 h 474"/>
                <a:gd name="T38" fmla="*/ 203 w 474"/>
                <a:gd name="T39" fmla="*/ 156 h 474"/>
                <a:gd name="T40" fmla="*/ 118 w 474"/>
                <a:gd name="T41" fmla="*/ 167 h 474"/>
                <a:gd name="T42" fmla="*/ 40 w 474"/>
                <a:gd name="T43" fmla="*/ 191 h 474"/>
                <a:gd name="T44" fmla="*/ 100 w 474"/>
                <a:gd name="T45" fmla="*/ 181 h 474"/>
                <a:gd name="T46" fmla="*/ 251 w 474"/>
                <a:gd name="T47" fmla="*/ 191 h 474"/>
                <a:gd name="T48" fmla="*/ 185 w 474"/>
                <a:gd name="T49" fmla="*/ 128 h 474"/>
                <a:gd name="T50" fmla="*/ 243 w 474"/>
                <a:gd name="T51" fmla="*/ 163 h 474"/>
                <a:gd name="T52" fmla="*/ 340 w 474"/>
                <a:gd name="T53" fmla="*/ 191 h 474"/>
                <a:gd name="T54" fmla="*/ 400 w 474"/>
                <a:gd name="T55" fmla="*/ 124 h 474"/>
                <a:gd name="T56" fmla="*/ 397 w 474"/>
                <a:gd name="T57" fmla="*/ 122 h 474"/>
                <a:gd name="T58" fmla="*/ 412 w 474"/>
                <a:gd name="T59" fmla="*/ 165 h 474"/>
                <a:gd name="T60" fmla="*/ 132 w 474"/>
                <a:gd name="T61" fmla="*/ 105 h 474"/>
                <a:gd name="T62" fmla="*/ 151 w 474"/>
                <a:gd name="T63" fmla="*/ 154 h 474"/>
                <a:gd name="T64" fmla="*/ 145 w 474"/>
                <a:gd name="T65" fmla="*/ 139 h 474"/>
                <a:gd name="T66" fmla="*/ 369 w 474"/>
                <a:gd name="T67" fmla="*/ 229 h 474"/>
                <a:gd name="T68" fmla="*/ 360 w 474"/>
                <a:gd name="T69" fmla="*/ 243 h 474"/>
                <a:gd name="T70" fmla="*/ 429 w 474"/>
                <a:gd name="T71" fmla="*/ 192 h 474"/>
                <a:gd name="T72" fmla="*/ 414 w 474"/>
                <a:gd name="T73" fmla="*/ 195 h 474"/>
                <a:gd name="T74" fmla="*/ 394 w 474"/>
                <a:gd name="T75" fmla="*/ 176 h 474"/>
                <a:gd name="T76" fmla="*/ 386 w 474"/>
                <a:gd name="T77" fmla="*/ 227 h 474"/>
                <a:gd name="T78" fmla="*/ 396 w 474"/>
                <a:gd name="T79" fmla="*/ 225 h 474"/>
                <a:gd name="T80" fmla="*/ 372 w 474"/>
                <a:gd name="T81" fmla="*/ 272 h 474"/>
                <a:gd name="T82" fmla="*/ 405 w 474"/>
                <a:gd name="T83" fmla="*/ 216 h 474"/>
                <a:gd name="T84" fmla="*/ 181 w 474"/>
                <a:gd name="T85" fmla="*/ 390 h 474"/>
                <a:gd name="T86" fmla="*/ 226 w 474"/>
                <a:gd name="T87" fmla="*/ 354 h 474"/>
                <a:gd name="T88" fmla="*/ 227 w 474"/>
                <a:gd name="T89" fmla="*/ 436 h 474"/>
                <a:gd name="T90" fmla="*/ 192 w 474"/>
                <a:gd name="T91" fmla="*/ 370 h 474"/>
                <a:gd name="T92" fmla="*/ 86 w 474"/>
                <a:gd name="T93" fmla="*/ 248 h 474"/>
                <a:gd name="T94" fmla="*/ 41 w 474"/>
                <a:gd name="T95" fmla="*/ 223 h 474"/>
                <a:gd name="T96" fmla="*/ 211 w 474"/>
                <a:gd name="T97" fmla="*/ 288 h 474"/>
                <a:gd name="T98" fmla="*/ 179 w 474"/>
                <a:gd name="T99" fmla="*/ 356 h 474"/>
                <a:gd name="T100" fmla="*/ 272 w 474"/>
                <a:gd name="T101" fmla="*/ 385 h 474"/>
                <a:gd name="T102" fmla="*/ 254 w 474"/>
                <a:gd name="T103" fmla="*/ 433 h 474"/>
                <a:gd name="T104" fmla="*/ 28 w 474"/>
                <a:gd name="T105" fmla="*/ 232 h 474"/>
                <a:gd name="T106" fmla="*/ 50 w 474"/>
                <a:gd name="T107" fmla="*/ 229 h 474"/>
                <a:gd name="T108" fmla="*/ 369 w 474"/>
                <a:gd name="T109" fmla="*/ 289 h 474"/>
                <a:gd name="T110" fmla="*/ 385 w 474"/>
                <a:gd name="T111" fmla="*/ 301 h 474"/>
                <a:gd name="T112" fmla="*/ 364 w 474"/>
                <a:gd name="T113" fmla="*/ 358 h 474"/>
                <a:gd name="T114" fmla="*/ 405 w 474"/>
                <a:gd name="T115" fmla="*/ 327 h 474"/>
                <a:gd name="T116" fmla="*/ 422 w 474"/>
                <a:gd name="T117" fmla="*/ 300 h 474"/>
                <a:gd name="T118" fmla="*/ 390 w 474"/>
                <a:gd name="T119" fmla="*/ 347 h 474"/>
                <a:gd name="T120" fmla="*/ 394 w 474"/>
                <a:gd name="T121" fmla="*/ 290 h 474"/>
                <a:gd name="T122" fmla="*/ 389 w 474"/>
                <a:gd name="T123" fmla="*/ 281 h 474"/>
                <a:gd name="T124" fmla="*/ 252 w 474"/>
                <a:gd name="T125" fmla="*/ 4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4" h="474">
                  <a:moveTo>
                    <a:pt x="237" y="0"/>
                  </a:moveTo>
                  <a:cubicBezTo>
                    <a:pt x="106" y="0"/>
                    <a:pt x="0" y="106"/>
                    <a:pt x="0" y="237"/>
                  </a:cubicBezTo>
                  <a:cubicBezTo>
                    <a:pt x="0" y="368"/>
                    <a:pt x="106" y="474"/>
                    <a:pt x="237" y="474"/>
                  </a:cubicBezTo>
                  <a:cubicBezTo>
                    <a:pt x="368" y="474"/>
                    <a:pt x="474" y="368"/>
                    <a:pt x="474" y="237"/>
                  </a:cubicBezTo>
                  <a:cubicBezTo>
                    <a:pt x="474" y="106"/>
                    <a:pt x="368" y="0"/>
                    <a:pt x="237" y="0"/>
                  </a:cubicBezTo>
                  <a:close/>
                  <a:moveTo>
                    <a:pt x="453" y="281"/>
                  </a:moveTo>
                  <a:cubicBezTo>
                    <a:pt x="447" y="311"/>
                    <a:pt x="434" y="340"/>
                    <a:pt x="417" y="364"/>
                  </a:cubicBezTo>
                  <a:cubicBezTo>
                    <a:pt x="413" y="370"/>
                    <a:pt x="408" y="376"/>
                    <a:pt x="404" y="381"/>
                  </a:cubicBezTo>
                  <a:cubicBezTo>
                    <a:pt x="404" y="381"/>
                    <a:pt x="404" y="381"/>
                    <a:pt x="404" y="381"/>
                  </a:cubicBezTo>
                  <a:cubicBezTo>
                    <a:pt x="404" y="381"/>
                    <a:pt x="404" y="381"/>
                    <a:pt x="404" y="381"/>
                  </a:cubicBezTo>
                  <a:cubicBezTo>
                    <a:pt x="399" y="386"/>
                    <a:pt x="394" y="391"/>
                    <a:pt x="389" y="396"/>
                  </a:cubicBezTo>
                  <a:cubicBezTo>
                    <a:pt x="389" y="396"/>
                    <a:pt x="389" y="396"/>
                    <a:pt x="389" y="396"/>
                  </a:cubicBezTo>
                  <a:cubicBezTo>
                    <a:pt x="389" y="396"/>
                    <a:pt x="389" y="396"/>
                    <a:pt x="389" y="396"/>
                  </a:cubicBezTo>
                  <a:cubicBezTo>
                    <a:pt x="389" y="396"/>
                    <a:pt x="389" y="396"/>
                    <a:pt x="389" y="396"/>
                  </a:cubicBezTo>
                  <a:cubicBezTo>
                    <a:pt x="379" y="406"/>
                    <a:pt x="368" y="414"/>
                    <a:pt x="357" y="422"/>
                  </a:cubicBezTo>
                  <a:cubicBezTo>
                    <a:pt x="355" y="423"/>
                    <a:pt x="355" y="423"/>
                    <a:pt x="355" y="423"/>
                  </a:cubicBezTo>
                  <a:cubicBezTo>
                    <a:pt x="355" y="423"/>
                    <a:pt x="355" y="423"/>
                    <a:pt x="355" y="423"/>
                  </a:cubicBezTo>
                  <a:cubicBezTo>
                    <a:pt x="340" y="432"/>
                    <a:pt x="325" y="440"/>
                    <a:pt x="308" y="446"/>
                  </a:cubicBezTo>
                  <a:cubicBezTo>
                    <a:pt x="308" y="446"/>
                    <a:pt x="308" y="446"/>
                    <a:pt x="308" y="446"/>
                  </a:cubicBezTo>
                  <a:cubicBezTo>
                    <a:pt x="308" y="446"/>
                    <a:pt x="308" y="446"/>
                    <a:pt x="308" y="446"/>
                  </a:cubicBezTo>
                  <a:cubicBezTo>
                    <a:pt x="308" y="446"/>
                    <a:pt x="308" y="446"/>
                    <a:pt x="308" y="446"/>
                  </a:cubicBezTo>
                  <a:cubicBezTo>
                    <a:pt x="295" y="450"/>
                    <a:pt x="282" y="453"/>
                    <a:pt x="268" y="455"/>
                  </a:cubicBezTo>
                  <a:cubicBezTo>
                    <a:pt x="268" y="455"/>
                    <a:pt x="268" y="455"/>
                    <a:pt x="268" y="455"/>
                  </a:cubicBezTo>
                  <a:cubicBezTo>
                    <a:pt x="266" y="455"/>
                    <a:pt x="264" y="456"/>
                    <a:pt x="262" y="456"/>
                  </a:cubicBezTo>
                  <a:cubicBezTo>
                    <a:pt x="262" y="456"/>
                    <a:pt x="262" y="456"/>
                    <a:pt x="262" y="456"/>
                  </a:cubicBezTo>
                  <a:cubicBezTo>
                    <a:pt x="261" y="456"/>
                    <a:pt x="261" y="456"/>
                    <a:pt x="261" y="456"/>
                  </a:cubicBezTo>
                  <a:cubicBezTo>
                    <a:pt x="261" y="456"/>
                    <a:pt x="261" y="456"/>
                    <a:pt x="261" y="456"/>
                  </a:cubicBezTo>
                  <a:cubicBezTo>
                    <a:pt x="253" y="457"/>
                    <a:pt x="245" y="457"/>
                    <a:pt x="237" y="457"/>
                  </a:cubicBezTo>
                  <a:cubicBezTo>
                    <a:pt x="229" y="457"/>
                    <a:pt x="221" y="457"/>
                    <a:pt x="214" y="456"/>
                  </a:cubicBezTo>
                  <a:cubicBezTo>
                    <a:pt x="213" y="456"/>
                    <a:pt x="213" y="456"/>
                    <a:pt x="213" y="456"/>
                  </a:cubicBezTo>
                  <a:cubicBezTo>
                    <a:pt x="197" y="454"/>
                    <a:pt x="181" y="451"/>
                    <a:pt x="167" y="446"/>
                  </a:cubicBezTo>
                  <a:cubicBezTo>
                    <a:pt x="166" y="446"/>
                    <a:pt x="166" y="446"/>
                    <a:pt x="166" y="446"/>
                  </a:cubicBezTo>
                  <a:cubicBezTo>
                    <a:pt x="166" y="446"/>
                    <a:pt x="166" y="446"/>
                    <a:pt x="166" y="446"/>
                  </a:cubicBezTo>
                  <a:cubicBezTo>
                    <a:pt x="149" y="440"/>
                    <a:pt x="134" y="432"/>
                    <a:pt x="119" y="423"/>
                  </a:cubicBezTo>
                  <a:cubicBezTo>
                    <a:pt x="119" y="423"/>
                    <a:pt x="119" y="423"/>
                    <a:pt x="119" y="423"/>
                  </a:cubicBezTo>
                  <a:cubicBezTo>
                    <a:pt x="117" y="422"/>
                    <a:pt x="117" y="422"/>
                    <a:pt x="117" y="422"/>
                  </a:cubicBezTo>
                  <a:cubicBezTo>
                    <a:pt x="117" y="422"/>
                    <a:pt x="117" y="422"/>
                    <a:pt x="117" y="421"/>
                  </a:cubicBezTo>
                  <a:cubicBezTo>
                    <a:pt x="114" y="420"/>
                    <a:pt x="111" y="418"/>
                    <a:pt x="108" y="416"/>
                  </a:cubicBezTo>
                  <a:cubicBezTo>
                    <a:pt x="108" y="416"/>
                    <a:pt x="108" y="416"/>
                    <a:pt x="108" y="416"/>
                  </a:cubicBezTo>
                  <a:cubicBezTo>
                    <a:pt x="105" y="414"/>
                    <a:pt x="103" y="412"/>
                    <a:pt x="100" y="410"/>
                  </a:cubicBezTo>
                  <a:cubicBezTo>
                    <a:pt x="100" y="410"/>
                    <a:pt x="100" y="410"/>
                    <a:pt x="100" y="410"/>
                  </a:cubicBezTo>
                  <a:cubicBezTo>
                    <a:pt x="97" y="407"/>
                    <a:pt x="95" y="405"/>
                    <a:pt x="92" y="403"/>
                  </a:cubicBezTo>
                  <a:cubicBezTo>
                    <a:pt x="92" y="403"/>
                    <a:pt x="92" y="403"/>
                    <a:pt x="92" y="403"/>
                  </a:cubicBezTo>
                  <a:cubicBezTo>
                    <a:pt x="90" y="401"/>
                    <a:pt x="87" y="399"/>
                    <a:pt x="85" y="396"/>
                  </a:cubicBezTo>
                  <a:cubicBezTo>
                    <a:pt x="85" y="396"/>
                    <a:pt x="85" y="396"/>
                    <a:pt x="85" y="396"/>
                  </a:cubicBezTo>
                  <a:cubicBezTo>
                    <a:pt x="85" y="396"/>
                    <a:pt x="85" y="396"/>
                    <a:pt x="85" y="396"/>
                  </a:cubicBezTo>
                  <a:cubicBezTo>
                    <a:pt x="85" y="396"/>
                    <a:pt x="85" y="396"/>
                    <a:pt x="85" y="396"/>
                  </a:cubicBezTo>
                  <a:cubicBezTo>
                    <a:pt x="45" y="358"/>
                    <a:pt x="19" y="305"/>
                    <a:pt x="17" y="246"/>
                  </a:cubicBezTo>
                  <a:cubicBezTo>
                    <a:pt x="17" y="246"/>
                    <a:pt x="17" y="246"/>
                    <a:pt x="17" y="246"/>
                  </a:cubicBezTo>
                  <a:cubicBezTo>
                    <a:pt x="17" y="243"/>
                    <a:pt x="17" y="240"/>
                    <a:pt x="17" y="237"/>
                  </a:cubicBezTo>
                  <a:cubicBezTo>
                    <a:pt x="17" y="205"/>
                    <a:pt x="23" y="176"/>
                    <a:pt x="35" y="148"/>
                  </a:cubicBezTo>
                  <a:cubicBezTo>
                    <a:pt x="35" y="148"/>
                    <a:pt x="35" y="148"/>
                    <a:pt x="35" y="148"/>
                  </a:cubicBezTo>
                  <a:cubicBezTo>
                    <a:pt x="35" y="148"/>
                    <a:pt x="35" y="148"/>
                    <a:pt x="35" y="148"/>
                  </a:cubicBezTo>
                  <a:cubicBezTo>
                    <a:pt x="35" y="148"/>
                    <a:pt x="35" y="148"/>
                    <a:pt x="35" y="148"/>
                  </a:cubicBezTo>
                  <a:cubicBezTo>
                    <a:pt x="38" y="141"/>
                    <a:pt x="42" y="134"/>
                    <a:pt x="46" y="127"/>
                  </a:cubicBezTo>
                  <a:cubicBezTo>
                    <a:pt x="57" y="108"/>
                    <a:pt x="70" y="91"/>
                    <a:pt x="86" y="77"/>
                  </a:cubicBezTo>
                  <a:cubicBezTo>
                    <a:pt x="86" y="77"/>
                    <a:pt x="86" y="77"/>
                    <a:pt x="86" y="77"/>
                  </a:cubicBezTo>
                  <a:cubicBezTo>
                    <a:pt x="86" y="76"/>
                    <a:pt x="86" y="76"/>
                    <a:pt x="86" y="76"/>
                  </a:cubicBezTo>
                  <a:cubicBezTo>
                    <a:pt x="89" y="74"/>
                    <a:pt x="91" y="71"/>
                    <a:pt x="94" y="69"/>
                  </a:cubicBezTo>
                  <a:cubicBezTo>
                    <a:pt x="94" y="69"/>
                    <a:pt x="94" y="69"/>
                    <a:pt x="95" y="69"/>
                  </a:cubicBezTo>
                  <a:cubicBezTo>
                    <a:pt x="97" y="67"/>
                    <a:pt x="100" y="64"/>
                    <a:pt x="103" y="62"/>
                  </a:cubicBezTo>
                  <a:cubicBezTo>
                    <a:pt x="103" y="62"/>
                    <a:pt x="103" y="62"/>
                    <a:pt x="103" y="62"/>
                  </a:cubicBezTo>
                  <a:cubicBezTo>
                    <a:pt x="106" y="60"/>
                    <a:pt x="109" y="58"/>
                    <a:pt x="112" y="56"/>
                  </a:cubicBezTo>
                  <a:cubicBezTo>
                    <a:pt x="112" y="56"/>
                    <a:pt x="112" y="56"/>
                    <a:pt x="112" y="56"/>
                  </a:cubicBezTo>
                  <a:cubicBezTo>
                    <a:pt x="115" y="53"/>
                    <a:pt x="118" y="51"/>
                    <a:pt x="121" y="50"/>
                  </a:cubicBezTo>
                  <a:cubicBezTo>
                    <a:pt x="121" y="50"/>
                    <a:pt x="121" y="50"/>
                    <a:pt x="121" y="50"/>
                  </a:cubicBezTo>
                  <a:cubicBezTo>
                    <a:pt x="121" y="50"/>
                    <a:pt x="121" y="50"/>
                    <a:pt x="121" y="50"/>
                  </a:cubicBezTo>
                  <a:cubicBezTo>
                    <a:pt x="133" y="43"/>
                    <a:pt x="144" y="36"/>
                    <a:pt x="157" y="32"/>
                  </a:cubicBezTo>
                  <a:cubicBezTo>
                    <a:pt x="157" y="32"/>
                    <a:pt x="157" y="32"/>
                    <a:pt x="157" y="32"/>
                  </a:cubicBezTo>
                  <a:cubicBezTo>
                    <a:pt x="157" y="32"/>
                    <a:pt x="157" y="32"/>
                    <a:pt x="157" y="32"/>
                  </a:cubicBezTo>
                  <a:cubicBezTo>
                    <a:pt x="157" y="32"/>
                    <a:pt x="157" y="32"/>
                    <a:pt x="157" y="32"/>
                  </a:cubicBezTo>
                  <a:cubicBezTo>
                    <a:pt x="161" y="30"/>
                    <a:pt x="165" y="29"/>
                    <a:pt x="168" y="27"/>
                  </a:cubicBezTo>
                  <a:cubicBezTo>
                    <a:pt x="171" y="26"/>
                    <a:pt x="174" y="26"/>
                    <a:pt x="177" y="25"/>
                  </a:cubicBezTo>
                  <a:cubicBezTo>
                    <a:pt x="178" y="25"/>
                    <a:pt x="178" y="25"/>
                    <a:pt x="178" y="25"/>
                  </a:cubicBezTo>
                  <a:cubicBezTo>
                    <a:pt x="180" y="24"/>
                    <a:pt x="181" y="24"/>
                    <a:pt x="183" y="23"/>
                  </a:cubicBezTo>
                  <a:cubicBezTo>
                    <a:pt x="184" y="23"/>
                    <a:pt x="184" y="23"/>
                    <a:pt x="184" y="23"/>
                  </a:cubicBezTo>
                  <a:cubicBezTo>
                    <a:pt x="188" y="22"/>
                    <a:pt x="193" y="21"/>
                    <a:pt x="197" y="20"/>
                  </a:cubicBezTo>
                  <a:cubicBezTo>
                    <a:pt x="197" y="20"/>
                    <a:pt x="197" y="20"/>
                    <a:pt x="197" y="20"/>
                  </a:cubicBezTo>
                  <a:cubicBezTo>
                    <a:pt x="202" y="19"/>
                    <a:pt x="207" y="19"/>
                    <a:pt x="212" y="18"/>
                  </a:cubicBezTo>
                  <a:cubicBezTo>
                    <a:pt x="212" y="18"/>
                    <a:pt x="212" y="18"/>
                    <a:pt x="212" y="18"/>
                  </a:cubicBezTo>
                  <a:cubicBezTo>
                    <a:pt x="214" y="18"/>
                    <a:pt x="214" y="18"/>
                    <a:pt x="214" y="18"/>
                  </a:cubicBezTo>
                  <a:cubicBezTo>
                    <a:pt x="218" y="17"/>
                    <a:pt x="222" y="17"/>
                    <a:pt x="227" y="17"/>
                  </a:cubicBezTo>
                  <a:cubicBezTo>
                    <a:pt x="228" y="17"/>
                    <a:pt x="228" y="17"/>
                    <a:pt x="228" y="17"/>
                  </a:cubicBezTo>
                  <a:cubicBezTo>
                    <a:pt x="228" y="17"/>
                    <a:pt x="228" y="17"/>
                    <a:pt x="228" y="17"/>
                  </a:cubicBezTo>
                  <a:cubicBezTo>
                    <a:pt x="231" y="17"/>
                    <a:pt x="234" y="17"/>
                    <a:pt x="237" y="17"/>
                  </a:cubicBezTo>
                  <a:cubicBezTo>
                    <a:pt x="237" y="17"/>
                    <a:pt x="237" y="17"/>
                    <a:pt x="237" y="17"/>
                  </a:cubicBezTo>
                  <a:cubicBezTo>
                    <a:pt x="238" y="17"/>
                    <a:pt x="238" y="17"/>
                    <a:pt x="238" y="17"/>
                  </a:cubicBezTo>
                  <a:cubicBezTo>
                    <a:pt x="238" y="17"/>
                    <a:pt x="238" y="17"/>
                    <a:pt x="238" y="17"/>
                  </a:cubicBezTo>
                  <a:cubicBezTo>
                    <a:pt x="241" y="17"/>
                    <a:pt x="244" y="17"/>
                    <a:pt x="246" y="17"/>
                  </a:cubicBezTo>
                  <a:cubicBezTo>
                    <a:pt x="246" y="17"/>
                    <a:pt x="246" y="17"/>
                    <a:pt x="246" y="17"/>
                  </a:cubicBezTo>
                  <a:cubicBezTo>
                    <a:pt x="247" y="17"/>
                    <a:pt x="247" y="17"/>
                    <a:pt x="247" y="17"/>
                  </a:cubicBezTo>
                  <a:cubicBezTo>
                    <a:pt x="252" y="17"/>
                    <a:pt x="256" y="17"/>
                    <a:pt x="260" y="18"/>
                  </a:cubicBezTo>
                  <a:cubicBezTo>
                    <a:pt x="262" y="18"/>
                    <a:pt x="262" y="18"/>
                    <a:pt x="262" y="18"/>
                  </a:cubicBezTo>
                  <a:cubicBezTo>
                    <a:pt x="262" y="18"/>
                    <a:pt x="262" y="18"/>
                    <a:pt x="262" y="18"/>
                  </a:cubicBezTo>
                  <a:cubicBezTo>
                    <a:pt x="267" y="19"/>
                    <a:pt x="272" y="19"/>
                    <a:pt x="277" y="20"/>
                  </a:cubicBezTo>
                  <a:cubicBezTo>
                    <a:pt x="277" y="20"/>
                    <a:pt x="277" y="20"/>
                    <a:pt x="277" y="20"/>
                  </a:cubicBezTo>
                  <a:cubicBezTo>
                    <a:pt x="277" y="20"/>
                    <a:pt x="277" y="20"/>
                    <a:pt x="277" y="20"/>
                  </a:cubicBezTo>
                  <a:cubicBezTo>
                    <a:pt x="281" y="21"/>
                    <a:pt x="286" y="22"/>
                    <a:pt x="290" y="23"/>
                  </a:cubicBezTo>
                  <a:cubicBezTo>
                    <a:pt x="290" y="23"/>
                    <a:pt x="290" y="23"/>
                    <a:pt x="291" y="23"/>
                  </a:cubicBezTo>
                  <a:cubicBezTo>
                    <a:pt x="293" y="24"/>
                    <a:pt x="294" y="24"/>
                    <a:pt x="296" y="25"/>
                  </a:cubicBezTo>
                  <a:cubicBezTo>
                    <a:pt x="296" y="25"/>
                    <a:pt x="296" y="25"/>
                    <a:pt x="297" y="25"/>
                  </a:cubicBezTo>
                  <a:cubicBezTo>
                    <a:pt x="304" y="27"/>
                    <a:pt x="310" y="29"/>
                    <a:pt x="317" y="32"/>
                  </a:cubicBezTo>
                  <a:cubicBezTo>
                    <a:pt x="330" y="36"/>
                    <a:pt x="341" y="43"/>
                    <a:pt x="353" y="50"/>
                  </a:cubicBezTo>
                  <a:cubicBezTo>
                    <a:pt x="353" y="50"/>
                    <a:pt x="353" y="50"/>
                    <a:pt x="353" y="50"/>
                  </a:cubicBezTo>
                  <a:cubicBezTo>
                    <a:pt x="353" y="50"/>
                    <a:pt x="353" y="50"/>
                    <a:pt x="353" y="50"/>
                  </a:cubicBezTo>
                  <a:cubicBezTo>
                    <a:pt x="356" y="51"/>
                    <a:pt x="359" y="53"/>
                    <a:pt x="362" y="56"/>
                  </a:cubicBezTo>
                  <a:cubicBezTo>
                    <a:pt x="362" y="56"/>
                    <a:pt x="362" y="56"/>
                    <a:pt x="362" y="56"/>
                  </a:cubicBezTo>
                  <a:cubicBezTo>
                    <a:pt x="365" y="58"/>
                    <a:pt x="368" y="60"/>
                    <a:pt x="371" y="62"/>
                  </a:cubicBezTo>
                  <a:cubicBezTo>
                    <a:pt x="371" y="62"/>
                    <a:pt x="371" y="62"/>
                    <a:pt x="371" y="62"/>
                  </a:cubicBezTo>
                  <a:cubicBezTo>
                    <a:pt x="374" y="64"/>
                    <a:pt x="377" y="67"/>
                    <a:pt x="380" y="69"/>
                  </a:cubicBezTo>
                  <a:cubicBezTo>
                    <a:pt x="380" y="69"/>
                    <a:pt x="380" y="69"/>
                    <a:pt x="380" y="69"/>
                  </a:cubicBezTo>
                  <a:cubicBezTo>
                    <a:pt x="383" y="71"/>
                    <a:pt x="385" y="74"/>
                    <a:pt x="388" y="76"/>
                  </a:cubicBezTo>
                  <a:cubicBezTo>
                    <a:pt x="388" y="77"/>
                    <a:pt x="388" y="77"/>
                    <a:pt x="388" y="77"/>
                  </a:cubicBezTo>
                  <a:cubicBezTo>
                    <a:pt x="388" y="77"/>
                    <a:pt x="388" y="77"/>
                    <a:pt x="388" y="77"/>
                  </a:cubicBezTo>
                  <a:cubicBezTo>
                    <a:pt x="390" y="78"/>
                    <a:pt x="391" y="80"/>
                    <a:pt x="393" y="81"/>
                  </a:cubicBezTo>
                  <a:cubicBezTo>
                    <a:pt x="393" y="81"/>
                    <a:pt x="393" y="81"/>
                    <a:pt x="393" y="81"/>
                  </a:cubicBezTo>
                  <a:cubicBezTo>
                    <a:pt x="394" y="83"/>
                    <a:pt x="396" y="84"/>
                    <a:pt x="397" y="86"/>
                  </a:cubicBezTo>
                  <a:cubicBezTo>
                    <a:pt x="406" y="95"/>
                    <a:pt x="413" y="104"/>
                    <a:pt x="420" y="114"/>
                  </a:cubicBezTo>
                  <a:cubicBezTo>
                    <a:pt x="427" y="125"/>
                    <a:pt x="434" y="136"/>
                    <a:pt x="439" y="148"/>
                  </a:cubicBezTo>
                  <a:cubicBezTo>
                    <a:pt x="439" y="148"/>
                    <a:pt x="439" y="148"/>
                    <a:pt x="439" y="148"/>
                  </a:cubicBezTo>
                  <a:cubicBezTo>
                    <a:pt x="439" y="148"/>
                    <a:pt x="439" y="148"/>
                    <a:pt x="439" y="148"/>
                  </a:cubicBezTo>
                  <a:cubicBezTo>
                    <a:pt x="439" y="148"/>
                    <a:pt x="439" y="148"/>
                    <a:pt x="439" y="148"/>
                  </a:cubicBezTo>
                  <a:cubicBezTo>
                    <a:pt x="451" y="176"/>
                    <a:pt x="458" y="205"/>
                    <a:pt x="458" y="237"/>
                  </a:cubicBezTo>
                  <a:cubicBezTo>
                    <a:pt x="458" y="240"/>
                    <a:pt x="457" y="243"/>
                    <a:pt x="457" y="246"/>
                  </a:cubicBezTo>
                  <a:cubicBezTo>
                    <a:pt x="457" y="258"/>
                    <a:pt x="455" y="269"/>
                    <a:pt x="453" y="281"/>
                  </a:cubicBezTo>
                  <a:close/>
                  <a:moveTo>
                    <a:pt x="209" y="161"/>
                  </a:moveTo>
                  <a:cubicBezTo>
                    <a:pt x="209" y="161"/>
                    <a:pt x="210" y="161"/>
                    <a:pt x="211" y="161"/>
                  </a:cubicBezTo>
                  <a:cubicBezTo>
                    <a:pt x="211" y="162"/>
                    <a:pt x="209" y="162"/>
                    <a:pt x="209" y="161"/>
                  </a:cubicBezTo>
                  <a:close/>
                  <a:moveTo>
                    <a:pt x="201" y="194"/>
                  </a:moveTo>
                  <a:cubicBezTo>
                    <a:pt x="201" y="194"/>
                    <a:pt x="202" y="194"/>
                    <a:pt x="202" y="194"/>
                  </a:cubicBezTo>
                  <a:cubicBezTo>
                    <a:pt x="203" y="196"/>
                    <a:pt x="200" y="197"/>
                    <a:pt x="199" y="197"/>
                  </a:cubicBezTo>
                  <a:cubicBezTo>
                    <a:pt x="199" y="198"/>
                    <a:pt x="198" y="199"/>
                    <a:pt x="198" y="199"/>
                  </a:cubicBezTo>
                  <a:cubicBezTo>
                    <a:pt x="197" y="199"/>
                    <a:pt x="197" y="198"/>
                    <a:pt x="197" y="197"/>
                  </a:cubicBezTo>
                  <a:cubicBezTo>
                    <a:pt x="197" y="196"/>
                    <a:pt x="197" y="196"/>
                    <a:pt x="197" y="195"/>
                  </a:cubicBezTo>
                  <a:cubicBezTo>
                    <a:pt x="198" y="195"/>
                    <a:pt x="198" y="194"/>
                    <a:pt x="198" y="194"/>
                  </a:cubicBezTo>
                  <a:cubicBezTo>
                    <a:pt x="199" y="194"/>
                    <a:pt x="200" y="194"/>
                    <a:pt x="201" y="194"/>
                  </a:cubicBezTo>
                  <a:close/>
                  <a:moveTo>
                    <a:pt x="205" y="217"/>
                  </a:moveTo>
                  <a:cubicBezTo>
                    <a:pt x="204" y="217"/>
                    <a:pt x="206" y="214"/>
                    <a:pt x="206" y="213"/>
                  </a:cubicBezTo>
                  <a:cubicBezTo>
                    <a:pt x="206" y="213"/>
                    <a:pt x="207" y="213"/>
                    <a:pt x="207" y="212"/>
                  </a:cubicBezTo>
                  <a:cubicBezTo>
                    <a:pt x="208" y="211"/>
                    <a:pt x="206" y="211"/>
                    <a:pt x="208" y="211"/>
                  </a:cubicBezTo>
                  <a:cubicBezTo>
                    <a:pt x="209" y="211"/>
                    <a:pt x="208" y="213"/>
                    <a:pt x="207" y="213"/>
                  </a:cubicBezTo>
                  <a:cubicBezTo>
                    <a:pt x="206" y="214"/>
                    <a:pt x="205" y="215"/>
                    <a:pt x="205" y="217"/>
                  </a:cubicBezTo>
                  <a:close/>
                  <a:moveTo>
                    <a:pt x="210" y="159"/>
                  </a:moveTo>
                  <a:cubicBezTo>
                    <a:pt x="210" y="159"/>
                    <a:pt x="209" y="158"/>
                    <a:pt x="210" y="158"/>
                  </a:cubicBezTo>
                  <a:cubicBezTo>
                    <a:pt x="210" y="158"/>
                    <a:pt x="210" y="158"/>
                    <a:pt x="211" y="158"/>
                  </a:cubicBezTo>
                  <a:cubicBezTo>
                    <a:pt x="211" y="158"/>
                    <a:pt x="211" y="159"/>
                    <a:pt x="210" y="159"/>
                  </a:cubicBezTo>
                  <a:close/>
                  <a:moveTo>
                    <a:pt x="211" y="152"/>
                  </a:moveTo>
                  <a:cubicBezTo>
                    <a:pt x="211" y="152"/>
                    <a:pt x="212" y="152"/>
                    <a:pt x="212" y="152"/>
                  </a:cubicBezTo>
                  <a:cubicBezTo>
                    <a:pt x="211" y="153"/>
                    <a:pt x="211" y="153"/>
                    <a:pt x="211" y="153"/>
                  </a:cubicBezTo>
                  <a:cubicBezTo>
                    <a:pt x="212" y="154"/>
                    <a:pt x="211" y="156"/>
                    <a:pt x="210" y="156"/>
                  </a:cubicBezTo>
                  <a:cubicBezTo>
                    <a:pt x="209" y="157"/>
                    <a:pt x="208" y="156"/>
                    <a:pt x="209" y="155"/>
                  </a:cubicBezTo>
                  <a:cubicBezTo>
                    <a:pt x="209" y="155"/>
                    <a:pt x="211" y="155"/>
                    <a:pt x="211" y="154"/>
                  </a:cubicBezTo>
                  <a:cubicBezTo>
                    <a:pt x="211" y="153"/>
                    <a:pt x="210" y="152"/>
                    <a:pt x="211" y="152"/>
                  </a:cubicBezTo>
                  <a:close/>
                  <a:moveTo>
                    <a:pt x="217" y="168"/>
                  </a:moveTo>
                  <a:cubicBezTo>
                    <a:pt x="216" y="167"/>
                    <a:pt x="215" y="167"/>
                    <a:pt x="215" y="166"/>
                  </a:cubicBezTo>
                  <a:cubicBezTo>
                    <a:pt x="215" y="165"/>
                    <a:pt x="215" y="164"/>
                    <a:pt x="216" y="163"/>
                  </a:cubicBezTo>
                  <a:cubicBezTo>
                    <a:pt x="216" y="161"/>
                    <a:pt x="218" y="161"/>
                    <a:pt x="221" y="162"/>
                  </a:cubicBezTo>
                  <a:cubicBezTo>
                    <a:pt x="222" y="162"/>
                    <a:pt x="222" y="165"/>
                    <a:pt x="222" y="166"/>
                  </a:cubicBezTo>
                  <a:cubicBezTo>
                    <a:pt x="221" y="168"/>
                    <a:pt x="219" y="168"/>
                    <a:pt x="217" y="168"/>
                  </a:cubicBezTo>
                  <a:close/>
                  <a:moveTo>
                    <a:pt x="202" y="189"/>
                  </a:moveTo>
                  <a:cubicBezTo>
                    <a:pt x="202" y="189"/>
                    <a:pt x="202" y="189"/>
                    <a:pt x="201" y="189"/>
                  </a:cubicBezTo>
                  <a:cubicBezTo>
                    <a:pt x="201" y="189"/>
                    <a:pt x="201" y="189"/>
                    <a:pt x="200" y="189"/>
                  </a:cubicBezTo>
                  <a:cubicBezTo>
                    <a:pt x="200" y="188"/>
                    <a:pt x="200" y="187"/>
                    <a:pt x="199" y="187"/>
                  </a:cubicBezTo>
                  <a:cubicBezTo>
                    <a:pt x="198" y="186"/>
                    <a:pt x="197" y="188"/>
                    <a:pt x="197" y="189"/>
                  </a:cubicBezTo>
                  <a:cubicBezTo>
                    <a:pt x="198" y="190"/>
                    <a:pt x="195" y="189"/>
                    <a:pt x="195" y="190"/>
                  </a:cubicBezTo>
                  <a:cubicBezTo>
                    <a:pt x="194" y="191"/>
                    <a:pt x="193" y="193"/>
                    <a:pt x="191" y="192"/>
                  </a:cubicBezTo>
                  <a:cubicBezTo>
                    <a:pt x="191" y="192"/>
                    <a:pt x="191" y="192"/>
                    <a:pt x="191" y="191"/>
                  </a:cubicBezTo>
                  <a:cubicBezTo>
                    <a:pt x="191" y="190"/>
                    <a:pt x="190" y="190"/>
                    <a:pt x="190" y="190"/>
                  </a:cubicBezTo>
                  <a:cubicBezTo>
                    <a:pt x="189" y="190"/>
                    <a:pt x="186" y="190"/>
                    <a:pt x="187" y="188"/>
                  </a:cubicBezTo>
                  <a:cubicBezTo>
                    <a:pt x="187" y="188"/>
                    <a:pt x="189" y="188"/>
                    <a:pt x="189" y="187"/>
                  </a:cubicBezTo>
                  <a:cubicBezTo>
                    <a:pt x="190" y="186"/>
                    <a:pt x="190" y="186"/>
                    <a:pt x="190" y="185"/>
                  </a:cubicBezTo>
                  <a:cubicBezTo>
                    <a:pt x="192" y="184"/>
                    <a:pt x="192" y="184"/>
                    <a:pt x="191" y="183"/>
                  </a:cubicBezTo>
                  <a:cubicBezTo>
                    <a:pt x="190" y="183"/>
                    <a:pt x="189" y="183"/>
                    <a:pt x="190" y="182"/>
                  </a:cubicBezTo>
                  <a:cubicBezTo>
                    <a:pt x="190" y="181"/>
                    <a:pt x="190" y="180"/>
                    <a:pt x="190" y="180"/>
                  </a:cubicBezTo>
                  <a:cubicBezTo>
                    <a:pt x="190" y="179"/>
                    <a:pt x="190" y="176"/>
                    <a:pt x="192" y="176"/>
                  </a:cubicBezTo>
                  <a:cubicBezTo>
                    <a:pt x="193" y="177"/>
                    <a:pt x="193" y="178"/>
                    <a:pt x="194" y="179"/>
                  </a:cubicBezTo>
                  <a:cubicBezTo>
                    <a:pt x="194" y="180"/>
                    <a:pt x="195" y="179"/>
                    <a:pt x="196" y="180"/>
                  </a:cubicBezTo>
                  <a:cubicBezTo>
                    <a:pt x="196" y="180"/>
                    <a:pt x="197" y="180"/>
                    <a:pt x="197" y="181"/>
                  </a:cubicBezTo>
                  <a:cubicBezTo>
                    <a:pt x="197" y="182"/>
                    <a:pt x="199" y="182"/>
                    <a:pt x="200" y="182"/>
                  </a:cubicBezTo>
                  <a:cubicBezTo>
                    <a:pt x="201" y="183"/>
                    <a:pt x="202" y="184"/>
                    <a:pt x="203" y="185"/>
                  </a:cubicBezTo>
                  <a:cubicBezTo>
                    <a:pt x="205" y="186"/>
                    <a:pt x="206" y="188"/>
                    <a:pt x="205" y="189"/>
                  </a:cubicBezTo>
                  <a:cubicBezTo>
                    <a:pt x="205" y="191"/>
                    <a:pt x="203" y="190"/>
                    <a:pt x="202" y="189"/>
                  </a:cubicBezTo>
                  <a:close/>
                  <a:moveTo>
                    <a:pt x="212" y="192"/>
                  </a:moveTo>
                  <a:cubicBezTo>
                    <a:pt x="212" y="192"/>
                    <a:pt x="212" y="190"/>
                    <a:pt x="213" y="191"/>
                  </a:cubicBezTo>
                  <a:cubicBezTo>
                    <a:pt x="213" y="191"/>
                    <a:pt x="213" y="190"/>
                    <a:pt x="214" y="191"/>
                  </a:cubicBezTo>
                  <a:cubicBezTo>
                    <a:pt x="216" y="192"/>
                    <a:pt x="213" y="194"/>
                    <a:pt x="212" y="192"/>
                  </a:cubicBezTo>
                  <a:close/>
                  <a:moveTo>
                    <a:pt x="224" y="162"/>
                  </a:moveTo>
                  <a:cubicBezTo>
                    <a:pt x="226" y="163"/>
                    <a:pt x="225" y="164"/>
                    <a:pt x="223" y="163"/>
                  </a:cubicBezTo>
                  <a:cubicBezTo>
                    <a:pt x="222" y="163"/>
                    <a:pt x="223" y="162"/>
                    <a:pt x="224" y="162"/>
                  </a:cubicBezTo>
                  <a:close/>
                  <a:moveTo>
                    <a:pt x="184" y="101"/>
                  </a:moveTo>
                  <a:cubicBezTo>
                    <a:pt x="185" y="101"/>
                    <a:pt x="183" y="103"/>
                    <a:pt x="182" y="103"/>
                  </a:cubicBezTo>
                  <a:cubicBezTo>
                    <a:pt x="181" y="102"/>
                    <a:pt x="181" y="102"/>
                    <a:pt x="182" y="101"/>
                  </a:cubicBezTo>
                  <a:cubicBezTo>
                    <a:pt x="182" y="101"/>
                    <a:pt x="183" y="101"/>
                    <a:pt x="183" y="101"/>
                  </a:cubicBezTo>
                  <a:cubicBezTo>
                    <a:pt x="183" y="100"/>
                    <a:pt x="184" y="100"/>
                    <a:pt x="184" y="101"/>
                  </a:cubicBezTo>
                  <a:close/>
                  <a:moveTo>
                    <a:pt x="207" y="196"/>
                  </a:moveTo>
                  <a:cubicBezTo>
                    <a:pt x="209" y="195"/>
                    <a:pt x="211" y="198"/>
                    <a:pt x="210" y="198"/>
                  </a:cubicBezTo>
                  <a:cubicBezTo>
                    <a:pt x="210" y="199"/>
                    <a:pt x="209" y="202"/>
                    <a:pt x="208" y="202"/>
                  </a:cubicBezTo>
                  <a:cubicBezTo>
                    <a:pt x="206" y="201"/>
                    <a:pt x="206" y="197"/>
                    <a:pt x="207" y="196"/>
                  </a:cubicBezTo>
                  <a:close/>
                  <a:moveTo>
                    <a:pt x="170" y="100"/>
                  </a:moveTo>
                  <a:cubicBezTo>
                    <a:pt x="171" y="99"/>
                    <a:pt x="171" y="100"/>
                    <a:pt x="172" y="99"/>
                  </a:cubicBezTo>
                  <a:cubicBezTo>
                    <a:pt x="172" y="99"/>
                    <a:pt x="172" y="99"/>
                    <a:pt x="172" y="99"/>
                  </a:cubicBezTo>
                  <a:cubicBezTo>
                    <a:pt x="172" y="99"/>
                    <a:pt x="172" y="99"/>
                    <a:pt x="172" y="99"/>
                  </a:cubicBezTo>
                  <a:cubicBezTo>
                    <a:pt x="173" y="99"/>
                    <a:pt x="175" y="99"/>
                    <a:pt x="176" y="99"/>
                  </a:cubicBezTo>
                  <a:cubicBezTo>
                    <a:pt x="177" y="99"/>
                    <a:pt x="176" y="101"/>
                    <a:pt x="175" y="101"/>
                  </a:cubicBezTo>
                  <a:cubicBezTo>
                    <a:pt x="174" y="102"/>
                    <a:pt x="173" y="101"/>
                    <a:pt x="172" y="101"/>
                  </a:cubicBezTo>
                  <a:cubicBezTo>
                    <a:pt x="172" y="102"/>
                    <a:pt x="171" y="102"/>
                    <a:pt x="170" y="101"/>
                  </a:cubicBezTo>
                  <a:cubicBezTo>
                    <a:pt x="170" y="101"/>
                    <a:pt x="170" y="100"/>
                    <a:pt x="170" y="100"/>
                  </a:cubicBezTo>
                  <a:close/>
                  <a:moveTo>
                    <a:pt x="167" y="84"/>
                  </a:moveTo>
                  <a:cubicBezTo>
                    <a:pt x="169" y="84"/>
                    <a:pt x="170" y="85"/>
                    <a:pt x="169" y="85"/>
                  </a:cubicBezTo>
                  <a:cubicBezTo>
                    <a:pt x="168" y="86"/>
                    <a:pt x="167" y="86"/>
                    <a:pt x="167" y="86"/>
                  </a:cubicBezTo>
                  <a:cubicBezTo>
                    <a:pt x="166" y="85"/>
                    <a:pt x="166" y="85"/>
                    <a:pt x="166" y="85"/>
                  </a:cubicBezTo>
                  <a:cubicBezTo>
                    <a:pt x="166" y="85"/>
                    <a:pt x="165" y="85"/>
                    <a:pt x="165" y="85"/>
                  </a:cubicBezTo>
                  <a:cubicBezTo>
                    <a:pt x="163" y="85"/>
                    <a:pt x="166" y="84"/>
                    <a:pt x="167" y="84"/>
                  </a:cubicBezTo>
                  <a:close/>
                  <a:moveTo>
                    <a:pt x="207" y="110"/>
                  </a:moveTo>
                  <a:cubicBezTo>
                    <a:pt x="207" y="110"/>
                    <a:pt x="208" y="110"/>
                    <a:pt x="208" y="110"/>
                  </a:cubicBezTo>
                  <a:cubicBezTo>
                    <a:pt x="209" y="109"/>
                    <a:pt x="209" y="112"/>
                    <a:pt x="207" y="112"/>
                  </a:cubicBezTo>
                  <a:cubicBezTo>
                    <a:pt x="206" y="112"/>
                    <a:pt x="206" y="111"/>
                    <a:pt x="207" y="110"/>
                  </a:cubicBezTo>
                  <a:close/>
                  <a:moveTo>
                    <a:pt x="171" y="93"/>
                  </a:moveTo>
                  <a:cubicBezTo>
                    <a:pt x="172" y="93"/>
                    <a:pt x="172" y="93"/>
                    <a:pt x="173" y="93"/>
                  </a:cubicBezTo>
                  <a:cubicBezTo>
                    <a:pt x="173" y="94"/>
                    <a:pt x="173" y="95"/>
                    <a:pt x="173" y="95"/>
                  </a:cubicBezTo>
                  <a:cubicBezTo>
                    <a:pt x="174" y="95"/>
                    <a:pt x="175" y="96"/>
                    <a:pt x="174" y="96"/>
                  </a:cubicBezTo>
                  <a:cubicBezTo>
                    <a:pt x="174" y="96"/>
                    <a:pt x="173" y="96"/>
                    <a:pt x="173" y="96"/>
                  </a:cubicBezTo>
                  <a:cubicBezTo>
                    <a:pt x="173" y="96"/>
                    <a:pt x="173" y="97"/>
                    <a:pt x="173" y="97"/>
                  </a:cubicBezTo>
                  <a:cubicBezTo>
                    <a:pt x="173" y="98"/>
                    <a:pt x="172" y="98"/>
                    <a:pt x="172" y="98"/>
                  </a:cubicBezTo>
                  <a:cubicBezTo>
                    <a:pt x="171" y="98"/>
                    <a:pt x="170" y="99"/>
                    <a:pt x="169" y="99"/>
                  </a:cubicBezTo>
                  <a:cubicBezTo>
                    <a:pt x="168" y="99"/>
                    <a:pt x="168" y="99"/>
                    <a:pt x="167" y="98"/>
                  </a:cubicBezTo>
                  <a:cubicBezTo>
                    <a:pt x="167" y="98"/>
                    <a:pt x="166" y="97"/>
                    <a:pt x="166" y="97"/>
                  </a:cubicBezTo>
                  <a:cubicBezTo>
                    <a:pt x="167" y="97"/>
                    <a:pt x="168" y="97"/>
                    <a:pt x="168" y="97"/>
                  </a:cubicBezTo>
                  <a:cubicBezTo>
                    <a:pt x="169" y="97"/>
                    <a:pt x="169" y="96"/>
                    <a:pt x="168" y="96"/>
                  </a:cubicBezTo>
                  <a:cubicBezTo>
                    <a:pt x="168" y="96"/>
                    <a:pt x="167" y="96"/>
                    <a:pt x="167" y="96"/>
                  </a:cubicBezTo>
                  <a:cubicBezTo>
                    <a:pt x="167" y="95"/>
                    <a:pt x="167" y="95"/>
                    <a:pt x="167" y="95"/>
                  </a:cubicBezTo>
                  <a:cubicBezTo>
                    <a:pt x="167" y="95"/>
                    <a:pt x="167" y="94"/>
                    <a:pt x="166" y="94"/>
                  </a:cubicBezTo>
                  <a:cubicBezTo>
                    <a:pt x="166" y="94"/>
                    <a:pt x="167" y="93"/>
                    <a:pt x="167" y="93"/>
                  </a:cubicBezTo>
                  <a:cubicBezTo>
                    <a:pt x="167" y="92"/>
                    <a:pt x="166" y="92"/>
                    <a:pt x="167" y="92"/>
                  </a:cubicBezTo>
                  <a:cubicBezTo>
                    <a:pt x="168" y="91"/>
                    <a:pt x="169" y="92"/>
                    <a:pt x="170" y="92"/>
                  </a:cubicBezTo>
                  <a:cubicBezTo>
                    <a:pt x="170" y="92"/>
                    <a:pt x="170" y="93"/>
                    <a:pt x="171" y="93"/>
                  </a:cubicBezTo>
                  <a:close/>
                  <a:moveTo>
                    <a:pt x="171" y="104"/>
                  </a:moveTo>
                  <a:cubicBezTo>
                    <a:pt x="171" y="103"/>
                    <a:pt x="172" y="103"/>
                    <a:pt x="172" y="103"/>
                  </a:cubicBezTo>
                  <a:cubicBezTo>
                    <a:pt x="172" y="103"/>
                    <a:pt x="172" y="104"/>
                    <a:pt x="172" y="104"/>
                  </a:cubicBezTo>
                  <a:cubicBezTo>
                    <a:pt x="171" y="104"/>
                    <a:pt x="171" y="104"/>
                    <a:pt x="171" y="104"/>
                  </a:cubicBezTo>
                  <a:close/>
                  <a:moveTo>
                    <a:pt x="173" y="112"/>
                  </a:moveTo>
                  <a:cubicBezTo>
                    <a:pt x="173" y="113"/>
                    <a:pt x="171" y="113"/>
                    <a:pt x="171" y="112"/>
                  </a:cubicBezTo>
                  <a:cubicBezTo>
                    <a:pt x="171" y="112"/>
                    <a:pt x="173" y="112"/>
                    <a:pt x="173" y="112"/>
                  </a:cubicBezTo>
                  <a:close/>
                  <a:moveTo>
                    <a:pt x="209" y="225"/>
                  </a:moveTo>
                  <a:cubicBezTo>
                    <a:pt x="208" y="224"/>
                    <a:pt x="208" y="224"/>
                    <a:pt x="209" y="224"/>
                  </a:cubicBezTo>
                  <a:cubicBezTo>
                    <a:pt x="209" y="224"/>
                    <a:pt x="209" y="224"/>
                    <a:pt x="209" y="224"/>
                  </a:cubicBezTo>
                  <a:cubicBezTo>
                    <a:pt x="209" y="225"/>
                    <a:pt x="209" y="225"/>
                    <a:pt x="209" y="225"/>
                  </a:cubicBezTo>
                  <a:close/>
                  <a:moveTo>
                    <a:pt x="208" y="234"/>
                  </a:moveTo>
                  <a:cubicBezTo>
                    <a:pt x="207" y="233"/>
                    <a:pt x="209" y="230"/>
                    <a:pt x="209" y="229"/>
                  </a:cubicBezTo>
                  <a:cubicBezTo>
                    <a:pt x="209" y="229"/>
                    <a:pt x="208" y="228"/>
                    <a:pt x="209" y="228"/>
                  </a:cubicBezTo>
                  <a:cubicBezTo>
                    <a:pt x="210" y="227"/>
                    <a:pt x="210" y="228"/>
                    <a:pt x="210" y="228"/>
                  </a:cubicBezTo>
                  <a:cubicBezTo>
                    <a:pt x="210" y="230"/>
                    <a:pt x="212" y="231"/>
                    <a:pt x="212" y="232"/>
                  </a:cubicBezTo>
                  <a:cubicBezTo>
                    <a:pt x="212" y="233"/>
                    <a:pt x="209" y="234"/>
                    <a:pt x="208" y="234"/>
                  </a:cubicBezTo>
                  <a:close/>
                  <a:moveTo>
                    <a:pt x="180" y="127"/>
                  </a:moveTo>
                  <a:cubicBezTo>
                    <a:pt x="179" y="127"/>
                    <a:pt x="179" y="127"/>
                    <a:pt x="179" y="128"/>
                  </a:cubicBezTo>
                  <a:cubicBezTo>
                    <a:pt x="179" y="128"/>
                    <a:pt x="179" y="129"/>
                    <a:pt x="179" y="129"/>
                  </a:cubicBezTo>
                  <a:cubicBezTo>
                    <a:pt x="178" y="130"/>
                    <a:pt x="177" y="130"/>
                    <a:pt x="177" y="131"/>
                  </a:cubicBezTo>
                  <a:cubicBezTo>
                    <a:pt x="177" y="131"/>
                    <a:pt x="177" y="132"/>
                    <a:pt x="177" y="132"/>
                  </a:cubicBezTo>
                  <a:cubicBezTo>
                    <a:pt x="176" y="134"/>
                    <a:pt x="174" y="132"/>
                    <a:pt x="173" y="132"/>
                  </a:cubicBezTo>
                  <a:cubicBezTo>
                    <a:pt x="171" y="132"/>
                    <a:pt x="173" y="133"/>
                    <a:pt x="173" y="133"/>
                  </a:cubicBezTo>
                  <a:cubicBezTo>
                    <a:pt x="173" y="134"/>
                    <a:pt x="173" y="135"/>
                    <a:pt x="172" y="136"/>
                  </a:cubicBezTo>
                  <a:cubicBezTo>
                    <a:pt x="172" y="136"/>
                    <a:pt x="170" y="137"/>
                    <a:pt x="169" y="137"/>
                  </a:cubicBezTo>
                  <a:cubicBezTo>
                    <a:pt x="168" y="137"/>
                    <a:pt x="168" y="136"/>
                    <a:pt x="167" y="135"/>
                  </a:cubicBezTo>
                  <a:cubicBezTo>
                    <a:pt x="167" y="134"/>
                    <a:pt x="168" y="132"/>
                    <a:pt x="168" y="131"/>
                  </a:cubicBezTo>
                  <a:cubicBezTo>
                    <a:pt x="168" y="130"/>
                    <a:pt x="168" y="128"/>
                    <a:pt x="169" y="128"/>
                  </a:cubicBezTo>
                  <a:cubicBezTo>
                    <a:pt x="171" y="127"/>
                    <a:pt x="169" y="127"/>
                    <a:pt x="169" y="126"/>
                  </a:cubicBezTo>
                  <a:cubicBezTo>
                    <a:pt x="169" y="125"/>
                    <a:pt x="170" y="125"/>
                    <a:pt x="171" y="125"/>
                  </a:cubicBezTo>
                  <a:cubicBezTo>
                    <a:pt x="172" y="124"/>
                    <a:pt x="174" y="123"/>
                    <a:pt x="175" y="124"/>
                  </a:cubicBezTo>
                  <a:cubicBezTo>
                    <a:pt x="176" y="124"/>
                    <a:pt x="177" y="124"/>
                    <a:pt x="177" y="124"/>
                  </a:cubicBezTo>
                  <a:cubicBezTo>
                    <a:pt x="178" y="124"/>
                    <a:pt x="179" y="124"/>
                    <a:pt x="180" y="124"/>
                  </a:cubicBezTo>
                  <a:cubicBezTo>
                    <a:pt x="181" y="124"/>
                    <a:pt x="182" y="124"/>
                    <a:pt x="182" y="125"/>
                  </a:cubicBezTo>
                  <a:cubicBezTo>
                    <a:pt x="182" y="126"/>
                    <a:pt x="181" y="127"/>
                    <a:pt x="180" y="127"/>
                  </a:cubicBezTo>
                  <a:close/>
                  <a:moveTo>
                    <a:pt x="169" y="116"/>
                  </a:moveTo>
                  <a:cubicBezTo>
                    <a:pt x="169" y="114"/>
                    <a:pt x="172" y="115"/>
                    <a:pt x="173" y="116"/>
                  </a:cubicBezTo>
                  <a:cubicBezTo>
                    <a:pt x="174" y="117"/>
                    <a:pt x="176" y="118"/>
                    <a:pt x="174" y="120"/>
                  </a:cubicBezTo>
                  <a:cubicBezTo>
                    <a:pt x="173" y="122"/>
                    <a:pt x="170" y="121"/>
                    <a:pt x="168" y="121"/>
                  </a:cubicBezTo>
                  <a:cubicBezTo>
                    <a:pt x="166" y="120"/>
                    <a:pt x="168" y="117"/>
                    <a:pt x="169" y="116"/>
                  </a:cubicBezTo>
                  <a:close/>
                  <a:moveTo>
                    <a:pt x="330" y="118"/>
                  </a:moveTo>
                  <a:cubicBezTo>
                    <a:pt x="330" y="118"/>
                    <a:pt x="329" y="118"/>
                    <a:pt x="329" y="118"/>
                  </a:cubicBezTo>
                  <a:cubicBezTo>
                    <a:pt x="329" y="117"/>
                    <a:pt x="329" y="116"/>
                    <a:pt x="329" y="116"/>
                  </a:cubicBezTo>
                  <a:cubicBezTo>
                    <a:pt x="329" y="116"/>
                    <a:pt x="330" y="116"/>
                    <a:pt x="330" y="117"/>
                  </a:cubicBezTo>
                  <a:cubicBezTo>
                    <a:pt x="330" y="117"/>
                    <a:pt x="330" y="118"/>
                    <a:pt x="330" y="118"/>
                  </a:cubicBezTo>
                  <a:close/>
                  <a:moveTo>
                    <a:pt x="160" y="94"/>
                  </a:moveTo>
                  <a:cubicBezTo>
                    <a:pt x="161" y="94"/>
                    <a:pt x="162" y="95"/>
                    <a:pt x="162" y="96"/>
                  </a:cubicBezTo>
                  <a:cubicBezTo>
                    <a:pt x="162" y="96"/>
                    <a:pt x="161" y="97"/>
                    <a:pt x="162" y="98"/>
                  </a:cubicBezTo>
                  <a:cubicBezTo>
                    <a:pt x="162" y="98"/>
                    <a:pt x="162" y="98"/>
                    <a:pt x="163" y="98"/>
                  </a:cubicBezTo>
                  <a:cubicBezTo>
                    <a:pt x="163" y="99"/>
                    <a:pt x="163" y="100"/>
                    <a:pt x="161" y="100"/>
                  </a:cubicBezTo>
                  <a:cubicBezTo>
                    <a:pt x="160" y="100"/>
                    <a:pt x="160" y="99"/>
                    <a:pt x="160" y="98"/>
                  </a:cubicBezTo>
                  <a:cubicBezTo>
                    <a:pt x="160" y="98"/>
                    <a:pt x="159" y="98"/>
                    <a:pt x="159" y="98"/>
                  </a:cubicBezTo>
                  <a:cubicBezTo>
                    <a:pt x="158" y="98"/>
                    <a:pt x="158" y="98"/>
                    <a:pt x="158" y="98"/>
                  </a:cubicBezTo>
                  <a:cubicBezTo>
                    <a:pt x="157" y="97"/>
                    <a:pt x="157" y="97"/>
                    <a:pt x="157" y="98"/>
                  </a:cubicBezTo>
                  <a:cubicBezTo>
                    <a:pt x="156" y="98"/>
                    <a:pt x="156" y="98"/>
                    <a:pt x="156" y="98"/>
                  </a:cubicBezTo>
                  <a:cubicBezTo>
                    <a:pt x="155" y="99"/>
                    <a:pt x="152" y="98"/>
                    <a:pt x="152" y="97"/>
                  </a:cubicBezTo>
                  <a:cubicBezTo>
                    <a:pt x="152" y="97"/>
                    <a:pt x="152" y="96"/>
                    <a:pt x="153" y="96"/>
                  </a:cubicBezTo>
                  <a:cubicBezTo>
                    <a:pt x="153" y="96"/>
                    <a:pt x="154" y="96"/>
                    <a:pt x="154" y="96"/>
                  </a:cubicBezTo>
                  <a:cubicBezTo>
                    <a:pt x="156" y="95"/>
                    <a:pt x="154" y="94"/>
                    <a:pt x="153" y="94"/>
                  </a:cubicBezTo>
                  <a:cubicBezTo>
                    <a:pt x="152" y="93"/>
                    <a:pt x="152" y="94"/>
                    <a:pt x="152" y="93"/>
                  </a:cubicBezTo>
                  <a:cubicBezTo>
                    <a:pt x="152" y="92"/>
                    <a:pt x="152" y="91"/>
                    <a:pt x="153" y="91"/>
                  </a:cubicBezTo>
                  <a:cubicBezTo>
                    <a:pt x="154" y="90"/>
                    <a:pt x="155" y="90"/>
                    <a:pt x="155" y="90"/>
                  </a:cubicBezTo>
                  <a:cubicBezTo>
                    <a:pt x="156" y="90"/>
                    <a:pt x="156" y="91"/>
                    <a:pt x="156" y="91"/>
                  </a:cubicBezTo>
                  <a:cubicBezTo>
                    <a:pt x="157" y="91"/>
                    <a:pt x="157" y="92"/>
                    <a:pt x="157" y="92"/>
                  </a:cubicBezTo>
                  <a:cubicBezTo>
                    <a:pt x="157" y="93"/>
                    <a:pt x="158" y="93"/>
                    <a:pt x="158" y="92"/>
                  </a:cubicBezTo>
                  <a:cubicBezTo>
                    <a:pt x="158" y="92"/>
                    <a:pt x="159" y="92"/>
                    <a:pt x="159" y="92"/>
                  </a:cubicBezTo>
                  <a:cubicBezTo>
                    <a:pt x="160" y="92"/>
                    <a:pt x="159" y="93"/>
                    <a:pt x="160" y="94"/>
                  </a:cubicBezTo>
                  <a:close/>
                  <a:moveTo>
                    <a:pt x="132" y="114"/>
                  </a:moveTo>
                  <a:cubicBezTo>
                    <a:pt x="132" y="114"/>
                    <a:pt x="133" y="114"/>
                    <a:pt x="134" y="115"/>
                  </a:cubicBezTo>
                  <a:cubicBezTo>
                    <a:pt x="134" y="115"/>
                    <a:pt x="134" y="116"/>
                    <a:pt x="134" y="116"/>
                  </a:cubicBezTo>
                  <a:cubicBezTo>
                    <a:pt x="134" y="117"/>
                    <a:pt x="135" y="116"/>
                    <a:pt x="135" y="117"/>
                  </a:cubicBezTo>
                  <a:cubicBezTo>
                    <a:pt x="135" y="117"/>
                    <a:pt x="134" y="118"/>
                    <a:pt x="135" y="118"/>
                  </a:cubicBezTo>
                  <a:cubicBezTo>
                    <a:pt x="135" y="118"/>
                    <a:pt x="136" y="118"/>
                    <a:pt x="136" y="118"/>
                  </a:cubicBezTo>
                  <a:cubicBezTo>
                    <a:pt x="137" y="118"/>
                    <a:pt x="139" y="119"/>
                    <a:pt x="139" y="118"/>
                  </a:cubicBezTo>
                  <a:cubicBezTo>
                    <a:pt x="140" y="117"/>
                    <a:pt x="139" y="116"/>
                    <a:pt x="138" y="115"/>
                  </a:cubicBezTo>
                  <a:cubicBezTo>
                    <a:pt x="138" y="115"/>
                    <a:pt x="139" y="114"/>
                    <a:pt x="138" y="114"/>
                  </a:cubicBezTo>
                  <a:cubicBezTo>
                    <a:pt x="138" y="114"/>
                    <a:pt x="138" y="114"/>
                    <a:pt x="137" y="114"/>
                  </a:cubicBezTo>
                  <a:cubicBezTo>
                    <a:pt x="136" y="113"/>
                    <a:pt x="137" y="112"/>
                    <a:pt x="138" y="111"/>
                  </a:cubicBezTo>
                  <a:cubicBezTo>
                    <a:pt x="139" y="111"/>
                    <a:pt x="139" y="110"/>
                    <a:pt x="140" y="109"/>
                  </a:cubicBezTo>
                  <a:cubicBezTo>
                    <a:pt x="140" y="109"/>
                    <a:pt x="141" y="108"/>
                    <a:pt x="141" y="109"/>
                  </a:cubicBezTo>
                  <a:cubicBezTo>
                    <a:pt x="142" y="109"/>
                    <a:pt x="141" y="110"/>
                    <a:pt x="141" y="111"/>
                  </a:cubicBezTo>
                  <a:cubicBezTo>
                    <a:pt x="141" y="112"/>
                    <a:pt x="141" y="112"/>
                    <a:pt x="141" y="113"/>
                  </a:cubicBezTo>
                  <a:cubicBezTo>
                    <a:pt x="141" y="114"/>
                    <a:pt x="141" y="114"/>
                    <a:pt x="142" y="114"/>
                  </a:cubicBezTo>
                  <a:cubicBezTo>
                    <a:pt x="143" y="114"/>
                    <a:pt x="143" y="115"/>
                    <a:pt x="143" y="115"/>
                  </a:cubicBezTo>
                  <a:cubicBezTo>
                    <a:pt x="144" y="115"/>
                    <a:pt x="144" y="114"/>
                    <a:pt x="145" y="114"/>
                  </a:cubicBezTo>
                  <a:cubicBezTo>
                    <a:pt x="149" y="113"/>
                    <a:pt x="146" y="118"/>
                    <a:pt x="145" y="120"/>
                  </a:cubicBezTo>
                  <a:cubicBezTo>
                    <a:pt x="144" y="121"/>
                    <a:pt x="143" y="122"/>
                    <a:pt x="141" y="122"/>
                  </a:cubicBezTo>
                  <a:cubicBezTo>
                    <a:pt x="140" y="121"/>
                    <a:pt x="140" y="123"/>
                    <a:pt x="139" y="123"/>
                  </a:cubicBezTo>
                  <a:cubicBezTo>
                    <a:pt x="138" y="122"/>
                    <a:pt x="137" y="122"/>
                    <a:pt x="136" y="123"/>
                  </a:cubicBezTo>
                  <a:cubicBezTo>
                    <a:pt x="135" y="124"/>
                    <a:pt x="135" y="124"/>
                    <a:pt x="135" y="124"/>
                  </a:cubicBezTo>
                  <a:cubicBezTo>
                    <a:pt x="134" y="125"/>
                    <a:pt x="133" y="125"/>
                    <a:pt x="132" y="126"/>
                  </a:cubicBezTo>
                  <a:cubicBezTo>
                    <a:pt x="132" y="127"/>
                    <a:pt x="132" y="127"/>
                    <a:pt x="131" y="128"/>
                  </a:cubicBezTo>
                  <a:cubicBezTo>
                    <a:pt x="130" y="128"/>
                    <a:pt x="129" y="128"/>
                    <a:pt x="129" y="128"/>
                  </a:cubicBezTo>
                  <a:cubicBezTo>
                    <a:pt x="127" y="128"/>
                    <a:pt x="126" y="128"/>
                    <a:pt x="126" y="127"/>
                  </a:cubicBezTo>
                  <a:cubicBezTo>
                    <a:pt x="126" y="125"/>
                    <a:pt x="128" y="125"/>
                    <a:pt x="128" y="124"/>
                  </a:cubicBezTo>
                  <a:cubicBezTo>
                    <a:pt x="129" y="123"/>
                    <a:pt x="131" y="124"/>
                    <a:pt x="132" y="123"/>
                  </a:cubicBezTo>
                  <a:cubicBezTo>
                    <a:pt x="132" y="122"/>
                    <a:pt x="130" y="123"/>
                    <a:pt x="130" y="123"/>
                  </a:cubicBezTo>
                  <a:cubicBezTo>
                    <a:pt x="129" y="123"/>
                    <a:pt x="129" y="123"/>
                    <a:pt x="128" y="123"/>
                  </a:cubicBezTo>
                  <a:cubicBezTo>
                    <a:pt x="128" y="123"/>
                    <a:pt x="127" y="123"/>
                    <a:pt x="127" y="123"/>
                  </a:cubicBezTo>
                  <a:cubicBezTo>
                    <a:pt x="126" y="123"/>
                    <a:pt x="126" y="123"/>
                    <a:pt x="126" y="124"/>
                  </a:cubicBezTo>
                  <a:cubicBezTo>
                    <a:pt x="125" y="124"/>
                    <a:pt x="124" y="125"/>
                    <a:pt x="123" y="125"/>
                  </a:cubicBezTo>
                  <a:cubicBezTo>
                    <a:pt x="123" y="125"/>
                    <a:pt x="123" y="124"/>
                    <a:pt x="123" y="124"/>
                  </a:cubicBezTo>
                  <a:cubicBezTo>
                    <a:pt x="123" y="124"/>
                    <a:pt x="122" y="124"/>
                    <a:pt x="122" y="124"/>
                  </a:cubicBezTo>
                  <a:cubicBezTo>
                    <a:pt x="121" y="124"/>
                    <a:pt x="120" y="123"/>
                    <a:pt x="121" y="122"/>
                  </a:cubicBezTo>
                  <a:cubicBezTo>
                    <a:pt x="122" y="121"/>
                    <a:pt x="123" y="121"/>
                    <a:pt x="125" y="121"/>
                  </a:cubicBezTo>
                  <a:cubicBezTo>
                    <a:pt x="126" y="120"/>
                    <a:pt x="123" y="120"/>
                    <a:pt x="123" y="120"/>
                  </a:cubicBezTo>
                  <a:cubicBezTo>
                    <a:pt x="123" y="119"/>
                    <a:pt x="125" y="119"/>
                    <a:pt x="125" y="119"/>
                  </a:cubicBezTo>
                  <a:cubicBezTo>
                    <a:pt x="125" y="118"/>
                    <a:pt x="123" y="119"/>
                    <a:pt x="123" y="118"/>
                  </a:cubicBezTo>
                  <a:cubicBezTo>
                    <a:pt x="123" y="117"/>
                    <a:pt x="125" y="116"/>
                    <a:pt x="126" y="116"/>
                  </a:cubicBezTo>
                  <a:cubicBezTo>
                    <a:pt x="127" y="115"/>
                    <a:pt x="127" y="114"/>
                    <a:pt x="128" y="114"/>
                  </a:cubicBezTo>
                  <a:cubicBezTo>
                    <a:pt x="129" y="113"/>
                    <a:pt x="129" y="114"/>
                    <a:pt x="129" y="114"/>
                  </a:cubicBezTo>
                  <a:cubicBezTo>
                    <a:pt x="129" y="115"/>
                    <a:pt x="131" y="115"/>
                    <a:pt x="132" y="114"/>
                  </a:cubicBezTo>
                  <a:close/>
                  <a:moveTo>
                    <a:pt x="148" y="106"/>
                  </a:moveTo>
                  <a:cubicBezTo>
                    <a:pt x="148" y="105"/>
                    <a:pt x="148" y="104"/>
                    <a:pt x="148" y="104"/>
                  </a:cubicBezTo>
                  <a:cubicBezTo>
                    <a:pt x="148" y="103"/>
                    <a:pt x="148" y="103"/>
                    <a:pt x="148" y="103"/>
                  </a:cubicBezTo>
                  <a:cubicBezTo>
                    <a:pt x="148" y="102"/>
                    <a:pt x="150" y="102"/>
                    <a:pt x="150" y="103"/>
                  </a:cubicBezTo>
                  <a:cubicBezTo>
                    <a:pt x="150" y="103"/>
                    <a:pt x="151" y="104"/>
                    <a:pt x="151" y="104"/>
                  </a:cubicBezTo>
                  <a:cubicBezTo>
                    <a:pt x="151" y="104"/>
                    <a:pt x="152" y="105"/>
                    <a:pt x="151" y="105"/>
                  </a:cubicBezTo>
                  <a:cubicBezTo>
                    <a:pt x="151" y="107"/>
                    <a:pt x="149" y="106"/>
                    <a:pt x="148" y="106"/>
                  </a:cubicBezTo>
                  <a:close/>
                  <a:moveTo>
                    <a:pt x="173" y="85"/>
                  </a:moveTo>
                  <a:cubicBezTo>
                    <a:pt x="172" y="85"/>
                    <a:pt x="172" y="85"/>
                    <a:pt x="172" y="84"/>
                  </a:cubicBezTo>
                  <a:cubicBezTo>
                    <a:pt x="171" y="84"/>
                    <a:pt x="172" y="84"/>
                    <a:pt x="172" y="83"/>
                  </a:cubicBezTo>
                  <a:cubicBezTo>
                    <a:pt x="172" y="83"/>
                    <a:pt x="172" y="82"/>
                    <a:pt x="173" y="82"/>
                  </a:cubicBezTo>
                  <a:cubicBezTo>
                    <a:pt x="173" y="82"/>
                    <a:pt x="174" y="82"/>
                    <a:pt x="174" y="81"/>
                  </a:cubicBezTo>
                  <a:cubicBezTo>
                    <a:pt x="175" y="81"/>
                    <a:pt x="174" y="81"/>
                    <a:pt x="173" y="81"/>
                  </a:cubicBezTo>
                  <a:cubicBezTo>
                    <a:pt x="172" y="80"/>
                    <a:pt x="173" y="80"/>
                    <a:pt x="173" y="80"/>
                  </a:cubicBezTo>
                  <a:cubicBezTo>
                    <a:pt x="173" y="79"/>
                    <a:pt x="173" y="78"/>
                    <a:pt x="174" y="78"/>
                  </a:cubicBezTo>
                  <a:cubicBezTo>
                    <a:pt x="174" y="78"/>
                    <a:pt x="175" y="79"/>
                    <a:pt x="175" y="78"/>
                  </a:cubicBezTo>
                  <a:cubicBezTo>
                    <a:pt x="176" y="78"/>
                    <a:pt x="175" y="78"/>
                    <a:pt x="175" y="78"/>
                  </a:cubicBezTo>
                  <a:cubicBezTo>
                    <a:pt x="174" y="77"/>
                    <a:pt x="175" y="75"/>
                    <a:pt x="177" y="76"/>
                  </a:cubicBezTo>
                  <a:cubicBezTo>
                    <a:pt x="178" y="76"/>
                    <a:pt x="178" y="75"/>
                    <a:pt x="178" y="75"/>
                  </a:cubicBezTo>
                  <a:cubicBezTo>
                    <a:pt x="178" y="75"/>
                    <a:pt x="179" y="75"/>
                    <a:pt x="179" y="75"/>
                  </a:cubicBezTo>
                  <a:cubicBezTo>
                    <a:pt x="180" y="74"/>
                    <a:pt x="176" y="74"/>
                    <a:pt x="176" y="74"/>
                  </a:cubicBezTo>
                  <a:cubicBezTo>
                    <a:pt x="175" y="74"/>
                    <a:pt x="175" y="73"/>
                    <a:pt x="176" y="73"/>
                  </a:cubicBezTo>
                  <a:cubicBezTo>
                    <a:pt x="176" y="73"/>
                    <a:pt x="177" y="73"/>
                    <a:pt x="178" y="73"/>
                  </a:cubicBezTo>
                  <a:cubicBezTo>
                    <a:pt x="179" y="73"/>
                    <a:pt x="180" y="73"/>
                    <a:pt x="181" y="73"/>
                  </a:cubicBezTo>
                  <a:cubicBezTo>
                    <a:pt x="182" y="74"/>
                    <a:pt x="181" y="74"/>
                    <a:pt x="181" y="75"/>
                  </a:cubicBezTo>
                  <a:cubicBezTo>
                    <a:pt x="182" y="76"/>
                    <a:pt x="182" y="76"/>
                    <a:pt x="183" y="77"/>
                  </a:cubicBezTo>
                  <a:cubicBezTo>
                    <a:pt x="183" y="77"/>
                    <a:pt x="183" y="78"/>
                    <a:pt x="184" y="78"/>
                  </a:cubicBezTo>
                  <a:cubicBezTo>
                    <a:pt x="184" y="78"/>
                    <a:pt x="185" y="78"/>
                    <a:pt x="185" y="78"/>
                  </a:cubicBezTo>
                  <a:cubicBezTo>
                    <a:pt x="186" y="78"/>
                    <a:pt x="186" y="78"/>
                    <a:pt x="186" y="78"/>
                  </a:cubicBezTo>
                  <a:cubicBezTo>
                    <a:pt x="187" y="78"/>
                    <a:pt x="187" y="79"/>
                    <a:pt x="187" y="79"/>
                  </a:cubicBezTo>
                  <a:cubicBezTo>
                    <a:pt x="187" y="80"/>
                    <a:pt x="186" y="80"/>
                    <a:pt x="186" y="80"/>
                  </a:cubicBezTo>
                  <a:cubicBezTo>
                    <a:pt x="186" y="81"/>
                    <a:pt x="187" y="81"/>
                    <a:pt x="187" y="81"/>
                  </a:cubicBezTo>
                  <a:cubicBezTo>
                    <a:pt x="188" y="82"/>
                    <a:pt x="189" y="81"/>
                    <a:pt x="188" y="81"/>
                  </a:cubicBezTo>
                  <a:cubicBezTo>
                    <a:pt x="188" y="80"/>
                    <a:pt x="187" y="80"/>
                    <a:pt x="188" y="79"/>
                  </a:cubicBezTo>
                  <a:cubicBezTo>
                    <a:pt x="189" y="78"/>
                    <a:pt x="190" y="79"/>
                    <a:pt x="190" y="80"/>
                  </a:cubicBezTo>
                  <a:cubicBezTo>
                    <a:pt x="190" y="80"/>
                    <a:pt x="190" y="80"/>
                    <a:pt x="190" y="81"/>
                  </a:cubicBezTo>
                  <a:cubicBezTo>
                    <a:pt x="189" y="81"/>
                    <a:pt x="190" y="81"/>
                    <a:pt x="190" y="82"/>
                  </a:cubicBezTo>
                  <a:cubicBezTo>
                    <a:pt x="190" y="82"/>
                    <a:pt x="189" y="84"/>
                    <a:pt x="190" y="84"/>
                  </a:cubicBezTo>
                  <a:cubicBezTo>
                    <a:pt x="191" y="85"/>
                    <a:pt x="192" y="84"/>
                    <a:pt x="193" y="85"/>
                  </a:cubicBezTo>
                  <a:cubicBezTo>
                    <a:pt x="194" y="85"/>
                    <a:pt x="196" y="86"/>
                    <a:pt x="195" y="85"/>
                  </a:cubicBezTo>
                  <a:cubicBezTo>
                    <a:pt x="194" y="85"/>
                    <a:pt x="194" y="84"/>
                    <a:pt x="194" y="84"/>
                  </a:cubicBezTo>
                  <a:cubicBezTo>
                    <a:pt x="193" y="84"/>
                    <a:pt x="193" y="83"/>
                    <a:pt x="192" y="83"/>
                  </a:cubicBezTo>
                  <a:cubicBezTo>
                    <a:pt x="191" y="83"/>
                    <a:pt x="192" y="82"/>
                    <a:pt x="192" y="81"/>
                  </a:cubicBezTo>
                  <a:cubicBezTo>
                    <a:pt x="192" y="81"/>
                    <a:pt x="191" y="79"/>
                    <a:pt x="192" y="80"/>
                  </a:cubicBezTo>
                  <a:cubicBezTo>
                    <a:pt x="194" y="80"/>
                    <a:pt x="196" y="80"/>
                    <a:pt x="197" y="80"/>
                  </a:cubicBezTo>
                  <a:cubicBezTo>
                    <a:pt x="199" y="81"/>
                    <a:pt x="199" y="82"/>
                    <a:pt x="200" y="82"/>
                  </a:cubicBezTo>
                  <a:cubicBezTo>
                    <a:pt x="200" y="83"/>
                    <a:pt x="200" y="83"/>
                    <a:pt x="201" y="84"/>
                  </a:cubicBezTo>
                  <a:cubicBezTo>
                    <a:pt x="202" y="84"/>
                    <a:pt x="202" y="84"/>
                    <a:pt x="202" y="84"/>
                  </a:cubicBezTo>
                  <a:cubicBezTo>
                    <a:pt x="204" y="85"/>
                    <a:pt x="203" y="84"/>
                    <a:pt x="202" y="84"/>
                  </a:cubicBezTo>
                  <a:cubicBezTo>
                    <a:pt x="202" y="84"/>
                    <a:pt x="202" y="83"/>
                    <a:pt x="201" y="83"/>
                  </a:cubicBezTo>
                  <a:cubicBezTo>
                    <a:pt x="201" y="82"/>
                    <a:pt x="200" y="82"/>
                    <a:pt x="200" y="81"/>
                  </a:cubicBezTo>
                  <a:cubicBezTo>
                    <a:pt x="199" y="80"/>
                    <a:pt x="198" y="80"/>
                    <a:pt x="200" y="79"/>
                  </a:cubicBezTo>
                  <a:cubicBezTo>
                    <a:pt x="201" y="79"/>
                    <a:pt x="201" y="79"/>
                    <a:pt x="202" y="78"/>
                  </a:cubicBezTo>
                  <a:cubicBezTo>
                    <a:pt x="203" y="78"/>
                    <a:pt x="204" y="78"/>
                    <a:pt x="204" y="78"/>
                  </a:cubicBezTo>
                  <a:cubicBezTo>
                    <a:pt x="205" y="78"/>
                    <a:pt x="205" y="77"/>
                    <a:pt x="206" y="77"/>
                  </a:cubicBezTo>
                  <a:cubicBezTo>
                    <a:pt x="206" y="77"/>
                    <a:pt x="206" y="77"/>
                    <a:pt x="207" y="76"/>
                  </a:cubicBezTo>
                  <a:cubicBezTo>
                    <a:pt x="208" y="76"/>
                    <a:pt x="209" y="76"/>
                    <a:pt x="211" y="76"/>
                  </a:cubicBezTo>
                  <a:cubicBezTo>
                    <a:pt x="211" y="76"/>
                    <a:pt x="213" y="76"/>
                    <a:pt x="212" y="75"/>
                  </a:cubicBezTo>
                  <a:cubicBezTo>
                    <a:pt x="212" y="75"/>
                    <a:pt x="210" y="75"/>
                    <a:pt x="209" y="75"/>
                  </a:cubicBezTo>
                  <a:cubicBezTo>
                    <a:pt x="209" y="75"/>
                    <a:pt x="208" y="75"/>
                    <a:pt x="207" y="75"/>
                  </a:cubicBezTo>
                  <a:cubicBezTo>
                    <a:pt x="206" y="75"/>
                    <a:pt x="208" y="73"/>
                    <a:pt x="209" y="72"/>
                  </a:cubicBezTo>
                  <a:cubicBezTo>
                    <a:pt x="209" y="72"/>
                    <a:pt x="210" y="72"/>
                    <a:pt x="210" y="71"/>
                  </a:cubicBezTo>
                  <a:cubicBezTo>
                    <a:pt x="210" y="71"/>
                    <a:pt x="210" y="71"/>
                    <a:pt x="210" y="71"/>
                  </a:cubicBezTo>
                  <a:cubicBezTo>
                    <a:pt x="209" y="71"/>
                    <a:pt x="208" y="72"/>
                    <a:pt x="207" y="72"/>
                  </a:cubicBezTo>
                  <a:cubicBezTo>
                    <a:pt x="206" y="73"/>
                    <a:pt x="206" y="73"/>
                    <a:pt x="206" y="74"/>
                  </a:cubicBezTo>
                  <a:cubicBezTo>
                    <a:pt x="206" y="75"/>
                    <a:pt x="206" y="75"/>
                    <a:pt x="206" y="75"/>
                  </a:cubicBezTo>
                  <a:cubicBezTo>
                    <a:pt x="205" y="76"/>
                    <a:pt x="205" y="76"/>
                    <a:pt x="205" y="76"/>
                  </a:cubicBezTo>
                  <a:cubicBezTo>
                    <a:pt x="204" y="77"/>
                    <a:pt x="202" y="77"/>
                    <a:pt x="201" y="77"/>
                  </a:cubicBezTo>
                  <a:cubicBezTo>
                    <a:pt x="200" y="78"/>
                    <a:pt x="199" y="78"/>
                    <a:pt x="199" y="78"/>
                  </a:cubicBezTo>
                  <a:cubicBezTo>
                    <a:pt x="198" y="78"/>
                    <a:pt x="199" y="77"/>
                    <a:pt x="198" y="77"/>
                  </a:cubicBezTo>
                  <a:cubicBezTo>
                    <a:pt x="198" y="76"/>
                    <a:pt x="196" y="78"/>
                    <a:pt x="196" y="78"/>
                  </a:cubicBezTo>
                  <a:cubicBezTo>
                    <a:pt x="196" y="78"/>
                    <a:pt x="193" y="79"/>
                    <a:pt x="193" y="78"/>
                  </a:cubicBezTo>
                  <a:cubicBezTo>
                    <a:pt x="192" y="78"/>
                    <a:pt x="193" y="77"/>
                    <a:pt x="193" y="77"/>
                  </a:cubicBezTo>
                  <a:cubicBezTo>
                    <a:pt x="193" y="76"/>
                    <a:pt x="193" y="76"/>
                    <a:pt x="194" y="76"/>
                  </a:cubicBezTo>
                  <a:cubicBezTo>
                    <a:pt x="195" y="75"/>
                    <a:pt x="197" y="75"/>
                    <a:pt x="198" y="74"/>
                  </a:cubicBezTo>
                  <a:cubicBezTo>
                    <a:pt x="200" y="74"/>
                    <a:pt x="198" y="74"/>
                    <a:pt x="197" y="74"/>
                  </a:cubicBezTo>
                  <a:cubicBezTo>
                    <a:pt x="195" y="74"/>
                    <a:pt x="194" y="75"/>
                    <a:pt x="192" y="75"/>
                  </a:cubicBezTo>
                  <a:cubicBezTo>
                    <a:pt x="192" y="76"/>
                    <a:pt x="191" y="76"/>
                    <a:pt x="191" y="77"/>
                  </a:cubicBezTo>
                  <a:cubicBezTo>
                    <a:pt x="190" y="77"/>
                    <a:pt x="188" y="76"/>
                    <a:pt x="187" y="76"/>
                  </a:cubicBezTo>
                  <a:cubicBezTo>
                    <a:pt x="186" y="76"/>
                    <a:pt x="186" y="76"/>
                    <a:pt x="188" y="75"/>
                  </a:cubicBezTo>
                  <a:cubicBezTo>
                    <a:pt x="189" y="75"/>
                    <a:pt x="191" y="75"/>
                    <a:pt x="192" y="75"/>
                  </a:cubicBezTo>
                  <a:cubicBezTo>
                    <a:pt x="193" y="74"/>
                    <a:pt x="194" y="73"/>
                    <a:pt x="195" y="73"/>
                  </a:cubicBezTo>
                  <a:cubicBezTo>
                    <a:pt x="196" y="73"/>
                    <a:pt x="196" y="73"/>
                    <a:pt x="195" y="73"/>
                  </a:cubicBezTo>
                  <a:cubicBezTo>
                    <a:pt x="195" y="73"/>
                    <a:pt x="194" y="73"/>
                    <a:pt x="194" y="73"/>
                  </a:cubicBezTo>
                  <a:cubicBezTo>
                    <a:pt x="193" y="73"/>
                    <a:pt x="192" y="74"/>
                    <a:pt x="192" y="74"/>
                  </a:cubicBezTo>
                  <a:cubicBezTo>
                    <a:pt x="191" y="74"/>
                    <a:pt x="190" y="74"/>
                    <a:pt x="189" y="75"/>
                  </a:cubicBezTo>
                  <a:cubicBezTo>
                    <a:pt x="188" y="75"/>
                    <a:pt x="187" y="75"/>
                    <a:pt x="186" y="75"/>
                  </a:cubicBezTo>
                  <a:cubicBezTo>
                    <a:pt x="185" y="75"/>
                    <a:pt x="184" y="75"/>
                    <a:pt x="185" y="74"/>
                  </a:cubicBezTo>
                  <a:cubicBezTo>
                    <a:pt x="185" y="74"/>
                    <a:pt x="185" y="74"/>
                    <a:pt x="186" y="73"/>
                  </a:cubicBezTo>
                  <a:cubicBezTo>
                    <a:pt x="186" y="73"/>
                    <a:pt x="186" y="73"/>
                    <a:pt x="186" y="73"/>
                  </a:cubicBezTo>
                  <a:cubicBezTo>
                    <a:pt x="186" y="73"/>
                    <a:pt x="186" y="73"/>
                    <a:pt x="186" y="73"/>
                  </a:cubicBezTo>
                  <a:cubicBezTo>
                    <a:pt x="186" y="72"/>
                    <a:pt x="186" y="72"/>
                    <a:pt x="186" y="72"/>
                  </a:cubicBezTo>
                  <a:cubicBezTo>
                    <a:pt x="187" y="72"/>
                    <a:pt x="188" y="71"/>
                    <a:pt x="189" y="71"/>
                  </a:cubicBezTo>
                  <a:cubicBezTo>
                    <a:pt x="188" y="71"/>
                    <a:pt x="187" y="71"/>
                    <a:pt x="186" y="71"/>
                  </a:cubicBezTo>
                  <a:cubicBezTo>
                    <a:pt x="186" y="72"/>
                    <a:pt x="185" y="72"/>
                    <a:pt x="185" y="72"/>
                  </a:cubicBezTo>
                  <a:cubicBezTo>
                    <a:pt x="184" y="72"/>
                    <a:pt x="184" y="71"/>
                    <a:pt x="184" y="71"/>
                  </a:cubicBezTo>
                  <a:cubicBezTo>
                    <a:pt x="185" y="71"/>
                    <a:pt x="186" y="70"/>
                    <a:pt x="185" y="70"/>
                  </a:cubicBezTo>
                  <a:cubicBezTo>
                    <a:pt x="184" y="70"/>
                    <a:pt x="183" y="71"/>
                    <a:pt x="182" y="71"/>
                  </a:cubicBezTo>
                  <a:cubicBezTo>
                    <a:pt x="182" y="71"/>
                    <a:pt x="182" y="70"/>
                    <a:pt x="182" y="70"/>
                  </a:cubicBezTo>
                  <a:cubicBezTo>
                    <a:pt x="182" y="70"/>
                    <a:pt x="183" y="69"/>
                    <a:pt x="183" y="69"/>
                  </a:cubicBezTo>
                  <a:cubicBezTo>
                    <a:pt x="183" y="69"/>
                    <a:pt x="184" y="68"/>
                    <a:pt x="185" y="68"/>
                  </a:cubicBezTo>
                  <a:cubicBezTo>
                    <a:pt x="186" y="69"/>
                    <a:pt x="186" y="68"/>
                    <a:pt x="186" y="68"/>
                  </a:cubicBezTo>
                  <a:cubicBezTo>
                    <a:pt x="186" y="67"/>
                    <a:pt x="187" y="67"/>
                    <a:pt x="188" y="67"/>
                  </a:cubicBezTo>
                  <a:cubicBezTo>
                    <a:pt x="188" y="67"/>
                    <a:pt x="189" y="66"/>
                    <a:pt x="189" y="66"/>
                  </a:cubicBezTo>
                  <a:cubicBezTo>
                    <a:pt x="190" y="66"/>
                    <a:pt x="190" y="67"/>
                    <a:pt x="190" y="67"/>
                  </a:cubicBezTo>
                  <a:cubicBezTo>
                    <a:pt x="191" y="67"/>
                    <a:pt x="191" y="67"/>
                    <a:pt x="192" y="67"/>
                  </a:cubicBezTo>
                  <a:cubicBezTo>
                    <a:pt x="192" y="67"/>
                    <a:pt x="192" y="67"/>
                    <a:pt x="192" y="67"/>
                  </a:cubicBezTo>
                  <a:cubicBezTo>
                    <a:pt x="193" y="67"/>
                    <a:pt x="194" y="67"/>
                    <a:pt x="193" y="67"/>
                  </a:cubicBezTo>
                  <a:cubicBezTo>
                    <a:pt x="193" y="66"/>
                    <a:pt x="191" y="66"/>
                    <a:pt x="192" y="65"/>
                  </a:cubicBezTo>
                  <a:cubicBezTo>
                    <a:pt x="192" y="65"/>
                    <a:pt x="192" y="65"/>
                    <a:pt x="192" y="65"/>
                  </a:cubicBezTo>
                  <a:cubicBezTo>
                    <a:pt x="193" y="65"/>
                    <a:pt x="193" y="65"/>
                    <a:pt x="193" y="65"/>
                  </a:cubicBezTo>
                  <a:cubicBezTo>
                    <a:pt x="192" y="64"/>
                    <a:pt x="191" y="64"/>
                    <a:pt x="193" y="63"/>
                  </a:cubicBezTo>
                  <a:cubicBezTo>
                    <a:pt x="193" y="63"/>
                    <a:pt x="194" y="63"/>
                    <a:pt x="195" y="64"/>
                  </a:cubicBezTo>
                  <a:cubicBezTo>
                    <a:pt x="195" y="64"/>
                    <a:pt x="196" y="64"/>
                    <a:pt x="196" y="64"/>
                  </a:cubicBezTo>
                  <a:cubicBezTo>
                    <a:pt x="196" y="65"/>
                    <a:pt x="197" y="65"/>
                    <a:pt x="197" y="65"/>
                  </a:cubicBezTo>
                  <a:cubicBezTo>
                    <a:pt x="198" y="65"/>
                    <a:pt x="198" y="65"/>
                    <a:pt x="198" y="65"/>
                  </a:cubicBezTo>
                  <a:cubicBezTo>
                    <a:pt x="199" y="65"/>
                    <a:pt x="199" y="65"/>
                    <a:pt x="199" y="66"/>
                  </a:cubicBezTo>
                  <a:cubicBezTo>
                    <a:pt x="200" y="66"/>
                    <a:pt x="201" y="66"/>
                    <a:pt x="202" y="66"/>
                  </a:cubicBezTo>
                  <a:cubicBezTo>
                    <a:pt x="203" y="66"/>
                    <a:pt x="202" y="66"/>
                    <a:pt x="201" y="66"/>
                  </a:cubicBezTo>
                  <a:cubicBezTo>
                    <a:pt x="201" y="65"/>
                    <a:pt x="200" y="65"/>
                    <a:pt x="200" y="65"/>
                  </a:cubicBezTo>
                  <a:cubicBezTo>
                    <a:pt x="199" y="65"/>
                    <a:pt x="199" y="64"/>
                    <a:pt x="199" y="63"/>
                  </a:cubicBezTo>
                  <a:cubicBezTo>
                    <a:pt x="199" y="63"/>
                    <a:pt x="199" y="63"/>
                    <a:pt x="199" y="63"/>
                  </a:cubicBezTo>
                  <a:cubicBezTo>
                    <a:pt x="199" y="62"/>
                    <a:pt x="199" y="62"/>
                    <a:pt x="199" y="62"/>
                  </a:cubicBezTo>
                  <a:cubicBezTo>
                    <a:pt x="199" y="62"/>
                    <a:pt x="199" y="62"/>
                    <a:pt x="200" y="62"/>
                  </a:cubicBezTo>
                  <a:cubicBezTo>
                    <a:pt x="200" y="62"/>
                    <a:pt x="201" y="63"/>
                    <a:pt x="202" y="63"/>
                  </a:cubicBezTo>
                  <a:cubicBezTo>
                    <a:pt x="202" y="63"/>
                    <a:pt x="201" y="61"/>
                    <a:pt x="201" y="61"/>
                  </a:cubicBezTo>
                  <a:cubicBezTo>
                    <a:pt x="201" y="61"/>
                    <a:pt x="200" y="60"/>
                    <a:pt x="202" y="60"/>
                  </a:cubicBezTo>
                  <a:cubicBezTo>
                    <a:pt x="202" y="60"/>
                    <a:pt x="203" y="61"/>
                    <a:pt x="203" y="61"/>
                  </a:cubicBezTo>
                  <a:cubicBezTo>
                    <a:pt x="203" y="60"/>
                    <a:pt x="202" y="60"/>
                    <a:pt x="203" y="60"/>
                  </a:cubicBezTo>
                  <a:cubicBezTo>
                    <a:pt x="203" y="59"/>
                    <a:pt x="204" y="59"/>
                    <a:pt x="205" y="59"/>
                  </a:cubicBezTo>
                  <a:cubicBezTo>
                    <a:pt x="206" y="60"/>
                    <a:pt x="206" y="60"/>
                    <a:pt x="207" y="60"/>
                  </a:cubicBezTo>
                  <a:cubicBezTo>
                    <a:pt x="207" y="60"/>
                    <a:pt x="207" y="60"/>
                    <a:pt x="208" y="60"/>
                  </a:cubicBezTo>
                  <a:cubicBezTo>
                    <a:pt x="208" y="60"/>
                    <a:pt x="208" y="60"/>
                    <a:pt x="208" y="60"/>
                  </a:cubicBezTo>
                  <a:cubicBezTo>
                    <a:pt x="209" y="60"/>
                    <a:pt x="209" y="60"/>
                    <a:pt x="209" y="60"/>
                  </a:cubicBezTo>
                  <a:cubicBezTo>
                    <a:pt x="210" y="61"/>
                    <a:pt x="211" y="62"/>
                    <a:pt x="211" y="62"/>
                  </a:cubicBezTo>
                  <a:cubicBezTo>
                    <a:pt x="212" y="63"/>
                    <a:pt x="212" y="63"/>
                    <a:pt x="212" y="63"/>
                  </a:cubicBezTo>
                  <a:cubicBezTo>
                    <a:pt x="213" y="63"/>
                    <a:pt x="212" y="63"/>
                    <a:pt x="212" y="62"/>
                  </a:cubicBezTo>
                  <a:cubicBezTo>
                    <a:pt x="212" y="62"/>
                    <a:pt x="212" y="62"/>
                    <a:pt x="212" y="61"/>
                  </a:cubicBezTo>
                  <a:cubicBezTo>
                    <a:pt x="211" y="61"/>
                    <a:pt x="211" y="61"/>
                    <a:pt x="210" y="61"/>
                  </a:cubicBezTo>
                  <a:cubicBezTo>
                    <a:pt x="209" y="60"/>
                    <a:pt x="209" y="60"/>
                    <a:pt x="209" y="60"/>
                  </a:cubicBezTo>
                  <a:cubicBezTo>
                    <a:pt x="209" y="60"/>
                    <a:pt x="208" y="59"/>
                    <a:pt x="208" y="59"/>
                  </a:cubicBezTo>
                  <a:cubicBezTo>
                    <a:pt x="209" y="59"/>
                    <a:pt x="209" y="59"/>
                    <a:pt x="210" y="59"/>
                  </a:cubicBezTo>
                  <a:cubicBezTo>
                    <a:pt x="210" y="59"/>
                    <a:pt x="211" y="59"/>
                    <a:pt x="212" y="59"/>
                  </a:cubicBezTo>
                  <a:cubicBezTo>
                    <a:pt x="213" y="59"/>
                    <a:pt x="214" y="59"/>
                    <a:pt x="215" y="60"/>
                  </a:cubicBezTo>
                  <a:cubicBezTo>
                    <a:pt x="215" y="60"/>
                    <a:pt x="217" y="61"/>
                    <a:pt x="217" y="61"/>
                  </a:cubicBezTo>
                  <a:cubicBezTo>
                    <a:pt x="216" y="60"/>
                    <a:pt x="216" y="60"/>
                    <a:pt x="216" y="60"/>
                  </a:cubicBezTo>
                  <a:cubicBezTo>
                    <a:pt x="216" y="59"/>
                    <a:pt x="216" y="59"/>
                    <a:pt x="217" y="59"/>
                  </a:cubicBezTo>
                  <a:cubicBezTo>
                    <a:pt x="218" y="58"/>
                    <a:pt x="219" y="58"/>
                    <a:pt x="219" y="59"/>
                  </a:cubicBezTo>
                  <a:cubicBezTo>
                    <a:pt x="219" y="59"/>
                    <a:pt x="220" y="59"/>
                    <a:pt x="220" y="59"/>
                  </a:cubicBezTo>
                  <a:cubicBezTo>
                    <a:pt x="220" y="59"/>
                    <a:pt x="220" y="58"/>
                    <a:pt x="220" y="58"/>
                  </a:cubicBezTo>
                  <a:cubicBezTo>
                    <a:pt x="220" y="58"/>
                    <a:pt x="222" y="59"/>
                    <a:pt x="223" y="59"/>
                  </a:cubicBezTo>
                  <a:cubicBezTo>
                    <a:pt x="223" y="59"/>
                    <a:pt x="224" y="59"/>
                    <a:pt x="225" y="59"/>
                  </a:cubicBezTo>
                  <a:cubicBezTo>
                    <a:pt x="226" y="59"/>
                    <a:pt x="226" y="60"/>
                    <a:pt x="227" y="60"/>
                  </a:cubicBezTo>
                  <a:cubicBezTo>
                    <a:pt x="228" y="60"/>
                    <a:pt x="229" y="60"/>
                    <a:pt x="229" y="60"/>
                  </a:cubicBezTo>
                  <a:cubicBezTo>
                    <a:pt x="230" y="61"/>
                    <a:pt x="229" y="61"/>
                    <a:pt x="228" y="62"/>
                  </a:cubicBezTo>
                  <a:cubicBezTo>
                    <a:pt x="228" y="62"/>
                    <a:pt x="228" y="62"/>
                    <a:pt x="227" y="62"/>
                  </a:cubicBezTo>
                  <a:cubicBezTo>
                    <a:pt x="227" y="62"/>
                    <a:pt x="227" y="62"/>
                    <a:pt x="227" y="62"/>
                  </a:cubicBezTo>
                  <a:cubicBezTo>
                    <a:pt x="227" y="63"/>
                    <a:pt x="228" y="62"/>
                    <a:pt x="228" y="62"/>
                  </a:cubicBezTo>
                  <a:cubicBezTo>
                    <a:pt x="229" y="62"/>
                    <a:pt x="228" y="62"/>
                    <a:pt x="229" y="62"/>
                  </a:cubicBezTo>
                  <a:cubicBezTo>
                    <a:pt x="229" y="62"/>
                    <a:pt x="230" y="62"/>
                    <a:pt x="230" y="62"/>
                  </a:cubicBezTo>
                  <a:cubicBezTo>
                    <a:pt x="231" y="61"/>
                    <a:pt x="231" y="61"/>
                    <a:pt x="232" y="62"/>
                  </a:cubicBezTo>
                  <a:cubicBezTo>
                    <a:pt x="233" y="62"/>
                    <a:pt x="232" y="61"/>
                    <a:pt x="232" y="61"/>
                  </a:cubicBezTo>
                  <a:cubicBezTo>
                    <a:pt x="232" y="60"/>
                    <a:pt x="234" y="61"/>
                    <a:pt x="234" y="61"/>
                  </a:cubicBezTo>
                  <a:cubicBezTo>
                    <a:pt x="234" y="61"/>
                    <a:pt x="234" y="62"/>
                    <a:pt x="235" y="62"/>
                  </a:cubicBezTo>
                  <a:cubicBezTo>
                    <a:pt x="235" y="61"/>
                    <a:pt x="235" y="61"/>
                    <a:pt x="236" y="61"/>
                  </a:cubicBezTo>
                  <a:cubicBezTo>
                    <a:pt x="237" y="62"/>
                    <a:pt x="235" y="62"/>
                    <a:pt x="236" y="62"/>
                  </a:cubicBezTo>
                  <a:cubicBezTo>
                    <a:pt x="237" y="63"/>
                    <a:pt x="237" y="63"/>
                    <a:pt x="237" y="64"/>
                  </a:cubicBezTo>
                  <a:cubicBezTo>
                    <a:pt x="237" y="64"/>
                    <a:pt x="237" y="64"/>
                    <a:pt x="238" y="64"/>
                  </a:cubicBezTo>
                  <a:cubicBezTo>
                    <a:pt x="238" y="65"/>
                    <a:pt x="239" y="65"/>
                    <a:pt x="239" y="65"/>
                  </a:cubicBezTo>
                  <a:cubicBezTo>
                    <a:pt x="240" y="65"/>
                    <a:pt x="240" y="65"/>
                    <a:pt x="241" y="65"/>
                  </a:cubicBezTo>
                  <a:cubicBezTo>
                    <a:pt x="241" y="65"/>
                    <a:pt x="242" y="65"/>
                    <a:pt x="242" y="66"/>
                  </a:cubicBezTo>
                  <a:cubicBezTo>
                    <a:pt x="242" y="66"/>
                    <a:pt x="243" y="67"/>
                    <a:pt x="242" y="67"/>
                  </a:cubicBezTo>
                  <a:cubicBezTo>
                    <a:pt x="242" y="67"/>
                    <a:pt x="242" y="67"/>
                    <a:pt x="241" y="68"/>
                  </a:cubicBezTo>
                  <a:cubicBezTo>
                    <a:pt x="241" y="68"/>
                    <a:pt x="241" y="68"/>
                    <a:pt x="241" y="68"/>
                  </a:cubicBezTo>
                  <a:cubicBezTo>
                    <a:pt x="240" y="68"/>
                    <a:pt x="240" y="68"/>
                    <a:pt x="240" y="68"/>
                  </a:cubicBezTo>
                  <a:cubicBezTo>
                    <a:pt x="240" y="68"/>
                    <a:pt x="239" y="69"/>
                    <a:pt x="239" y="69"/>
                  </a:cubicBezTo>
                  <a:cubicBezTo>
                    <a:pt x="239" y="69"/>
                    <a:pt x="238" y="69"/>
                    <a:pt x="238" y="69"/>
                  </a:cubicBezTo>
                  <a:cubicBezTo>
                    <a:pt x="237" y="69"/>
                    <a:pt x="237" y="70"/>
                    <a:pt x="236" y="70"/>
                  </a:cubicBezTo>
                  <a:cubicBezTo>
                    <a:pt x="236" y="70"/>
                    <a:pt x="235" y="70"/>
                    <a:pt x="235" y="70"/>
                  </a:cubicBezTo>
                  <a:cubicBezTo>
                    <a:pt x="235" y="70"/>
                    <a:pt x="235" y="70"/>
                    <a:pt x="235" y="71"/>
                  </a:cubicBezTo>
                  <a:cubicBezTo>
                    <a:pt x="234" y="71"/>
                    <a:pt x="233" y="71"/>
                    <a:pt x="233" y="71"/>
                  </a:cubicBezTo>
                  <a:cubicBezTo>
                    <a:pt x="232" y="71"/>
                    <a:pt x="231" y="71"/>
                    <a:pt x="230" y="71"/>
                  </a:cubicBezTo>
                  <a:cubicBezTo>
                    <a:pt x="230" y="71"/>
                    <a:pt x="228" y="71"/>
                    <a:pt x="228" y="71"/>
                  </a:cubicBezTo>
                  <a:cubicBezTo>
                    <a:pt x="229" y="71"/>
                    <a:pt x="229" y="71"/>
                    <a:pt x="229" y="71"/>
                  </a:cubicBezTo>
                  <a:cubicBezTo>
                    <a:pt x="230" y="71"/>
                    <a:pt x="231" y="71"/>
                    <a:pt x="231" y="72"/>
                  </a:cubicBezTo>
                  <a:cubicBezTo>
                    <a:pt x="231" y="72"/>
                    <a:pt x="230" y="72"/>
                    <a:pt x="230" y="72"/>
                  </a:cubicBezTo>
                  <a:cubicBezTo>
                    <a:pt x="230" y="73"/>
                    <a:pt x="230" y="73"/>
                    <a:pt x="230" y="73"/>
                  </a:cubicBezTo>
                  <a:cubicBezTo>
                    <a:pt x="232" y="73"/>
                    <a:pt x="233" y="73"/>
                    <a:pt x="234" y="72"/>
                  </a:cubicBezTo>
                  <a:cubicBezTo>
                    <a:pt x="234" y="72"/>
                    <a:pt x="235" y="71"/>
                    <a:pt x="236" y="71"/>
                  </a:cubicBezTo>
                  <a:cubicBezTo>
                    <a:pt x="237" y="72"/>
                    <a:pt x="237" y="72"/>
                    <a:pt x="237" y="72"/>
                  </a:cubicBezTo>
                  <a:cubicBezTo>
                    <a:pt x="236" y="73"/>
                    <a:pt x="236" y="73"/>
                    <a:pt x="235" y="73"/>
                  </a:cubicBezTo>
                  <a:cubicBezTo>
                    <a:pt x="233" y="74"/>
                    <a:pt x="232" y="75"/>
                    <a:pt x="232" y="76"/>
                  </a:cubicBezTo>
                  <a:cubicBezTo>
                    <a:pt x="231" y="76"/>
                    <a:pt x="229" y="77"/>
                    <a:pt x="228" y="77"/>
                  </a:cubicBezTo>
                  <a:cubicBezTo>
                    <a:pt x="228" y="78"/>
                    <a:pt x="227" y="78"/>
                    <a:pt x="227" y="79"/>
                  </a:cubicBezTo>
                  <a:cubicBezTo>
                    <a:pt x="227" y="79"/>
                    <a:pt x="227" y="80"/>
                    <a:pt x="227" y="80"/>
                  </a:cubicBezTo>
                  <a:cubicBezTo>
                    <a:pt x="226" y="80"/>
                    <a:pt x="226" y="79"/>
                    <a:pt x="226" y="79"/>
                  </a:cubicBezTo>
                  <a:cubicBezTo>
                    <a:pt x="226" y="79"/>
                    <a:pt x="225" y="79"/>
                    <a:pt x="225" y="80"/>
                  </a:cubicBezTo>
                  <a:cubicBezTo>
                    <a:pt x="225" y="80"/>
                    <a:pt x="226" y="80"/>
                    <a:pt x="226" y="80"/>
                  </a:cubicBezTo>
                  <a:cubicBezTo>
                    <a:pt x="227" y="81"/>
                    <a:pt x="226" y="81"/>
                    <a:pt x="226" y="81"/>
                  </a:cubicBezTo>
                  <a:cubicBezTo>
                    <a:pt x="225" y="82"/>
                    <a:pt x="226" y="82"/>
                    <a:pt x="225" y="82"/>
                  </a:cubicBezTo>
                  <a:cubicBezTo>
                    <a:pt x="225" y="82"/>
                    <a:pt x="224" y="83"/>
                    <a:pt x="224" y="83"/>
                  </a:cubicBezTo>
                  <a:cubicBezTo>
                    <a:pt x="223" y="83"/>
                    <a:pt x="223" y="83"/>
                    <a:pt x="223" y="84"/>
                  </a:cubicBezTo>
                  <a:cubicBezTo>
                    <a:pt x="223" y="84"/>
                    <a:pt x="223" y="84"/>
                    <a:pt x="223" y="84"/>
                  </a:cubicBezTo>
                  <a:cubicBezTo>
                    <a:pt x="222" y="84"/>
                    <a:pt x="222" y="84"/>
                    <a:pt x="221" y="84"/>
                  </a:cubicBezTo>
                  <a:cubicBezTo>
                    <a:pt x="221" y="85"/>
                    <a:pt x="220" y="85"/>
                    <a:pt x="220" y="85"/>
                  </a:cubicBezTo>
                  <a:cubicBezTo>
                    <a:pt x="219" y="85"/>
                    <a:pt x="218" y="86"/>
                    <a:pt x="217" y="86"/>
                  </a:cubicBezTo>
                  <a:cubicBezTo>
                    <a:pt x="215" y="85"/>
                    <a:pt x="216" y="87"/>
                    <a:pt x="214" y="87"/>
                  </a:cubicBezTo>
                  <a:cubicBezTo>
                    <a:pt x="213" y="87"/>
                    <a:pt x="213" y="86"/>
                    <a:pt x="212" y="87"/>
                  </a:cubicBezTo>
                  <a:cubicBezTo>
                    <a:pt x="212" y="87"/>
                    <a:pt x="212" y="87"/>
                    <a:pt x="213" y="87"/>
                  </a:cubicBezTo>
                  <a:cubicBezTo>
                    <a:pt x="214" y="87"/>
                    <a:pt x="215" y="87"/>
                    <a:pt x="216" y="87"/>
                  </a:cubicBezTo>
                  <a:cubicBezTo>
                    <a:pt x="218" y="87"/>
                    <a:pt x="218" y="89"/>
                    <a:pt x="216" y="89"/>
                  </a:cubicBezTo>
                  <a:cubicBezTo>
                    <a:pt x="216" y="89"/>
                    <a:pt x="215" y="88"/>
                    <a:pt x="215" y="88"/>
                  </a:cubicBezTo>
                  <a:cubicBezTo>
                    <a:pt x="214" y="88"/>
                    <a:pt x="214" y="89"/>
                    <a:pt x="215" y="89"/>
                  </a:cubicBezTo>
                  <a:cubicBezTo>
                    <a:pt x="216" y="89"/>
                    <a:pt x="216" y="89"/>
                    <a:pt x="216" y="90"/>
                  </a:cubicBezTo>
                  <a:cubicBezTo>
                    <a:pt x="217" y="90"/>
                    <a:pt x="217" y="90"/>
                    <a:pt x="217" y="91"/>
                  </a:cubicBezTo>
                  <a:cubicBezTo>
                    <a:pt x="217" y="91"/>
                    <a:pt x="217" y="93"/>
                    <a:pt x="216" y="93"/>
                  </a:cubicBezTo>
                  <a:cubicBezTo>
                    <a:pt x="216" y="93"/>
                    <a:pt x="218" y="93"/>
                    <a:pt x="217" y="94"/>
                  </a:cubicBezTo>
                  <a:cubicBezTo>
                    <a:pt x="217" y="94"/>
                    <a:pt x="216" y="94"/>
                    <a:pt x="216" y="95"/>
                  </a:cubicBezTo>
                  <a:cubicBezTo>
                    <a:pt x="216" y="95"/>
                    <a:pt x="216" y="95"/>
                    <a:pt x="216" y="95"/>
                  </a:cubicBezTo>
                  <a:cubicBezTo>
                    <a:pt x="215" y="96"/>
                    <a:pt x="214" y="96"/>
                    <a:pt x="213" y="96"/>
                  </a:cubicBezTo>
                  <a:cubicBezTo>
                    <a:pt x="213" y="96"/>
                    <a:pt x="212" y="96"/>
                    <a:pt x="211" y="96"/>
                  </a:cubicBezTo>
                  <a:cubicBezTo>
                    <a:pt x="211" y="96"/>
                    <a:pt x="210" y="96"/>
                    <a:pt x="209" y="96"/>
                  </a:cubicBezTo>
                  <a:cubicBezTo>
                    <a:pt x="209" y="97"/>
                    <a:pt x="209" y="97"/>
                    <a:pt x="210" y="98"/>
                  </a:cubicBezTo>
                  <a:cubicBezTo>
                    <a:pt x="211" y="98"/>
                    <a:pt x="211" y="99"/>
                    <a:pt x="210" y="100"/>
                  </a:cubicBezTo>
                  <a:cubicBezTo>
                    <a:pt x="209" y="101"/>
                    <a:pt x="208" y="101"/>
                    <a:pt x="206" y="101"/>
                  </a:cubicBezTo>
                  <a:cubicBezTo>
                    <a:pt x="205" y="101"/>
                    <a:pt x="204" y="101"/>
                    <a:pt x="203" y="101"/>
                  </a:cubicBezTo>
                  <a:cubicBezTo>
                    <a:pt x="202" y="101"/>
                    <a:pt x="202" y="101"/>
                    <a:pt x="202" y="101"/>
                  </a:cubicBezTo>
                  <a:cubicBezTo>
                    <a:pt x="202" y="102"/>
                    <a:pt x="203" y="102"/>
                    <a:pt x="203" y="101"/>
                  </a:cubicBezTo>
                  <a:cubicBezTo>
                    <a:pt x="205" y="101"/>
                    <a:pt x="207" y="101"/>
                    <a:pt x="208" y="102"/>
                  </a:cubicBezTo>
                  <a:cubicBezTo>
                    <a:pt x="209" y="102"/>
                    <a:pt x="208" y="104"/>
                    <a:pt x="209" y="104"/>
                  </a:cubicBezTo>
                  <a:cubicBezTo>
                    <a:pt x="209" y="105"/>
                    <a:pt x="209" y="103"/>
                    <a:pt x="209" y="103"/>
                  </a:cubicBezTo>
                  <a:cubicBezTo>
                    <a:pt x="210" y="103"/>
                    <a:pt x="210" y="103"/>
                    <a:pt x="211" y="103"/>
                  </a:cubicBezTo>
                  <a:cubicBezTo>
                    <a:pt x="212" y="103"/>
                    <a:pt x="212" y="105"/>
                    <a:pt x="212" y="106"/>
                  </a:cubicBezTo>
                  <a:cubicBezTo>
                    <a:pt x="211" y="106"/>
                    <a:pt x="208" y="106"/>
                    <a:pt x="207" y="107"/>
                  </a:cubicBezTo>
                  <a:cubicBezTo>
                    <a:pt x="207" y="108"/>
                    <a:pt x="205" y="109"/>
                    <a:pt x="204" y="109"/>
                  </a:cubicBezTo>
                  <a:cubicBezTo>
                    <a:pt x="203" y="109"/>
                    <a:pt x="205" y="107"/>
                    <a:pt x="204" y="107"/>
                  </a:cubicBezTo>
                  <a:cubicBezTo>
                    <a:pt x="203" y="107"/>
                    <a:pt x="202" y="107"/>
                    <a:pt x="202" y="106"/>
                  </a:cubicBezTo>
                  <a:cubicBezTo>
                    <a:pt x="202" y="106"/>
                    <a:pt x="201" y="106"/>
                    <a:pt x="201" y="106"/>
                  </a:cubicBezTo>
                  <a:cubicBezTo>
                    <a:pt x="200" y="107"/>
                    <a:pt x="199" y="106"/>
                    <a:pt x="198" y="107"/>
                  </a:cubicBezTo>
                  <a:cubicBezTo>
                    <a:pt x="198" y="108"/>
                    <a:pt x="196" y="107"/>
                    <a:pt x="197" y="106"/>
                  </a:cubicBezTo>
                  <a:cubicBezTo>
                    <a:pt x="196" y="106"/>
                    <a:pt x="196" y="106"/>
                    <a:pt x="196" y="106"/>
                  </a:cubicBezTo>
                  <a:cubicBezTo>
                    <a:pt x="195" y="107"/>
                    <a:pt x="195" y="107"/>
                    <a:pt x="195" y="108"/>
                  </a:cubicBezTo>
                  <a:cubicBezTo>
                    <a:pt x="195" y="109"/>
                    <a:pt x="193" y="108"/>
                    <a:pt x="192" y="108"/>
                  </a:cubicBezTo>
                  <a:cubicBezTo>
                    <a:pt x="192" y="108"/>
                    <a:pt x="191" y="107"/>
                    <a:pt x="190" y="107"/>
                  </a:cubicBezTo>
                  <a:cubicBezTo>
                    <a:pt x="189" y="107"/>
                    <a:pt x="189" y="108"/>
                    <a:pt x="188" y="108"/>
                  </a:cubicBezTo>
                  <a:cubicBezTo>
                    <a:pt x="187" y="108"/>
                    <a:pt x="187" y="106"/>
                    <a:pt x="185" y="107"/>
                  </a:cubicBezTo>
                  <a:cubicBezTo>
                    <a:pt x="184" y="108"/>
                    <a:pt x="184" y="109"/>
                    <a:pt x="183" y="109"/>
                  </a:cubicBezTo>
                  <a:cubicBezTo>
                    <a:pt x="182" y="110"/>
                    <a:pt x="182" y="109"/>
                    <a:pt x="181" y="110"/>
                  </a:cubicBezTo>
                  <a:cubicBezTo>
                    <a:pt x="180" y="111"/>
                    <a:pt x="180" y="111"/>
                    <a:pt x="182" y="111"/>
                  </a:cubicBezTo>
                  <a:cubicBezTo>
                    <a:pt x="182" y="112"/>
                    <a:pt x="185" y="112"/>
                    <a:pt x="184" y="113"/>
                  </a:cubicBezTo>
                  <a:cubicBezTo>
                    <a:pt x="183" y="113"/>
                    <a:pt x="183" y="113"/>
                    <a:pt x="184" y="113"/>
                  </a:cubicBezTo>
                  <a:cubicBezTo>
                    <a:pt x="185" y="113"/>
                    <a:pt x="185" y="114"/>
                    <a:pt x="186" y="114"/>
                  </a:cubicBezTo>
                  <a:cubicBezTo>
                    <a:pt x="186" y="114"/>
                    <a:pt x="187" y="113"/>
                    <a:pt x="188" y="113"/>
                  </a:cubicBezTo>
                  <a:cubicBezTo>
                    <a:pt x="188" y="113"/>
                    <a:pt x="189" y="113"/>
                    <a:pt x="189" y="113"/>
                  </a:cubicBezTo>
                  <a:cubicBezTo>
                    <a:pt x="190" y="114"/>
                    <a:pt x="190" y="114"/>
                    <a:pt x="191" y="114"/>
                  </a:cubicBezTo>
                  <a:cubicBezTo>
                    <a:pt x="192" y="114"/>
                    <a:pt x="192" y="114"/>
                    <a:pt x="193" y="113"/>
                  </a:cubicBezTo>
                  <a:cubicBezTo>
                    <a:pt x="194" y="113"/>
                    <a:pt x="196" y="112"/>
                    <a:pt x="197" y="111"/>
                  </a:cubicBezTo>
                  <a:cubicBezTo>
                    <a:pt x="199" y="111"/>
                    <a:pt x="200" y="111"/>
                    <a:pt x="202" y="112"/>
                  </a:cubicBezTo>
                  <a:cubicBezTo>
                    <a:pt x="203" y="112"/>
                    <a:pt x="205" y="112"/>
                    <a:pt x="206" y="112"/>
                  </a:cubicBezTo>
                  <a:cubicBezTo>
                    <a:pt x="206" y="113"/>
                    <a:pt x="207" y="114"/>
                    <a:pt x="207" y="114"/>
                  </a:cubicBezTo>
                  <a:cubicBezTo>
                    <a:pt x="206" y="115"/>
                    <a:pt x="206" y="115"/>
                    <a:pt x="206" y="116"/>
                  </a:cubicBezTo>
                  <a:cubicBezTo>
                    <a:pt x="206" y="116"/>
                    <a:pt x="207" y="116"/>
                    <a:pt x="207" y="116"/>
                  </a:cubicBezTo>
                  <a:cubicBezTo>
                    <a:pt x="207" y="117"/>
                    <a:pt x="208" y="117"/>
                    <a:pt x="208" y="117"/>
                  </a:cubicBezTo>
                  <a:cubicBezTo>
                    <a:pt x="208" y="119"/>
                    <a:pt x="206" y="119"/>
                    <a:pt x="204" y="119"/>
                  </a:cubicBezTo>
                  <a:cubicBezTo>
                    <a:pt x="203" y="120"/>
                    <a:pt x="201" y="120"/>
                    <a:pt x="199" y="119"/>
                  </a:cubicBezTo>
                  <a:cubicBezTo>
                    <a:pt x="199" y="119"/>
                    <a:pt x="199" y="118"/>
                    <a:pt x="199" y="119"/>
                  </a:cubicBezTo>
                  <a:cubicBezTo>
                    <a:pt x="199" y="120"/>
                    <a:pt x="197" y="120"/>
                    <a:pt x="196" y="120"/>
                  </a:cubicBezTo>
                  <a:cubicBezTo>
                    <a:pt x="194" y="120"/>
                    <a:pt x="193" y="120"/>
                    <a:pt x="192" y="120"/>
                  </a:cubicBezTo>
                  <a:cubicBezTo>
                    <a:pt x="189" y="120"/>
                    <a:pt x="188" y="121"/>
                    <a:pt x="186" y="120"/>
                  </a:cubicBezTo>
                  <a:cubicBezTo>
                    <a:pt x="184" y="120"/>
                    <a:pt x="186" y="120"/>
                    <a:pt x="185" y="119"/>
                  </a:cubicBezTo>
                  <a:cubicBezTo>
                    <a:pt x="184" y="119"/>
                    <a:pt x="184" y="119"/>
                    <a:pt x="183" y="119"/>
                  </a:cubicBezTo>
                  <a:cubicBezTo>
                    <a:pt x="182" y="119"/>
                    <a:pt x="182" y="120"/>
                    <a:pt x="181" y="120"/>
                  </a:cubicBezTo>
                  <a:cubicBezTo>
                    <a:pt x="181" y="121"/>
                    <a:pt x="180" y="120"/>
                    <a:pt x="180" y="120"/>
                  </a:cubicBezTo>
                  <a:cubicBezTo>
                    <a:pt x="179" y="120"/>
                    <a:pt x="179" y="120"/>
                    <a:pt x="178" y="120"/>
                  </a:cubicBezTo>
                  <a:cubicBezTo>
                    <a:pt x="178" y="119"/>
                    <a:pt x="178" y="119"/>
                    <a:pt x="177" y="118"/>
                  </a:cubicBezTo>
                  <a:cubicBezTo>
                    <a:pt x="177" y="117"/>
                    <a:pt x="177" y="116"/>
                    <a:pt x="177" y="115"/>
                  </a:cubicBezTo>
                  <a:cubicBezTo>
                    <a:pt x="177" y="113"/>
                    <a:pt x="178" y="112"/>
                    <a:pt x="177" y="111"/>
                  </a:cubicBezTo>
                  <a:cubicBezTo>
                    <a:pt x="176" y="111"/>
                    <a:pt x="176" y="110"/>
                    <a:pt x="176" y="109"/>
                  </a:cubicBezTo>
                  <a:cubicBezTo>
                    <a:pt x="175" y="108"/>
                    <a:pt x="174" y="109"/>
                    <a:pt x="173" y="110"/>
                  </a:cubicBezTo>
                  <a:cubicBezTo>
                    <a:pt x="172" y="110"/>
                    <a:pt x="171" y="110"/>
                    <a:pt x="171" y="109"/>
                  </a:cubicBezTo>
                  <a:cubicBezTo>
                    <a:pt x="170" y="109"/>
                    <a:pt x="170" y="109"/>
                    <a:pt x="169" y="109"/>
                  </a:cubicBezTo>
                  <a:cubicBezTo>
                    <a:pt x="169" y="108"/>
                    <a:pt x="169" y="107"/>
                    <a:pt x="168" y="107"/>
                  </a:cubicBezTo>
                  <a:cubicBezTo>
                    <a:pt x="168" y="106"/>
                    <a:pt x="168" y="106"/>
                    <a:pt x="167" y="106"/>
                  </a:cubicBezTo>
                  <a:cubicBezTo>
                    <a:pt x="167" y="105"/>
                    <a:pt x="168" y="104"/>
                    <a:pt x="169" y="104"/>
                  </a:cubicBezTo>
                  <a:cubicBezTo>
                    <a:pt x="170" y="104"/>
                    <a:pt x="171" y="105"/>
                    <a:pt x="172" y="104"/>
                  </a:cubicBezTo>
                  <a:cubicBezTo>
                    <a:pt x="172" y="104"/>
                    <a:pt x="173" y="104"/>
                    <a:pt x="173" y="104"/>
                  </a:cubicBezTo>
                  <a:cubicBezTo>
                    <a:pt x="175" y="105"/>
                    <a:pt x="175" y="106"/>
                    <a:pt x="175" y="106"/>
                  </a:cubicBezTo>
                  <a:cubicBezTo>
                    <a:pt x="174" y="107"/>
                    <a:pt x="175" y="107"/>
                    <a:pt x="176" y="107"/>
                  </a:cubicBezTo>
                  <a:cubicBezTo>
                    <a:pt x="177" y="106"/>
                    <a:pt x="178" y="106"/>
                    <a:pt x="178" y="106"/>
                  </a:cubicBezTo>
                  <a:cubicBezTo>
                    <a:pt x="179" y="106"/>
                    <a:pt x="180" y="105"/>
                    <a:pt x="181" y="106"/>
                  </a:cubicBezTo>
                  <a:cubicBezTo>
                    <a:pt x="181" y="106"/>
                    <a:pt x="182" y="106"/>
                    <a:pt x="182" y="106"/>
                  </a:cubicBezTo>
                  <a:cubicBezTo>
                    <a:pt x="183" y="106"/>
                    <a:pt x="183" y="106"/>
                    <a:pt x="184" y="106"/>
                  </a:cubicBezTo>
                  <a:cubicBezTo>
                    <a:pt x="184" y="105"/>
                    <a:pt x="184" y="105"/>
                    <a:pt x="184" y="104"/>
                  </a:cubicBezTo>
                  <a:cubicBezTo>
                    <a:pt x="185" y="104"/>
                    <a:pt x="186" y="104"/>
                    <a:pt x="186" y="103"/>
                  </a:cubicBezTo>
                  <a:cubicBezTo>
                    <a:pt x="186" y="103"/>
                    <a:pt x="186" y="103"/>
                    <a:pt x="187" y="102"/>
                  </a:cubicBezTo>
                  <a:cubicBezTo>
                    <a:pt x="188" y="102"/>
                    <a:pt x="189" y="101"/>
                    <a:pt x="188" y="100"/>
                  </a:cubicBezTo>
                  <a:cubicBezTo>
                    <a:pt x="187" y="100"/>
                    <a:pt x="186" y="99"/>
                    <a:pt x="187" y="98"/>
                  </a:cubicBezTo>
                  <a:cubicBezTo>
                    <a:pt x="188" y="98"/>
                    <a:pt x="190" y="97"/>
                    <a:pt x="191" y="98"/>
                  </a:cubicBezTo>
                  <a:cubicBezTo>
                    <a:pt x="192" y="98"/>
                    <a:pt x="192" y="99"/>
                    <a:pt x="193" y="100"/>
                  </a:cubicBezTo>
                  <a:cubicBezTo>
                    <a:pt x="193" y="101"/>
                    <a:pt x="195" y="102"/>
                    <a:pt x="196" y="101"/>
                  </a:cubicBezTo>
                  <a:cubicBezTo>
                    <a:pt x="197" y="101"/>
                    <a:pt x="199" y="100"/>
                    <a:pt x="197" y="99"/>
                  </a:cubicBezTo>
                  <a:cubicBezTo>
                    <a:pt x="196" y="99"/>
                    <a:pt x="196" y="99"/>
                    <a:pt x="195" y="99"/>
                  </a:cubicBezTo>
                  <a:cubicBezTo>
                    <a:pt x="195" y="98"/>
                    <a:pt x="195" y="98"/>
                    <a:pt x="194" y="98"/>
                  </a:cubicBezTo>
                  <a:cubicBezTo>
                    <a:pt x="193" y="97"/>
                    <a:pt x="195" y="96"/>
                    <a:pt x="195" y="95"/>
                  </a:cubicBezTo>
                  <a:cubicBezTo>
                    <a:pt x="196" y="95"/>
                    <a:pt x="195" y="95"/>
                    <a:pt x="193" y="95"/>
                  </a:cubicBezTo>
                  <a:cubicBezTo>
                    <a:pt x="193" y="95"/>
                    <a:pt x="192" y="95"/>
                    <a:pt x="192" y="95"/>
                  </a:cubicBezTo>
                  <a:cubicBezTo>
                    <a:pt x="192" y="95"/>
                    <a:pt x="191" y="95"/>
                    <a:pt x="191" y="95"/>
                  </a:cubicBezTo>
                  <a:cubicBezTo>
                    <a:pt x="190" y="95"/>
                    <a:pt x="189" y="95"/>
                    <a:pt x="189" y="94"/>
                  </a:cubicBezTo>
                  <a:cubicBezTo>
                    <a:pt x="189" y="94"/>
                    <a:pt x="189" y="93"/>
                    <a:pt x="189" y="93"/>
                  </a:cubicBezTo>
                  <a:cubicBezTo>
                    <a:pt x="189" y="92"/>
                    <a:pt x="189" y="92"/>
                    <a:pt x="189" y="91"/>
                  </a:cubicBezTo>
                  <a:cubicBezTo>
                    <a:pt x="189" y="91"/>
                    <a:pt x="190" y="91"/>
                    <a:pt x="191" y="91"/>
                  </a:cubicBezTo>
                  <a:cubicBezTo>
                    <a:pt x="192" y="91"/>
                    <a:pt x="191" y="90"/>
                    <a:pt x="191" y="90"/>
                  </a:cubicBezTo>
                  <a:cubicBezTo>
                    <a:pt x="192" y="89"/>
                    <a:pt x="192" y="89"/>
                    <a:pt x="193" y="90"/>
                  </a:cubicBezTo>
                  <a:cubicBezTo>
                    <a:pt x="193" y="90"/>
                    <a:pt x="193" y="90"/>
                    <a:pt x="194" y="90"/>
                  </a:cubicBezTo>
                  <a:cubicBezTo>
                    <a:pt x="195" y="91"/>
                    <a:pt x="196" y="91"/>
                    <a:pt x="196" y="91"/>
                  </a:cubicBezTo>
                  <a:cubicBezTo>
                    <a:pt x="197" y="91"/>
                    <a:pt x="198" y="91"/>
                    <a:pt x="199" y="91"/>
                  </a:cubicBezTo>
                  <a:cubicBezTo>
                    <a:pt x="200" y="91"/>
                    <a:pt x="200" y="90"/>
                    <a:pt x="199" y="90"/>
                  </a:cubicBezTo>
                  <a:cubicBezTo>
                    <a:pt x="198" y="89"/>
                    <a:pt x="196" y="90"/>
                    <a:pt x="195" y="90"/>
                  </a:cubicBezTo>
                  <a:cubicBezTo>
                    <a:pt x="195" y="90"/>
                    <a:pt x="194" y="90"/>
                    <a:pt x="194" y="90"/>
                  </a:cubicBezTo>
                  <a:cubicBezTo>
                    <a:pt x="195" y="89"/>
                    <a:pt x="195" y="89"/>
                    <a:pt x="195" y="88"/>
                  </a:cubicBezTo>
                  <a:cubicBezTo>
                    <a:pt x="194" y="88"/>
                    <a:pt x="194" y="88"/>
                    <a:pt x="193" y="89"/>
                  </a:cubicBezTo>
                  <a:cubicBezTo>
                    <a:pt x="193" y="89"/>
                    <a:pt x="192" y="89"/>
                    <a:pt x="192" y="89"/>
                  </a:cubicBezTo>
                  <a:cubicBezTo>
                    <a:pt x="190" y="89"/>
                    <a:pt x="190" y="90"/>
                    <a:pt x="190" y="91"/>
                  </a:cubicBezTo>
                  <a:cubicBezTo>
                    <a:pt x="189" y="90"/>
                    <a:pt x="190" y="90"/>
                    <a:pt x="189" y="89"/>
                  </a:cubicBezTo>
                  <a:cubicBezTo>
                    <a:pt x="188" y="89"/>
                    <a:pt x="188" y="91"/>
                    <a:pt x="188" y="92"/>
                  </a:cubicBezTo>
                  <a:cubicBezTo>
                    <a:pt x="189" y="92"/>
                    <a:pt x="189" y="93"/>
                    <a:pt x="188" y="93"/>
                  </a:cubicBezTo>
                  <a:cubicBezTo>
                    <a:pt x="188" y="94"/>
                    <a:pt x="187" y="94"/>
                    <a:pt x="186" y="94"/>
                  </a:cubicBezTo>
                  <a:cubicBezTo>
                    <a:pt x="186" y="95"/>
                    <a:pt x="186" y="93"/>
                    <a:pt x="185" y="93"/>
                  </a:cubicBezTo>
                  <a:cubicBezTo>
                    <a:pt x="185" y="94"/>
                    <a:pt x="185" y="94"/>
                    <a:pt x="185" y="95"/>
                  </a:cubicBezTo>
                  <a:cubicBezTo>
                    <a:pt x="184" y="95"/>
                    <a:pt x="183" y="94"/>
                    <a:pt x="183" y="94"/>
                  </a:cubicBezTo>
                  <a:cubicBezTo>
                    <a:pt x="183" y="93"/>
                    <a:pt x="182" y="94"/>
                    <a:pt x="182" y="95"/>
                  </a:cubicBezTo>
                  <a:cubicBezTo>
                    <a:pt x="182" y="95"/>
                    <a:pt x="182" y="95"/>
                    <a:pt x="181" y="95"/>
                  </a:cubicBezTo>
                  <a:cubicBezTo>
                    <a:pt x="180" y="95"/>
                    <a:pt x="176" y="95"/>
                    <a:pt x="177" y="94"/>
                  </a:cubicBezTo>
                  <a:cubicBezTo>
                    <a:pt x="177" y="94"/>
                    <a:pt x="179" y="93"/>
                    <a:pt x="179" y="92"/>
                  </a:cubicBezTo>
                  <a:cubicBezTo>
                    <a:pt x="179" y="92"/>
                    <a:pt x="179" y="93"/>
                    <a:pt x="178" y="93"/>
                  </a:cubicBezTo>
                  <a:cubicBezTo>
                    <a:pt x="178" y="93"/>
                    <a:pt x="178" y="93"/>
                    <a:pt x="177" y="92"/>
                  </a:cubicBezTo>
                  <a:cubicBezTo>
                    <a:pt x="177" y="92"/>
                    <a:pt x="176" y="92"/>
                    <a:pt x="176" y="92"/>
                  </a:cubicBezTo>
                  <a:cubicBezTo>
                    <a:pt x="175" y="92"/>
                    <a:pt x="177" y="91"/>
                    <a:pt x="176" y="90"/>
                  </a:cubicBezTo>
                  <a:cubicBezTo>
                    <a:pt x="175" y="90"/>
                    <a:pt x="176" y="89"/>
                    <a:pt x="176" y="89"/>
                  </a:cubicBezTo>
                  <a:cubicBezTo>
                    <a:pt x="177" y="88"/>
                    <a:pt x="178" y="88"/>
                    <a:pt x="179" y="88"/>
                  </a:cubicBezTo>
                  <a:cubicBezTo>
                    <a:pt x="181" y="87"/>
                    <a:pt x="180" y="87"/>
                    <a:pt x="179" y="86"/>
                  </a:cubicBezTo>
                  <a:cubicBezTo>
                    <a:pt x="178" y="86"/>
                    <a:pt x="177" y="86"/>
                    <a:pt x="175" y="87"/>
                  </a:cubicBezTo>
                  <a:cubicBezTo>
                    <a:pt x="174" y="87"/>
                    <a:pt x="174" y="87"/>
                    <a:pt x="173" y="87"/>
                  </a:cubicBezTo>
                  <a:cubicBezTo>
                    <a:pt x="173" y="87"/>
                    <a:pt x="172" y="87"/>
                    <a:pt x="173" y="86"/>
                  </a:cubicBezTo>
                  <a:cubicBezTo>
                    <a:pt x="173" y="86"/>
                    <a:pt x="174" y="86"/>
                    <a:pt x="175" y="86"/>
                  </a:cubicBezTo>
                  <a:cubicBezTo>
                    <a:pt x="175" y="85"/>
                    <a:pt x="175" y="85"/>
                    <a:pt x="175" y="85"/>
                  </a:cubicBezTo>
                  <a:cubicBezTo>
                    <a:pt x="175" y="85"/>
                    <a:pt x="174" y="85"/>
                    <a:pt x="173" y="85"/>
                  </a:cubicBezTo>
                  <a:close/>
                  <a:moveTo>
                    <a:pt x="325" y="106"/>
                  </a:moveTo>
                  <a:cubicBezTo>
                    <a:pt x="325" y="105"/>
                    <a:pt x="326" y="106"/>
                    <a:pt x="326" y="106"/>
                  </a:cubicBezTo>
                  <a:cubicBezTo>
                    <a:pt x="327" y="107"/>
                    <a:pt x="328" y="109"/>
                    <a:pt x="326" y="108"/>
                  </a:cubicBezTo>
                  <a:cubicBezTo>
                    <a:pt x="325" y="107"/>
                    <a:pt x="325" y="107"/>
                    <a:pt x="325" y="106"/>
                  </a:cubicBezTo>
                  <a:close/>
                  <a:moveTo>
                    <a:pt x="161" y="107"/>
                  </a:moveTo>
                  <a:cubicBezTo>
                    <a:pt x="162" y="107"/>
                    <a:pt x="163" y="107"/>
                    <a:pt x="163" y="107"/>
                  </a:cubicBezTo>
                  <a:cubicBezTo>
                    <a:pt x="164" y="108"/>
                    <a:pt x="165" y="108"/>
                    <a:pt x="165" y="108"/>
                  </a:cubicBezTo>
                  <a:cubicBezTo>
                    <a:pt x="166" y="109"/>
                    <a:pt x="165" y="110"/>
                    <a:pt x="165" y="111"/>
                  </a:cubicBezTo>
                  <a:cubicBezTo>
                    <a:pt x="165" y="112"/>
                    <a:pt x="166" y="113"/>
                    <a:pt x="167" y="114"/>
                  </a:cubicBezTo>
                  <a:cubicBezTo>
                    <a:pt x="167" y="115"/>
                    <a:pt x="165" y="115"/>
                    <a:pt x="165" y="115"/>
                  </a:cubicBezTo>
                  <a:cubicBezTo>
                    <a:pt x="164" y="116"/>
                    <a:pt x="164" y="116"/>
                    <a:pt x="164" y="117"/>
                  </a:cubicBezTo>
                  <a:cubicBezTo>
                    <a:pt x="164" y="117"/>
                    <a:pt x="163" y="118"/>
                    <a:pt x="163" y="118"/>
                  </a:cubicBezTo>
                  <a:cubicBezTo>
                    <a:pt x="162" y="119"/>
                    <a:pt x="160" y="119"/>
                    <a:pt x="159" y="119"/>
                  </a:cubicBezTo>
                  <a:cubicBezTo>
                    <a:pt x="158" y="119"/>
                    <a:pt x="158" y="118"/>
                    <a:pt x="157" y="118"/>
                  </a:cubicBezTo>
                  <a:cubicBezTo>
                    <a:pt x="157" y="117"/>
                    <a:pt x="157" y="117"/>
                    <a:pt x="157" y="116"/>
                  </a:cubicBezTo>
                  <a:cubicBezTo>
                    <a:pt x="158" y="116"/>
                    <a:pt x="160" y="115"/>
                    <a:pt x="160" y="114"/>
                  </a:cubicBezTo>
                  <a:cubicBezTo>
                    <a:pt x="159" y="114"/>
                    <a:pt x="158" y="115"/>
                    <a:pt x="157" y="115"/>
                  </a:cubicBezTo>
                  <a:cubicBezTo>
                    <a:pt x="156" y="116"/>
                    <a:pt x="154" y="116"/>
                    <a:pt x="154" y="116"/>
                  </a:cubicBezTo>
                  <a:cubicBezTo>
                    <a:pt x="154" y="115"/>
                    <a:pt x="154" y="114"/>
                    <a:pt x="155" y="113"/>
                  </a:cubicBezTo>
                  <a:cubicBezTo>
                    <a:pt x="155" y="112"/>
                    <a:pt x="157" y="112"/>
                    <a:pt x="157" y="111"/>
                  </a:cubicBezTo>
                  <a:cubicBezTo>
                    <a:pt x="157" y="111"/>
                    <a:pt x="155" y="111"/>
                    <a:pt x="156" y="110"/>
                  </a:cubicBezTo>
                  <a:cubicBezTo>
                    <a:pt x="156" y="110"/>
                    <a:pt x="160" y="109"/>
                    <a:pt x="159" y="108"/>
                  </a:cubicBezTo>
                  <a:cubicBezTo>
                    <a:pt x="158" y="108"/>
                    <a:pt x="156" y="108"/>
                    <a:pt x="157" y="108"/>
                  </a:cubicBezTo>
                  <a:cubicBezTo>
                    <a:pt x="159" y="107"/>
                    <a:pt x="160" y="107"/>
                    <a:pt x="161" y="107"/>
                  </a:cubicBezTo>
                  <a:close/>
                  <a:moveTo>
                    <a:pt x="250" y="74"/>
                  </a:moveTo>
                  <a:cubicBezTo>
                    <a:pt x="250" y="74"/>
                    <a:pt x="251" y="75"/>
                    <a:pt x="251" y="74"/>
                  </a:cubicBezTo>
                  <a:cubicBezTo>
                    <a:pt x="250" y="73"/>
                    <a:pt x="250" y="73"/>
                    <a:pt x="249" y="73"/>
                  </a:cubicBezTo>
                  <a:cubicBezTo>
                    <a:pt x="248" y="72"/>
                    <a:pt x="247" y="71"/>
                    <a:pt x="246" y="71"/>
                  </a:cubicBezTo>
                  <a:cubicBezTo>
                    <a:pt x="246" y="70"/>
                    <a:pt x="245" y="70"/>
                    <a:pt x="245" y="69"/>
                  </a:cubicBezTo>
                  <a:cubicBezTo>
                    <a:pt x="245" y="69"/>
                    <a:pt x="246" y="69"/>
                    <a:pt x="247" y="69"/>
                  </a:cubicBezTo>
                  <a:cubicBezTo>
                    <a:pt x="247" y="69"/>
                    <a:pt x="248" y="69"/>
                    <a:pt x="249" y="69"/>
                  </a:cubicBezTo>
                  <a:cubicBezTo>
                    <a:pt x="249" y="69"/>
                    <a:pt x="250" y="69"/>
                    <a:pt x="250" y="69"/>
                  </a:cubicBezTo>
                  <a:cubicBezTo>
                    <a:pt x="251" y="69"/>
                    <a:pt x="251" y="69"/>
                    <a:pt x="252" y="68"/>
                  </a:cubicBezTo>
                  <a:cubicBezTo>
                    <a:pt x="252" y="68"/>
                    <a:pt x="252" y="68"/>
                    <a:pt x="253" y="68"/>
                  </a:cubicBezTo>
                  <a:cubicBezTo>
                    <a:pt x="254" y="68"/>
                    <a:pt x="254" y="69"/>
                    <a:pt x="255" y="69"/>
                  </a:cubicBezTo>
                  <a:cubicBezTo>
                    <a:pt x="255" y="70"/>
                    <a:pt x="256" y="70"/>
                    <a:pt x="256" y="70"/>
                  </a:cubicBezTo>
                  <a:cubicBezTo>
                    <a:pt x="256" y="70"/>
                    <a:pt x="256" y="71"/>
                    <a:pt x="256" y="71"/>
                  </a:cubicBezTo>
                  <a:cubicBezTo>
                    <a:pt x="256" y="72"/>
                    <a:pt x="256" y="72"/>
                    <a:pt x="256" y="73"/>
                  </a:cubicBezTo>
                  <a:cubicBezTo>
                    <a:pt x="256" y="73"/>
                    <a:pt x="256" y="74"/>
                    <a:pt x="257" y="74"/>
                  </a:cubicBezTo>
                  <a:cubicBezTo>
                    <a:pt x="257" y="74"/>
                    <a:pt x="257" y="74"/>
                    <a:pt x="257" y="74"/>
                  </a:cubicBezTo>
                  <a:cubicBezTo>
                    <a:pt x="257" y="73"/>
                    <a:pt x="257" y="72"/>
                    <a:pt x="257" y="71"/>
                  </a:cubicBezTo>
                  <a:cubicBezTo>
                    <a:pt x="257" y="71"/>
                    <a:pt x="257" y="71"/>
                    <a:pt x="257" y="70"/>
                  </a:cubicBezTo>
                  <a:cubicBezTo>
                    <a:pt x="257" y="70"/>
                    <a:pt x="256" y="70"/>
                    <a:pt x="256" y="69"/>
                  </a:cubicBezTo>
                  <a:cubicBezTo>
                    <a:pt x="256" y="68"/>
                    <a:pt x="257" y="69"/>
                    <a:pt x="257" y="70"/>
                  </a:cubicBezTo>
                  <a:cubicBezTo>
                    <a:pt x="258" y="70"/>
                    <a:pt x="258" y="71"/>
                    <a:pt x="259" y="71"/>
                  </a:cubicBezTo>
                  <a:cubicBezTo>
                    <a:pt x="259" y="71"/>
                    <a:pt x="259" y="71"/>
                    <a:pt x="259" y="71"/>
                  </a:cubicBezTo>
                  <a:cubicBezTo>
                    <a:pt x="259" y="72"/>
                    <a:pt x="260" y="73"/>
                    <a:pt x="260" y="73"/>
                  </a:cubicBezTo>
                  <a:cubicBezTo>
                    <a:pt x="261" y="73"/>
                    <a:pt x="261" y="74"/>
                    <a:pt x="261" y="74"/>
                  </a:cubicBezTo>
                  <a:cubicBezTo>
                    <a:pt x="262" y="74"/>
                    <a:pt x="261" y="73"/>
                    <a:pt x="261" y="73"/>
                  </a:cubicBezTo>
                  <a:cubicBezTo>
                    <a:pt x="260" y="72"/>
                    <a:pt x="262" y="72"/>
                    <a:pt x="263" y="73"/>
                  </a:cubicBezTo>
                  <a:cubicBezTo>
                    <a:pt x="263" y="73"/>
                    <a:pt x="264" y="73"/>
                    <a:pt x="264" y="73"/>
                  </a:cubicBezTo>
                  <a:cubicBezTo>
                    <a:pt x="264" y="72"/>
                    <a:pt x="263" y="72"/>
                    <a:pt x="262" y="72"/>
                  </a:cubicBezTo>
                  <a:cubicBezTo>
                    <a:pt x="261" y="71"/>
                    <a:pt x="261" y="70"/>
                    <a:pt x="260" y="69"/>
                  </a:cubicBezTo>
                  <a:cubicBezTo>
                    <a:pt x="260" y="69"/>
                    <a:pt x="258" y="68"/>
                    <a:pt x="260" y="68"/>
                  </a:cubicBezTo>
                  <a:cubicBezTo>
                    <a:pt x="260" y="68"/>
                    <a:pt x="262" y="68"/>
                    <a:pt x="262" y="68"/>
                  </a:cubicBezTo>
                  <a:cubicBezTo>
                    <a:pt x="263" y="69"/>
                    <a:pt x="263" y="69"/>
                    <a:pt x="264" y="70"/>
                  </a:cubicBezTo>
                  <a:cubicBezTo>
                    <a:pt x="264" y="70"/>
                    <a:pt x="265" y="70"/>
                    <a:pt x="266" y="71"/>
                  </a:cubicBezTo>
                  <a:cubicBezTo>
                    <a:pt x="267" y="71"/>
                    <a:pt x="268" y="72"/>
                    <a:pt x="269" y="73"/>
                  </a:cubicBezTo>
                  <a:cubicBezTo>
                    <a:pt x="270" y="73"/>
                    <a:pt x="270" y="74"/>
                    <a:pt x="271" y="74"/>
                  </a:cubicBezTo>
                  <a:cubicBezTo>
                    <a:pt x="271" y="75"/>
                    <a:pt x="271" y="75"/>
                    <a:pt x="272" y="75"/>
                  </a:cubicBezTo>
                  <a:cubicBezTo>
                    <a:pt x="273" y="75"/>
                    <a:pt x="272" y="75"/>
                    <a:pt x="272" y="75"/>
                  </a:cubicBezTo>
                  <a:cubicBezTo>
                    <a:pt x="272" y="75"/>
                    <a:pt x="272" y="74"/>
                    <a:pt x="271" y="74"/>
                  </a:cubicBezTo>
                  <a:cubicBezTo>
                    <a:pt x="271" y="74"/>
                    <a:pt x="271" y="73"/>
                    <a:pt x="271" y="73"/>
                  </a:cubicBezTo>
                  <a:cubicBezTo>
                    <a:pt x="271" y="72"/>
                    <a:pt x="271" y="72"/>
                    <a:pt x="271" y="71"/>
                  </a:cubicBezTo>
                  <a:cubicBezTo>
                    <a:pt x="270" y="71"/>
                    <a:pt x="271" y="71"/>
                    <a:pt x="271" y="71"/>
                  </a:cubicBezTo>
                  <a:cubicBezTo>
                    <a:pt x="271" y="71"/>
                    <a:pt x="272" y="71"/>
                    <a:pt x="272" y="71"/>
                  </a:cubicBezTo>
                  <a:cubicBezTo>
                    <a:pt x="272" y="70"/>
                    <a:pt x="271" y="70"/>
                    <a:pt x="270" y="69"/>
                  </a:cubicBezTo>
                  <a:cubicBezTo>
                    <a:pt x="269" y="68"/>
                    <a:pt x="268" y="68"/>
                    <a:pt x="268" y="67"/>
                  </a:cubicBezTo>
                  <a:cubicBezTo>
                    <a:pt x="269" y="67"/>
                    <a:pt x="270" y="68"/>
                    <a:pt x="271" y="68"/>
                  </a:cubicBezTo>
                  <a:cubicBezTo>
                    <a:pt x="272" y="68"/>
                    <a:pt x="273" y="68"/>
                    <a:pt x="274" y="69"/>
                  </a:cubicBezTo>
                  <a:cubicBezTo>
                    <a:pt x="275" y="69"/>
                    <a:pt x="276" y="69"/>
                    <a:pt x="276" y="70"/>
                  </a:cubicBezTo>
                  <a:cubicBezTo>
                    <a:pt x="277" y="70"/>
                    <a:pt x="278" y="71"/>
                    <a:pt x="278" y="71"/>
                  </a:cubicBezTo>
                  <a:cubicBezTo>
                    <a:pt x="278" y="70"/>
                    <a:pt x="278" y="70"/>
                    <a:pt x="277" y="69"/>
                  </a:cubicBezTo>
                  <a:cubicBezTo>
                    <a:pt x="276" y="69"/>
                    <a:pt x="275" y="68"/>
                    <a:pt x="274" y="68"/>
                  </a:cubicBezTo>
                  <a:cubicBezTo>
                    <a:pt x="274" y="68"/>
                    <a:pt x="273" y="68"/>
                    <a:pt x="272" y="67"/>
                  </a:cubicBezTo>
                  <a:cubicBezTo>
                    <a:pt x="271" y="67"/>
                    <a:pt x="270" y="67"/>
                    <a:pt x="269" y="67"/>
                  </a:cubicBezTo>
                  <a:cubicBezTo>
                    <a:pt x="268" y="67"/>
                    <a:pt x="268" y="66"/>
                    <a:pt x="267" y="66"/>
                  </a:cubicBezTo>
                  <a:cubicBezTo>
                    <a:pt x="267" y="66"/>
                    <a:pt x="266" y="67"/>
                    <a:pt x="266" y="66"/>
                  </a:cubicBezTo>
                  <a:cubicBezTo>
                    <a:pt x="266" y="66"/>
                    <a:pt x="266" y="66"/>
                    <a:pt x="266" y="65"/>
                  </a:cubicBezTo>
                  <a:cubicBezTo>
                    <a:pt x="266" y="65"/>
                    <a:pt x="265" y="65"/>
                    <a:pt x="265" y="65"/>
                  </a:cubicBezTo>
                  <a:cubicBezTo>
                    <a:pt x="265" y="64"/>
                    <a:pt x="266" y="64"/>
                    <a:pt x="266" y="65"/>
                  </a:cubicBezTo>
                  <a:cubicBezTo>
                    <a:pt x="267" y="65"/>
                    <a:pt x="267" y="65"/>
                    <a:pt x="267" y="65"/>
                  </a:cubicBezTo>
                  <a:cubicBezTo>
                    <a:pt x="268" y="65"/>
                    <a:pt x="268" y="65"/>
                    <a:pt x="267" y="65"/>
                  </a:cubicBezTo>
                  <a:cubicBezTo>
                    <a:pt x="266" y="64"/>
                    <a:pt x="270" y="65"/>
                    <a:pt x="270" y="65"/>
                  </a:cubicBezTo>
                  <a:cubicBezTo>
                    <a:pt x="270" y="65"/>
                    <a:pt x="271" y="65"/>
                    <a:pt x="271" y="65"/>
                  </a:cubicBezTo>
                  <a:cubicBezTo>
                    <a:pt x="271" y="65"/>
                    <a:pt x="271" y="65"/>
                    <a:pt x="270" y="65"/>
                  </a:cubicBezTo>
                  <a:cubicBezTo>
                    <a:pt x="270" y="64"/>
                    <a:pt x="270" y="64"/>
                    <a:pt x="270" y="64"/>
                  </a:cubicBezTo>
                  <a:cubicBezTo>
                    <a:pt x="270" y="64"/>
                    <a:pt x="271" y="65"/>
                    <a:pt x="271" y="65"/>
                  </a:cubicBezTo>
                  <a:cubicBezTo>
                    <a:pt x="271" y="65"/>
                    <a:pt x="271" y="64"/>
                    <a:pt x="271" y="64"/>
                  </a:cubicBezTo>
                  <a:cubicBezTo>
                    <a:pt x="271" y="64"/>
                    <a:pt x="271" y="64"/>
                    <a:pt x="272" y="64"/>
                  </a:cubicBezTo>
                  <a:cubicBezTo>
                    <a:pt x="272" y="64"/>
                    <a:pt x="273" y="64"/>
                    <a:pt x="273" y="65"/>
                  </a:cubicBezTo>
                  <a:cubicBezTo>
                    <a:pt x="273" y="65"/>
                    <a:pt x="273" y="65"/>
                    <a:pt x="274" y="66"/>
                  </a:cubicBezTo>
                  <a:cubicBezTo>
                    <a:pt x="274" y="66"/>
                    <a:pt x="275" y="66"/>
                    <a:pt x="276" y="67"/>
                  </a:cubicBezTo>
                  <a:cubicBezTo>
                    <a:pt x="277" y="67"/>
                    <a:pt x="278" y="67"/>
                    <a:pt x="278" y="68"/>
                  </a:cubicBezTo>
                  <a:cubicBezTo>
                    <a:pt x="279" y="68"/>
                    <a:pt x="279" y="68"/>
                    <a:pt x="279" y="69"/>
                  </a:cubicBezTo>
                  <a:cubicBezTo>
                    <a:pt x="280" y="69"/>
                    <a:pt x="279" y="68"/>
                    <a:pt x="279" y="68"/>
                  </a:cubicBezTo>
                  <a:cubicBezTo>
                    <a:pt x="279" y="68"/>
                    <a:pt x="278" y="68"/>
                    <a:pt x="278" y="67"/>
                  </a:cubicBezTo>
                  <a:cubicBezTo>
                    <a:pt x="279" y="67"/>
                    <a:pt x="281" y="68"/>
                    <a:pt x="279" y="67"/>
                  </a:cubicBezTo>
                  <a:cubicBezTo>
                    <a:pt x="278" y="66"/>
                    <a:pt x="281" y="67"/>
                    <a:pt x="280" y="66"/>
                  </a:cubicBezTo>
                  <a:cubicBezTo>
                    <a:pt x="280" y="65"/>
                    <a:pt x="279" y="65"/>
                    <a:pt x="278" y="65"/>
                  </a:cubicBezTo>
                  <a:cubicBezTo>
                    <a:pt x="278" y="65"/>
                    <a:pt x="278" y="65"/>
                    <a:pt x="278" y="64"/>
                  </a:cubicBezTo>
                  <a:cubicBezTo>
                    <a:pt x="277" y="63"/>
                    <a:pt x="278" y="64"/>
                    <a:pt x="278" y="63"/>
                  </a:cubicBezTo>
                  <a:cubicBezTo>
                    <a:pt x="279" y="63"/>
                    <a:pt x="279" y="63"/>
                    <a:pt x="280" y="64"/>
                  </a:cubicBezTo>
                  <a:cubicBezTo>
                    <a:pt x="280" y="64"/>
                    <a:pt x="281" y="65"/>
                    <a:pt x="281" y="65"/>
                  </a:cubicBezTo>
                  <a:cubicBezTo>
                    <a:pt x="281" y="64"/>
                    <a:pt x="281" y="63"/>
                    <a:pt x="281" y="63"/>
                  </a:cubicBezTo>
                  <a:cubicBezTo>
                    <a:pt x="281" y="63"/>
                    <a:pt x="282" y="64"/>
                    <a:pt x="282" y="64"/>
                  </a:cubicBezTo>
                  <a:cubicBezTo>
                    <a:pt x="283" y="64"/>
                    <a:pt x="283" y="63"/>
                    <a:pt x="283" y="63"/>
                  </a:cubicBezTo>
                  <a:cubicBezTo>
                    <a:pt x="284" y="64"/>
                    <a:pt x="285" y="64"/>
                    <a:pt x="286" y="64"/>
                  </a:cubicBezTo>
                  <a:cubicBezTo>
                    <a:pt x="286" y="64"/>
                    <a:pt x="286" y="64"/>
                    <a:pt x="287" y="64"/>
                  </a:cubicBezTo>
                  <a:cubicBezTo>
                    <a:pt x="288" y="65"/>
                    <a:pt x="288" y="65"/>
                    <a:pt x="289" y="65"/>
                  </a:cubicBezTo>
                  <a:cubicBezTo>
                    <a:pt x="290" y="65"/>
                    <a:pt x="291" y="65"/>
                    <a:pt x="293" y="66"/>
                  </a:cubicBezTo>
                  <a:cubicBezTo>
                    <a:pt x="293" y="66"/>
                    <a:pt x="293" y="67"/>
                    <a:pt x="294" y="67"/>
                  </a:cubicBezTo>
                  <a:cubicBezTo>
                    <a:pt x="295" y="67"/>
                    <a:pt x="295" y="67"/>
                    <a:pt x="295" y="67"/>
                  </a:cubicBezTo>
                  <a:cubicBezTo>
                    <a:pt x="296" y="68"/>
                    <a:pt x="297" y="68"/>
                    <a:pt x="298" y="68"/>
                  </a:cubicBezTo>
                  <a:cubicBezTo>
                    <a:pt x="299" y="69"/>
                    <a:pt x="299" y="70"/>
                    <a:pt x="298" y="70"/>
                  </a:cubicBezTo>
                  <a:cubicBezTo>
                    <a:pt x="298" y="70"/>
                    <a:pt x="298" y="70"/>
                    <a:pt x="298" y="70"/>
                  </a:cubicBezTo>
                  <a:cubicBezTo>
                    <a:pt x="297" y="70"/>
                    <a:pt x="297" y="70"/>
                    <a:pt x="296" y="70"/>
                  </a:cubicBezTo>
                  <a:cubicBezTo>
                    <a:pt x="295" y="70"/>
                    <a:pt x="293" y="69"/>
                    <a:pt x="292" y="69"/>
                  </a:cubicBezTo>
                  <a:cubicBezTo>
                    <a:pt x="291" y="69"/>
                    <a:pt x="291" y="69"/>
                    <a:pt x="291" y="69"/>
                  </a:cubicBezTo>
                  <a:cubicBezTo>
                    <a:pt x="290" y="69"/>
                    <a:pt x="290" y="69"/>
                    <a:pt x="289" y="69"/>
                  </a:cubicBezTo>
                  <a:cubicBezTo>
                    <a:pt x="289" y="69"/>
                    <a:pt x="288" y="69"/>
                    <a:pt x="288" y="69"/>
                  </a:cubicBezTo>
                  <a:cubicBezTo>
                    <a:pt x="287" y="69"/>
                    <a:pt x="287" y="69"/>
                    <a:pt x="286" y="69"/>
                  </a:cubicBezTo>
                  <a:cubicBezTo>
                    <a:pt x="286" y="69"/>
                    <a:pt x="285" y="69"/>
                    <a:pt x="285" y="69"/>
                  </a:cubicBezTo>
                  <a:cubicBezTo>
                    <a:pt x="285" y="70"/>
                    <a:pt x="286" y="69"/>
                    <a:pt x="286" y="69"/>
                  </a:cubicBezTo>
                  <a:cubicBezTo>
                    <a:pt x="287" y="69"/>
                    <a:pt x="288" y="70"/>
                    <a:pt x="289" y="70"/>
                  </a:cubicBezTo>
                  <a:cubicBezTo>
                    <a:pt x="290" y="70"/>
                    <a:pt x="291" y="70"/>
                    <a:pt x="292" y="70"/>
                  </a:cubicBezTo>
                  <a:cubicBezTo>
                    <a:pt x="293" y="69"/>
                    <a:pt x="294" y="70"/>
                    <a:pt x="295" y="70"/>
                  </a:cubicBezTo>
                  <a:cubicBezTo>
                    <a:pt x="296" y="71"/>
                    <a:pt x="297" y="71"/>
                    <a:pt x="298" y="71"/>
                  </a:cubicBezTo>
                  <a:cubicBezTo>
                    <a:pt x="298" y="71"/>
                    <a:pt x="298" y="71"/>
                    <a:pt x="299" y="71"/>
                  </a:cubicBezTo>
                  <a:cubicBezTo>
                    <a:pt x="299" y="71"/>
                    <a:pt x="300" y="71"/>
                    <a:pt x="300" y="71"/>
                  </a:cubicBezTo>
                  <a:cubicBezTo>
                    <a:pt x="301" y="71"/>
                    <a:pt x="301" y="72"/>
                    <a:pt x="302" y="72"/>
                  </a:cubicBezTo>
                  <a:cubicBezTo>
                    <a:pt x="302" y="73"/>
                    <a:pt x="301" y="73"/>
                    <a:pt x="302" y="74"/>
                  </a:cubicBezTo>
                  <a:cubicBezTo>
                    <a:pt x="302" y="74"/>
                    <a:pt x="303" y="74"/>
                    <a:pt x="303" y="74"/>
                  </a:cubicBezTo>
                  <a:cubicBezTo>
                    <a:pt x="303" y="74"/>
                    <a:pt x="303" y="74"/>
                    <a:pt x="304" y="74"/>
                  </a:cubicBezTo>
                  <a:cubicBezTo>
                    <a:pt x="305" y="75"/>
                    <a:pt x="305" y="75"/>
                    <a:pt x="306" y="75"/>
                  </a:cubicBezTo>
                  <a:cubicBezTo>
                    <a:pt x="306" y="75"/>
                    <a:pt x="307" y="76"/>
                    <a:pt x="307" y="76"/>
                  </a:cubicBezTo>
                  <a:cubicBezTo>
                    <a:pt x="308" y="77"/>
                    <a:pt x="309" y="78"/>
                    <a:pt x="309" y="78"/>
                  </a:cubicBezTo>
                  <a:cubicBezTo>
                    <a:pt x="309" y="78"/>
                    <a:pt x="308" y="78"/>
                    <a:pt x="308" y="78"/>
                  </a:cubicBezTo>
                  <a:cubicBezTo>
                    <a:pt x="308" y="78"/>
                    <a:pt x="308" y="79"/>
                    <a:pt x="308" y="79"/>
                  </a:cubicBezTo>
                  <a:cubicBezTo>
                    <a:pt x="307" y="79"/>
                    <a:pt x="307" y="79"/>
                    <a:pt x="307" y="79"/>
                  </a:cubicBezTo>
                  <a:cubicBezTo>
                    <a:pt x="307" y="79"/>
                    <a:pt x="306" y="79"/>
                    <a:pt x="306" y="79"/>
                  </a:cubicBezTo>
                  <a:cubicBezTo>
                    <a:pt x="305" y="79"/>
                    <a:pt x="305" y="80"/>
                    <a:pt x="305" y="80"/>
                  </a:cubicBezTo>
                  <a:cubicBezTo>
                    <a:pt x="303" y="80"/>
                    <a:pt x="303" y="80"/>
                    <a:pt x="301" y="79"/>
                  </a:cubicBezTo>
                  <a:cubicBezTo>
                    <a:pt x="301" y="79"/>
                    <a:pt x="300" y="79"/>
                    <a:pt x="299" y="78"/>
                  </a:cubicBezTo>
                  <a:cubicBezTo>
                    <a:pt x="298" y="78"/>
                    <a:pt x="298" y="78"/>
                    <a:pt x="298" y="78"/>
                  </a:cubicBezTo>
                  <a:cubicBezTo>
                    <a:pt x="296" y="78"/>
                    <a:pt x="296" y="79"/>
                    <a:pt x="295" y="78"/>
                  </a:cubicBezTo>
                  <a:cubicBezTo>
                    <a:pt x="294" y="78"/>
                    <a:pt x="294" y="78"/>
                    <a:pt x="293" y="78"/>
                  </a:cubicBezTo>
                  <a:cubicBezTo>
                    <a:pt x="293" y="78"/>
                    <a:pt x="292" y="78"/>
                    <a:pt x="292" y="79"/>
                  </a:cubicBezTo>
                  <a:cubicBezTo>
                    <a:pt x="292" y="79"/>
                    <a:pt x="292" y="80"/>
                    <a:pt x="293" y="80"/>
                  </a:cubicBezTo>
                  <a:cubicBezTo>
                    <a:pt x="294" y="81"/>
                    <a:pt x="294" y="80"/>
                    <a:pt x="294" y="80"/>
                  </a:cubicBezTo>
                  <a:cubicBezTo>
                    <a:pt x="294" y="79"/>
                    <a:pt x="295" y="80"/>
                    <a:pt x="296" y="80"/>
                  </a:cubicBezTo>
                  <a:cubicBezTo>
                    <a:pt x="296" y="80"/>
                    <a:pt x="297" y="80"/>
                    <a:pt x="297" y="80"/>
                  </a:cubicBezTo>
                  <a:cubicBezTo>
                    <a:pt x="298" y="79"/>
                    <a:pt x="299" y="79"/>
                    <a:pt x="300" y="80"/>
                  </a:cubicBezTo>
                  <a:cubicBezTo>
                    <a:pt x="302" y="80"/>
                    <a:pt x="302" y="81"/>
                    <a:pt x="304" y="81"/>
                  </a:cubicBezTo>
                  <a:cubicBezTo>
                    <a:pt x="305" y="81"/>
                    <a:pt x="305" y="81"/>
                    <a:pt x="305" y="82"/>
                  </a:cubicBezTo>
                  <a:cubicBezTo>
                    <a:pt x="305" y="83"/>
                    <a:pt x="305" y="83"/>
                    <a:pt x="304" y="83"/>
                  </a:cubicBezTo>
                  <a:cubicBezTo>
                    <a:pt x="303" y="83"/>
                    <a:pt x="302" y="84"/>
                    <a:pt x="303" y="85"/>
                  </a:cubicBezTo>
                  <a:cubicBezTo>
                    <a:pt x="303" y="85"/>
                    <a:pt x="305" y="84"/>
                    <a:pt x="305" y="84"/>
                  </a:cubicBezTo>
                  <a:cubicBezTo>
                    <a:pt x="305" y="84"/>
                    <a:pt x="306" y="84"/>
                    <a:pt x="307" y="84"/>
                  </a:cubicBezTo>
                  <a:cubicBezTo>
                    <a:pt x="308" y="84"/>
                    <a:pt x="307" y="83"/>
                    <a:pt x="307" y="82"/>
                  </a:cubicBezTo>
                  <a:cubicBezTo>
                    <a:pt x="307" y="81"/>
                    <a:pt x="309" y="81"/>
                    <a:pt x="309" y="82"/>
                  </a:cubicBezTo>
                  <a:cubicBezTo>
                    <a:pt x="310" y="83"/>
                    <a:pt x="310" y="84"/>
                    <a:pt x="310" y="84"/>
                  </a:cubicBezTo>
                  <a:cubicBezTo>
                    <a:pt x="311" y="85"/>
                    <a:pt x="311" y="86"/>
                    <a:pt x="312" y="87"/>
                  </a:cubicBezTo>
                  <a:cubicBezTo>
                    <a:pt x="312" y="88"/>
                    <a:pt x="312" y="88"/>
                    <a:pt x="312" y="88"/>
                  </a:cubicBezTo>
                  <a:cubicBezTo>
                    <a:pt x="311" y="88"/>
                    <a:pt x="312" y="89"/>
                    <a:pt x="312" y="89"/>
                  </a:cubicBezTo>
                  <a:cubicBezTo>
                    <a:pt x="312" y="90"/>
                    <a:pt x="312" y="90"/>
                    <a:pt x="311" y="90"/>
                  </a:cubicBezTo>
                  <a:cubicBezTo>
                    <a:pt x="311" y="91"/>
                    <a:pt x="311" y="91"/>
                    <a:pt x="311" y="91"/>
                  </a:cubicBezTo>
                  <a:cubicBezTo>
                    <a:pt x="311" y="92"/>
                    <a:pt x="311" y="92"/>
                    <a:pt x="311" y="92"/>
                  </a:cubicBezTo>
                  <a:cubicBezTo>
                    <a:pt x="312" y="92"/>
                    <a:pt x="312" y="91"/>
                    <a:pt x="312" y="91"/>
                  </a:cubicBezTo>
                  <a:cubicBezTo>
                    <a:pt x="312" y="91"/>
                    <a:pt x="312" y="91"/>
                    <a:pt x="312" y="91"/>
                  </a:cubicBezTo>
                  <a:cubicBezTo>
                    <a:pt x="313" y="90"/>
                    <a:pt x="313" y="90"/>
                    <a:pt x="313" y="90"/>
                  </a:cubicBezTo>
                  <a:cubicBezTo>
                    <a:pt x="313" y="89"/>
                    <a:pt x="313" y="89"/>
                    <a:pt x="313" y="89"/>
                  </a:cubicBezTo>
                  <a:cubicBezTo>
                    <a:pt x="313" y="88"/>
                    <a:pt x="313" y="88"/>
                    <a:pt x="313" y="88"/>
                  </a:cubicBezTo>
                  <a:cubicBezTo>
                    <a:pt x="314" y="87"/>
                    <a:pt x="314" y="87"/>
                    <a:pt x="313" y="86"/>
                  </a:cubicBezTo>
                  <a:cubicBezTo>
                    <a:pt x="312" y="85"/>
                    <a:pt x="313" y="85"/>
                    <a:pt x="314" y="86"/>
                  </a:cubicBezTo>
                  <a:cubicBezTo>
                    <a:pt x="314" y="86"/>
                    <a:pt x="314" y="86"/>
                    <a:pt x="315" y="87"/>
                  </a:cubicBezTo>
                  <a:cubicBezTo>
                    <a:pt x="315" y="87"/>
                    <a:pt x="315" y="87"/>
                    <a:pt x="316" y="87"/>
                  </a:cubicBezTo>
                  <a:cubicBezTo>
                    <a:pt x="316" y="87"/>
                    <a:pt x="316" y="88"/>
                    <a:pt x="317" y="88"/>
                  </a:cubicBezTo>
                  <a:cubicBezTo>
                    <a:pt x="318" y="89"/>
                    <a:pt x="319" y="89"/>
                    <a:pt x="318" y="88"/>
                  </a:cubicBezTo>
                  <a:cubicBezTo>
                    <a:pt x="318" y="88"/>
                    <a:pt x="317" y="87"/>
                    <a:pt x="317" y="87"/>
                  </a:cubicBezTo>
                  <a:cubicBezTo>
                    <a:pt x="316" y="86"/>
                    <a:pt x="316" y="86"/>
                    <a:pt x="315" y="86"/>
                  </a:cubicBezTo>
                  <a:cubicBezTo>
                    <a:pt x="315" y="85"/>
                    <a:pt x="314" y="85"/>
                    <a:pt x="315" y="85"/>
                  </a:cubicBezTo>
                  <a:cubicBezTo>
                    <a:pt x="315" y="85"/>
                    <a:pt x="315" y="85"/>
                    <a:pt x="316" y="85"/>
                  </a:cubicBezTo>
                  <a:cubicBezTo>
                    <a:pt x="316" y="86"/>
                    <a:pt x="318" y="88"/>
                    <a:pt x="318" y="87"/>
                  </a:cubicBezTo>
                  <a:cubicBezTo>
                    <a:pt x="318" y="87"/>
                    <a:pt x="318" y="87"/>
                    <a:pt x="318" y="86"/>
                  </a:cubicBezTo>
                  <a:cubicBezTo>
                    <a:pt x="318" y="86"/>
                    <a:pt x="318" y="86"/>
                    <a:pt x="318" y="86"/>
                  </a:cubicBezTo>
                  <a:cubicBezTo>
                    <a:pt x="319" y="86"/>
                    <a:pt x="319" y="86"/>
                    <a:pt x="319" y="86"/>
                  </a:cubicBezTo>
                  <a:cubicBezTo>
                    <a:pt x="319" y="86"/>
                    <a:pt x="319" y="86"/>
                    <a:pt x="319" y="86"/>
                  </a:cubicBezTo>
                  <a:cubicBezTo>
                    <a:pt x="320" y="86"/>
                    <a:pt x="320" y="86"/>
                    <a:pt x="321" y="86"/>
                  </a:cubicBezTo>
                  <a:cubicBezTo>
                    <a:pt x="321" y="86"/>
                    <a:pt x="322" y="87"/>
                    <a:pt x="322" y="87"/>
                  </a:cubicBezTo>
                  <a:cubicBezTo>
                    <a:pt x="323" y="88"/>
                    <a:pt x="323" y="88"/>
                    <a:pt x="324" y="89"/>
                  </a:cubicBezTo>
                  <a:cubicBezTo>
                    <a:pt x="325" y="89"/>
                    <a:pt x="327" y="91"/>
                    <a:pt x="326" y="91"/>
                  </a:cubicBezTo>
                  <a:cubicBezTo>
                    <a:pt x="326" y="92"/>
                    <a:pt x="325" y="92"/>
                    <a:pt x="325" y="93"/>
                  </a:cubicBezTo>
                  <a:cubicBezTo>
                    <a:pt x="325" y="93"/>
                    <a:pt x="325" y="93"/>
                    <a:pt x="325" y="93"/>
                  </a:cubicBezTo>
                  <a:cubicBezTo>
                    <a:pt x="324" y="93"/>
                    <a:pt x="324" y="93"/>
                    <a:pt x="324" y="93"/>
                  </a:cubicBezTo>
                  <a:cubicBezTo>
                    <a:pt x="324" y="94"/>
                    <a:pt x="325" y="94"/>
                    <a:pt x="325" y="95"/>
                  </a:cubicBezTo>
                  <a:cubicBezTo>
                    <a:pt x="324" y="95"/>
                    <a:pt x="324" y="95"/>
                    <a:pt x="324" y="95"/>
                  </a:cubicBezTo>
                  <a:cubicBezTo>
                    <a:pt x="324" y="95"/>
                    <a:pt x="324" y="95"/>
                    <a:pt x="324" y="95"/>
                  </a:cubicBezTo>
                  <a:cubicBezTo>
                    <a:pt x="323" y="96"/>
                    <a:pt x="323" y="95"/>
                    <a:pt x="322" y="95"/>
                  </a:cubicBezTo>
                  <a:cubicBezTo>
                    <a:pt x="322" y="95"/>
                    <a:pt x="322" y="95"/>
                    <a:pt x="321" y="95"/>
                  </a:cubicBezTo>
                  <a:cubicBezTo>
                    <a:pt x="321" y="94"/>
                    <a:pt x="320" y="94"/>
                    <a:pt x="320" y="94"/>
                  </a:cubicBezTo>
                  <a:cubicBezTo>
                    <a:pt x="319" y="94"/>
                    <a:pt x="320" y="95"/>
                    <a:pt x="320" y="95"/>
                  </a:cubicBezTo>
                  <a:cubicBezTo>
                    <a:pt x="319" y="95"/>
                    <a:pt x="318" y="94"/>
                    <a:pt x="319" y="95"/>
                  </a:cubicBezTo>
                  <a:cubicBezTo>
                    <a:pt x="319" y="95"/>
                    <a:pt x="319" y="95"/>
                    <a:pt x="320" y="96"/>
                  </a:cubicBezTo>
                  <a:cubicBezTo>
                    <a:pt x="320" y="96"/>
                    <a:pt x="320" y="95"/>
                    <a:pt x="321" y="95"/>
                  </a:cubicBezTo>
                  <a:cubicBezTo>
                    <a:pt x="322" y="96"/>
                    <a:pt x="323" y="96"/>
                    <a:pt x="324" y="98"/>
                  </a:cubicBezTo>
                  <a:cubicBezTo>
                    <a:pt x="324" y="98"/>
                    <a:pt x="324" y="99"/>
                    <a:pt x="323" y="99"/>
                  </a:cubicBezTo>
                  <a:cubicBezTo>
                    <a:pt x="323" y="99"/>
                    <a:pt x="321" y="98"/>
                    <a:pt x="320" y="98"/>
                  </a:cubicBezTo>
                  <a:cubicBezTo>
                    <a:pt x="319" y="97"/>
                    <a:pt x="319" y="98"/>
                    <a:pt x="319" y="98"/>
                  </a:cubicBezTo>
                  <a:cubicBezTo>
                    <a:pt x="319" y="99"/>
                    <a:pt x="319" y="100"/>
                    <a:pt x="320" y="101"/>
                  </a:cubicBezTo>
                  <a:cubicBezTo>
                    <a:pt x="321" y="101"/>
                    <a:pt x="320" y="99"/>
                    <a:pt x="320" y="99"/>
                  </a:cubicBezTo>
                  <a:cubicBezTo>
                    <a:pt x="320" y="99"/>
                    <a:pt x="321" y="99"/>
                    <a:pt x="321" y="99"/>
                  </a:cubicBezTo>
                  <a:cubicBezTo>
                    <a:pt x="322" y="99"/>
                    <a:pt x="322" y="99"/>
                    <a:pt x="323" y="99"/>
                  </a:cubicBezTo>
                  <a:cubicBezTo>
                    <a:pt x="324" y="100"/>
                    <a:pt x="323" y="101"/>
                    <a:pt x="323" y="101"/>
                  </a:cubicBezTo>
                  <a:cubicBezTo>
                    <a:pt x="323" y="101"/>
                    <a:pt x="323" y="102"/>
                    <a:pt x="323" y="102"/>
                  </a:cubicBezTo>
                  <a:cubicBezTo>
                    <a:pt x="322" y="102"/>
                    <a:pt x="322" y="102"/>
                    <a:pt x="322" y="102"/>
                  </a:cubicBezTo>
                  <a:cubicBezTo>
                    <a:pt x="321" y="101"/>
                    <a:pt x="322" y="103"/>
                    <a:pt x="322" y="104"/>
                  </a:cubicBezTo>
                  <a:cubicBezTo>
                    <a:pt x="322" y="104"/>
                    <a:pt x="322" y="105"/>
                    <a:pt x="323" y="105"/>
                  </a:cubicBezTo>
                  <a:cubicBezTo>
                    <a:pt x="323" y="105"/>
                    <a:pt x="323" y="105"/>
                    <a:pt x="323" y="105"/>
                  </a:cubicBezTo>
                  <a:cubicBezTo>
                    <a:pt x="324" y="106"/>
                    <a:pt x="323" y="106"/>
                    <a:pt x="323" y="106"/>
                  </a:cubicBezTo>
                  <a:cubicBezTo>
                    <a:pt x="323" y="106"/>
                    <a:pt x="322" y="106"/>
                    <a:pt x="322" y="106"/>
                  </a:cubicBezTo>
                  <a:cubicBezTo>
                    <a:pt x="322" y="107"/>
                    <a:pt x="323" y="107"/>
                    <a:pt x="323" y="108"/>
                  </a:cubicBezTo>
                  <a:cubicBezTo>
                    <a:pt x="323" y="108"/>
                    <a:pt x="323" y="108"/>
                    <a:pt x="322" y="108"/>
                  </a:cubicBezTo>
                  <a:cubicBezTo>
                    <a:pt x="322" y="108"/>
                    <a:pt x="322" y="108"/>
                    <a:pt x="322" y="109"/>
                  </a:cubicBezTo>
                  <a:cubicBezTo>
                    <a:pt x="322" y="110"/>
                    <a:pt x="322" y="111"/>
                    <a:pt x="322" y="112"/>
                  </a:cubicBezTo>
                  <a:cubicBezTo>
                    <a:pt x="323" y="112"/>
                    <a:pt x="322" y="113"/>
                    <a:pt x="322" y="113"/>
                  </a:cubicBezTo>
                  <a:cubicBezTo>
                    <a:pt x="322" y="114"/>
                    <a:pt x="322" y="114"/>
                    <a:pt x="323" y="115"/>
                  </a:cubicBezTo>
                  <a:cubicBezTo>
                    <a:pt x="324" y="116"/>
                    <a:pt x="323" y="114"/>
                    <a:pt x="324" y="114"/>
                  </a:cubicBezTo>
                  <a:cubicBezTo>
                    <a:pt x="325" y="114"/>
                    <a:pt x="325" y="115"/>
                    <a:pt x="326" y="115"/>
                  </a:cubicBezTo>
                  <a:cubicBezTo>
                    <a:pt x="326" y="116"/>
                    <a:pt x="326" y="116"/>
                    <a:pt x="326" y="116"/>
                  </a:cubicBezTo>
                  <a:cubicBezTo>
                    <a:pt x="327" y="118"/>
                    <a:pt x="325" y="117"/>
                    <a:pt x="325" y="117"/>
                  </a:cubicBezTo>
                  <a:cubicBezTo>
                    <a:pt x="325" y="118"/>
                    <a:pt x="326" y="118"/>
                    <a:pt x="326" y="118"/>
                  </a:cubicBezTo>
                  <a:cubicBezTo>
                    <a:pt x="326" y="118"/>
                    <a:pt x="327" y="119"/>
                    <a:pt x="327" y="119"/>
                  </a:cubicBezTo>
                  <a:cubicBezTo>
                    <a:pt x="327" y="119"/>
                    <a:pt x="327" y="119"/>
                    <a:pt x="328" y="119"/>
                  </a:cubicBezTo>
                  <a:cubicBezTo>
                    <a:pt x="328" y="120"/>
                    <a:pt x="328" y="119"/>
                    <a:pt x="329" y="120"/>
                  </a:cubicBezTo>
                  <a:cubicBezTo>
                    <a:pt x="329" y="120"/>
                    <a:pt x="330" y="121"/>
                    <a:pt x="330" y="121"/>
                  </a:cubicBezTo>
                  <a:cubicBezTo>
                    <a:pt x="330" y="122"/>
                    <a:pt x="330" y="123"/>
                    <a:pt x="330" y="123"/>
                  </a:cubicBezTo>
                  <a:cubicBezTo>
                    <a:pt x="330" y="123"/>
                    <a:pt x="329" y="123"/>
                    <a:pt x="329" y="123"/>
                  </a:cubicBezTo>
                  <a:cubicBezTo>
                    <a:pt x="329" y="123"/>
                    <a:pt x="328" y="122"/>
                    <a:pt x="328" y="122"/>
                  </a:cubicBezTo>
                  <a:cubicBezTo>
                    <a:pt x="327" y="121"/>
                    <a:pt x="326" y="121"/>
                    <a:pt x="326" y="121"/>
                  </a:cubicBezTo>
                  <a:cubicBezTo>
                    <a:pt x="326" y="121"/>
                    <a:pt x="326" y="122"/>
                    <a:pt x="326" y="122"/>
                  </a:cubicBezTo>
                  <a:cubicBezTo>
                    <a:pt x="326" y="123"/>
                    <a:pt x="326" y="122"/>
                    <a:pt x="325" y="122"/>
                  </a:cubicBezTo>
                  <a:cubicBezTo>
                    <a:pt x="324" y="121"/>
                    <a:pt x="324" y="122"/>
                    <a:pt x="325" y="123"/>
                  </a:cubicBezTo>
                  <a:cubicBezTo>
                    <a:pt x="325" y="123"/>
                    <a:pt x="325" y="123"/>
                    <a:pt x="326" y="124"/>
                  </a:cubicBezTo>
                  <a:cubicBezTo>
                    <a:pt x="326" y="124"/>
                    <a:pt x="326" y="124"/>
                    <a:pt x="326" y="125"/>
                  </a:cubicBezTo>
                  <a:cubicBezTo>
                    <a:pt x="327" y="125"/>
                    <a:pt x="328" y="125"/>
                    <a:pt x="329" y="126"/>
                  </a:cubicBezTo>
                  <a:cubicBezTo>
                    <a:pt x="329" y="127"/>
                    <a:pt x="329" y="127"/>
                    <a:pt x="329" y="127"/>
                  </a:cubicBezTo>
                  <a:cubicBezTo>
                    <a:pt x="329" y="128"/>
                    <a:pt x="329" y="128"/>
                    <a:pt x="329" y="128"/>
                  </a:cubicBezTo>
                  <a:cubicBezTo>
                    <a:pt x="329" y="128"/>
                    <a:pt x="330" y="129"/>
                    <a:pt x="330" y="129"/>
                  </a:cubicBezTo>
                  <a:cubicBezTo>
                    <a:pt x="331" y="130"/>
                    <a:pt x="331" y="131"/>
                    <a:pt x="331" y="132"/>
                  </a:cubicBezTo>
                  <a:cubicBezTo>
                    <a:pt x="331" y="132"/>
                    <a:pt x="332" y="134"/>
                    <a:pt x="331" y="133"/>
                  </a:cubicBezTo>
                  <a:cubicBezTo>
                    <a:pt x="330" y="133"/>
                    <a:pt x="329" y="132"/>
                    <a:pt x="329" y="131"/>
                  </a:cubicBezTo>
                  <a:cubicBezTo>
                    <a:pt x="329" y="131"/>
                    <a:pt x="328" y="131"/>
                    <a:pt x="328" y="131"/>
                  </a:cubicBezTo>
                  <a:cubicBezTo>
                    <a:pt x="329" y="132"/>
                    <a:pt x="330" y="132"/>
                    <a:pt x="330" y="133"/>
                  </a:cubicBezTo>
                  <a:cubicBezTo>
                    <a:pt x="331" y="135"/>
                    <a:pt x="329" y="133"/>
                    <a:pt x="330" y="135"/>
                  </a:cubicBezTo>
                  <a:cubicBezTo>
                    <a:pt x="330" y="135"/>
                    <a:pt x="330" y="135"/>
                    <a:pt x="330" y="136"/>
                  </a:cubicBezTo>
                  <a:cubicBezTo>
                    <a:pt x="331" y="137"/>
                    <a:pt x="331" y="137"/>
                    <a:pt x="332" y="137"/>
                  </a:cubicBezTo>
                  <a:cubicBezTo>
                    <a:pt x="333" y="137"/>
                    <a:pt x="333" y="138"/>
                    <a:pt x="333" y="139"/>
                  </a:cubicBezTo>
                  <a:cubicBezTo>
                    <a:pt x="333" y="139"/>
                    <a:pt x="333" y="139"/>
                    <a:pt x="332" y="139"/>
                  </a:cubicBezTo>
                  <a:cubicBezTo>
                    <a:pt x="331" y="138"/>
                    <a:pt x="331" y="138"/>
                    <a:pt x="330" y="138"/>
                  </a:cubicBezTo>
                  <a:cubicBezTo>
                    <a:pt x="330" y="138"/>
                    <a:pt x="329" y="138"/>
                    <a:pt x="329" y="138"/>
                  </a:cubicBezTo>
                  <a:cubicBezTo>
                    <a:pt x="329" y="139"/>
                    <a:pt x="329" y="139"/>
                    <a:pt x="329" y="140"/>
                  </a:cubicBezTo>
                  <a:cubicBezTo>
                    <a:pt x="330" y="140"/>
                    <a:pt x="331" y="141"/>
                    <a:pt x="331" y="141"/>
                  </a:cubicBezTo>
                  <a:cubicBezTo>
                    <a:pt x="332" y="141"/>
                    <a:pt x="332" y="142"/>
                    <a:pt x="333" y="142"/>
                  </a:cubicBezTo>
                  <a:cubicBezTo>
                    <a:pt x="333" y="143"/>
                    <a:pt x="333" y="143"/>
                    <a:pt x="332" y="144"/>
                  </a:cubicBezTo>
                  <a:cubicBezTo>
                    <a:pt x="332" y="144"/>
                    <a:pt x="332" y="145"/>
                    <a:pt x="332" y="145"/>
                  </a:cubicBezTo>
                  <a:cubicBezTo>
                    <a:pt x="331" y="145"/>
                    <a:pt x="329" y="145"/>
                    <a:pt x="329" y="144"/>
                  </a:cubicBezTo>
                  <a:cubicBezTo>
                    <a:pt x="328" y="143"/>
                    <a:pt x="327" y="142"/>
                    <a:pt x="326" y="142"/>
                  </a:cubicBezTo>
                  <a:cubicBezTo>
                    <a:pt x="326" y="141"/>
                    <a:pt x="326" y="142"/>
                    <a:pt x="326" y="142"/>
                  </a:cubicBezTo>
                  <a:cubicBezTo>
                    <a:pt x="326" y="143"/>
                    <a:pt x="325" y="143"/>
                    <a:pt x="325" y="144"/>
                  </a:cubicBezTo>
                  <a:cubicBezTo>
                    <a:pt x="325" y="144"/>
                    <a:pt x="327" y="145"/>
                    <a:pt x="326" y="145"/>
                  </a:cubicBezTo>
                  <a:cubicBezTo>
                    <a:pt x="326" y="146"/>
                    <a:pt x="326" y="146"/>
                    <a:pt x="326" y="146"/>
                  </a:cubicBezTo>
                  <a:cubicBezTo>
                    <a:pt x="325" y="146"/>
                    <a:pt x="325" y="147"/>
                    <a:pt x="326" y="147"/>
                  </a:cubicBezTo>
                  <a:cubicBezTo>
                    <a:pt x="326" y="147"/>
                    <a:pt x="327" y="147"/>
                    <a:pt x="327" y="148"/>
                  </a:cubicBezTo>
                  <a:cubicBezTo>
                    <a:pt x="327" y="148"/>
                    <a:pt x="328" y="149"/>
                    <a:pt x="328" y="149"/>
                  </a:cubicBezTo>
                  <a:cubicBezTo>
                    <a:pt x="329" y="150"/>
                    <a:pt x="329" y="150"/>
                    <a:pt x="329" y="151"/>
                  </a:cubicBezTo>
                  <a:cubicBezTo>
                    <a:pt x="330" y="151"/>
                    <a:pt x="331" y="152"/>
                    <a:pt x="331" y="152"/>
                  </a:cubicBezTo>
                  <a:cubicBezTo>
                    <a:pt x="333" y="154"/>
                    <a:pt x="333" y="154"/>
                    <a:pt x="334" y="156"/>
                  </a:cubicBezTo>
                  <a:cubicBezTo>
                    <a:pt x="334" y="157"/>
                    <a:pt x="334" y="157"/>
                    <a:pt x="334" y="158"/>
                  </a:cubicBezTo>
                  <a:cubicBezTo>
                    <a:pt x="335" y="159"/>
                    <a:pt x="335" y="159"/>
                    <a:pt x="335" y="160"/>
                  </a:cubicBezTo>
                  <a:cubicBezTo>
                    <a:pt x="335" y="161"/>
                    <a:pt x="335" y="162"/>
                    <a:pt x="335" y="163"/>
                  </a:cubicBezTo>
                  <a:cubicBezTo>
                    <a:pt x="335" y="163"/>
                    <a:pt x="335" y="162"/>
                    <a:pt x="335" y="162"/>
                  </a:cubicBezTo>
                  <a:cubicBezTo>
                    <a:pt x="334" y="162"/>
                    <a:pt x="334" y="161"/>
                    <a:pt x="334" y="161"/>
                  </a:cubicBezTo>
                  <a:cubicBezTo>
                    <a:pt x="333" y="160"/>
                    <a:pt x="333" y="161"/>
                    <a:pt x="333" y="161"/>
                  </a:cubicBezTo>
                  <a:cubicBezTo>
                    <a:pt x="333" y="163"/>
                    <a:pt x="330" y="159"/>
                    <a:pt x="330" y="158"/>
                  </a:cubicBezTo>
                  <a:cubicBezTo>
                    <a:pt x="330" y="158"/>
                    <a:pt x="329" y="155"/>
                    <a:pt x="328" y="155"/>
                  </a:cubicBezTo>
                  <a:cubicBezTo>
                    <a:pt x="328" y="155"/>
                    <a:pt x="327" y="155"/>
                    <a:pt x="326" y="154"/>
                  </a:cubicBezTo>
                  <a:cubicBezTo>
                    <a:pt x="326" y="154"/>
                    <a:pt x="326" y="153"/>
                    <a:pt x="325" y="152"/>
                  </a:cubicBezTo>
                  <a:cubicBezTo>
                    <a:pt x="324" y="152"/>
                    <a:pt x="324" y="151"/>
                    <a:pt x="323" y="151"/>
                  </a:cubicBezTo>
                  <a:cubicBezTo>
                    <a:pt x="323" y="151"/>
                    <a:pt x="322" y="151"/>
                    <a:pt x="322" y="151"/>
                  </a:cubicBezTo>
                  <a:cubicBezTo>
                    <a:pt x="322" y="150"/>
                    <a:pt x="322" y="150"/>
                    <a:pt x="322" y="150"/>
                  </a:cubicBezTo>
                  <a:cubicBezTo>
                    <a:pt x="322" y="151"/>
                    <a:pt x="323" y="152"/>
                    <a:pt x="324" y="152"/>
                  </a:cubicBezTo>
                  <a:cubicBezTo>
                    <a:pt x="324" y="153"/>
                    <a:pt x="325" y="154"/>
                    <a:pt x="326" y="154"/>
                  </a:cubicBezTo>
                  <a:cubicBezTo>
                    <a:pt x="326" y="155"/>
                    <a:pt x="327" y="155"/>
                    <a:pt x="328" y="155"/>
                  </a:cubicBezTo>
                  <a:cubicBezTo>
                    <a:pt x="329" y="156"/>
                    <a:pt x="328" y="156"/>
                    <a:pt x="327" y="157"/>
                  </a:cubicBezTo>
                  <a:cubicBezTo>
                    <a:pt x="327" y="157"/>
                    <a:pt x="327" y="157"/>
                    <a:pt x="326" y="157"/>
                  </a:cubicBezTo>
                  <a:cubicBezTo>
                    <a:pt x="326" y="157"/>
                    <a:pt x="326" y="156"/>
                    <a:pt x="326" y="157"/>
                  </a:cubicBezTo>
                  <a:cubicBezTo>
                    <a:pt x="326" y="157"/>
                    <a:pt x="327" y="158"/>
                    <a:pt x="327" y="158"/>
                  </a:cubicBezTo>
                  <a:cubicBezTo>
                    <a:pt x="329" y="159"/>
                    <a:pt x="327" y="159"/>
                    <a:pt x="327" y="159"/>
                  </a:cubicBezTo>
                  <a:cubicBezTo>
                    <a:pt x="326" y="159"/>
                    <a:pt x="327" y="160"/>
                    <a:pt x="327" y="160"/>
                  </a:cubicBezTo>
                  <a:cubicBezTo>
                    <a:pt x="328" y="160"/>
                    <a:pt x="328" y="160"/>
                    <a:pt x="328" y="161"/>
                  </a:cubicBezTo>
                  <a:cubicBezTo>
                    <a:pt x="329" y="161"/>
                    <a:pt x="329" y="161"/>
                    <a:pt x="330" y="161"/>
                  </a:cubicBezTo>
                  <a:cubicBezTo>
                    <a:pt x="331" y="161"/>
                    <a:pt x="331" y="162"/>
                    <a:pt x="332" y="162"/>
                  </a:cubicBezTo>
                  <a:cubicBezTo>
                    <a:pt x="332" y="162"/>
                    <a:pt x="333" y="162"/>
                    <a:pt x="333" y="163"/>
                  </a:cubicBezTo>
                  <a:cubicBezTo>
                    <a:pt x="334" y="163"/>
                    <a:pt x="335" y="164"/>
                    <a:pt x="335" y="165"/>
                  </a:cubicBezTo>
                  <a:cubicBezTo>
                    <a:pt x="335" y="165"/>
                    <a:pt x="334" y="165"/>
                    <a:pt x="333" y="166"/>
                  </a:cubicBezTo>
                  <a:cubicBezTo>
                    <a:pt x="333" y="166"/>
                    <a:pt x="333" y="166"/>
                    <a:pt x="333" y="167"/>
                  </a:cubicBezTo>
                  <a:cubicBezTo>
                    <a:pt x="332" y="168"/>
                    <a:pt x="331" y="168"/>
                    <a:pt x="331" y="168"/>
                  </a:cubicBezTo>
                  <a:cubicBezTo>
                    <a:pt x="330" y="169"/>
                    <a:pt x="330" y="171"/>
                    <a:pt x="328" y="171"/>
                  </a:cubicBezTo>
                  <a:cubicBezTo>
                    <a:pt x="327" y="171"/>
                    <a:pt x="326" y="171"/>
                    <a:pt x="325" y="171"/>
                  </a:cubicBezTo>
                  <a:cubicBezTo>
                    <a:pt x="325" y="171"/>
                    <a:pt x="324" y="171"/>
                    <a:pt x="324" y="171"/>
                  </a:cubicBezTo>
                  <a:cubicBezTo>
                    <a:pt x="324" y="171"/>
                    <a:pt x="323" y="172"/>
                    <a:pt x="323" y="172"/>
                  </a:cubicBezTo>
                  <a:cubicBezTo>
                    <a:pt x="322" y="172"/>
                    <a:pt x="322" y="172"/>
                    <a:pt x="321" y="171"/>
                  </a:cubicBezTo>
                  <a:cubicBezTo>
                    <a:pt x="320" y="171"/>
                    <a:pt x="320" y="170"/>
                    <a:pt x="319" y="170"/>
                  </a:cubicBezTo>
                  <a:cubicBezTo>
                    <a:pt x="319" y="171"/>
                    <a:pt x="319" y="171"/>
                    <a:pt x="320" y="172"/>
                  </a:cubicBezTo>
                  <a:cubicBezTo>
                    <a:pt x="320" y="173"/>
                    <a:pt x="320" y="173"/>
                    <a:pt x="319" y="173"/>
                  </a:cubicBezTo>
                  <a:cubicBezTo>
                    <a:pt x="319" y="174"/>
                    <a:pt x="319" y="174"/>
                    <a:pt x="318" y="174"/>
                  </a:cubicBezTo>
                  <a:cubicBezTo>
                    <a:pt x="317" y="174"/>
                    <a:pt x="317" y="175"/>
                    <a:pt x="317" y="175"/>
                  </a:cubicBezTo>
                  <a:cubicBezTo>
                    <a:pt x="318" y="177"/>
                    <a:pt x="317" y="178"/>
                    <a:pt x="317" y="179"/>
                  </a:cubicBezTo>
                  <a:cubicBezTo>
                    <a:pt x="317" y="180"/>
                    <a:pt x="316" y="180"/>
                    <a:pt x="316" y="180"/>
                  </a:cubicBezTo>
                  <a:cubicBezTo>
                    <a:pt x="315" y="180"/>
                    <a:pt x="315" y="181"/>
                    <a:pt x="315" y="181"/>
                  </a:cubicBezTo>
                  <a:cubicBezTo>
                    <a:pt x="315" y="182"/>
                    <a:pt x="315" y="182"/>
                    <a:pt x="314" y="182"/>
                  </a:cubicBezTo>
                  <a:cubicBezTo>
                    <a:pt x="314" y="183"/>
                    <a:pt x="313" y="182"/>
                    <a:pt x="313" y="182"/>
                  </a:cubicBezTo>
                  <a:cubicBezTo>
                    <a:pt x="312" y="182"/>
                    <a:pt x="312" y="183"/>
                    <a:pt x="312" y="183"/>
                  </a:cubicBezTo>
                  <a:cubicBezTo>
                    <a:pt x="311" y="183"/>
                    <a:pt x="310" y="182"/>
                    <a:pt x="311" y="182"/>
                  </a:cubicBezTo>
                  <a:cubicBezTo>
                    <a:pt x="311" y="181"/>
                    <a:pt x="311" y="181"/>
                    <a:pt x="311" y="181"/>
                  </a:cubicBezTo>
                  <a:cubicBezTo>
                    <a:pt x="311" y="180"/>
                    <a:pt x="310" y="180"/>
                    <a:pt x="310" y="181"/>
                  </a:cubicBezTo>
                  <a:cubicBezTo>
                    <a:pt x="310" y="182"/>
                    <a:pt x="310" y="182"/>
                    <a:pt x="309" y="183"/>
                  </a:cubicBezTo>
                  <a:cubicBezTo>
                    <a:pt x="309" y="183"/>
                    <a:pt x="309" y="183"/>
                    <a:pt x="308" y="183"/>
                  </a:cubicBezTo>
                  <a:cubicBezTo>
                    <a:pt x="308" y="183"/>
                    <a:pt x="307" y="183"/>
                    <a:pt x="307" y="184"/>
                  </a:cubicBezTo>
                  <a:cubicBezTo>
                    <a:pt x="306" y="184"/>
                    <a:pt x="307" y="185"/>
                    <a:pt x="306" y="185"/>
                  </a:cubicBezTo>
                  <a:cubicBezTo>
                    <a:pt x="306" y="185"/>
                    <a:pt x="305" y="185"/>
                    <a:pt x="306" y="186"/>
                  </a:cubicBezTo>
                  <a:cubicBezTo>
                    <a:pt x="306" y="186"/>
                    <a:pt x="307" y="186"/>
                    <a:pt x="307" y="187"/>
                  </a:cubicBezTo>
                  <a:cubicBezTo>
                    <a:pt x="306" y="187"/>
                    <a:pt x="306" y="187"/>
                    <a:pt x="305" y="187"/>
                  </a:cubicBezTo>
                  <a:cubicBezTo>
                    <a:pt x="305" y="187"/>
                    <a:pt x="304" y="187"/>
                    <a:pt x="305" y="188"/>
                  </a:cubicBezTo>
                  <a:cubicBezTo>
                    <a:pt x="305" y="189"/>
                    <a:pt x="307" y="190"/>
                    <a:pt x="305" y="190"/>
                  </a:cubicBezTo>
                  <a:cubicBezTo>
                    <a:pt x="305" y="190"/>
                    <a:pt x="305" y="191"/>
                    <a:pt x="305" y="192"/>
                  </a:cubicBezTo>
                  <a:cubicBezTo>
                    <a:pt x="306" y="192"/>
                    <a:pt x="306" y="193"/>
                    <a:pt x="306" y="194"/>
                  </a:cubicBezTo>
                  <a:cubicBezTo>
                    <a:pt x="306" y="195"/>
                    <a:pt x="305" y="196"/>
                    <a:pt x="305" y="196"/>
                  </a:cubicBezTo>
                  <a:cubicBezTo>
                    <a:pt x="305" y="196"/>
                    <a:pt x="305" y="197"/>
                    <a:pt x="305" y="198"/>
                  </a:cubicBezTo>
                  <a:cubicBezTo>
                    <a:pt x="305" y="199"/>
                    <a:pt x="303" y="198"/>
                    <a:pt x="303" y="199"/>
                  </a:cubicBezTo>
                  <a:cubicBezTo>
                    <a:pt x="302" y="200"/>
                    <a:pt x="303" y="201"/>
                    <a:pt x="303" y="202"/>
                  </a:cubicBezTo>
                  <a:cubicBezTo>
                    <a:pt x="304" y="203"/>
                    <a:pt x="304" y="204"/>
                    <a:pt x="304" y="205"/>
                  </a:cubicBezTo>
                  <a:cubicBezTo>
                    <a:pt x="304" y="205"/>
                    <a:pt x="304" y="206"/>
                    <a:pt x="303" y="207"/>
                  </a:cubicBezTo>
                  <a:cubicBezTo>
                    <a:pt x="303" y="207"/>
                    <a:pt x="303" y="208"/>
                    <a:pt x="303" y="209"/>
                  </a:cubicBezTo>
                  <a:cubicBezTo>
                    <a:pt x="303" y="210"/>
                    <a:pt x="303" y="215"/>
                    <a:pt x="302" y="213"/>
                  </a:cubicBezTo>
                  <a:cubicBezTo>
                    <a:pt x="301" y="212"/>
                    <a:pt x="301" y="212"/>
                    <a:pt x="300" y="213"/>
                  </a:cubicBezTo>
                  <a:cubicBezTo>
                    <a:pt x="300" y="213"/>
                    <a:pt x="299" y="214"/>
                    <a:pt x="299" y="213"/>
                  </a:cubicBezTo>
                  <a:cubicBezTo>
                    <a:pt x="298" y="213"/>
                    <a:pt x="298" y="212"/>
                    <a:pt x="298" y="211"/>
                  </a:cubicBezTo>
                  <a:cubicBezTo>
                    <a:pt x="298" y="211"/>
                    <a:pt x="297" y="211"/>
                    <a:pt x="297" y="210"/>
                  </a:cubicBezTo>
                  <a:cubicBezTo>
                    <a:pt x="296" y="210"/>
                    <a:pt x="296" y="210"/>
                    <a:pt x="296" y="209"/>
                  </a:cubicBezTo>
                  <a:cubicBezTo>
                    <a:pt x="295" y="208"/>
                    <a:pt x="295" y="208"/>
                    <a:pt x="294" y="208"/>
                  </a:cubicBezTo>
                  <a:cubicBezTo>
                    <a:pt x="293" y="208"/>
                    <a:pt x="293" y="209"/>
                    <a:pt x="292" y="209"/>
                  </a:cubicBezTo>
                  <a:cubicBezTo>
                    <a:pt x="292" y="210"/>
                    <a:pt x="292" y="208"/>
                    <a:pt x="292" y="208"/>
                  </a:cubicBezTo>
                  <a:cubicBezTo>
                    <a:pt x="292" y="207"/>
                    <a:pt x="291" y="207"/>
                    <a:pt x="291" y="206"/>
                  </a:cubicBezTo>
                  <a:cubicBezTo>
                    <a:pt x="290" y="206"/>
                    <a:pt x="289" y="205"/>
                    <a:pt x="289" y="205"/>
                  </a:cubicBezTo>
                  <a:cubicBezTo>
                    <a:pt x="289" y="203"/>
                    <a:pt x="288" y="202"/>
                    <a:pt x="287" y="201"/>
                  </a:cubicBezTo>
                  <a:cubicBezTo>
                    <a:pt x="286" y="199"/>
                    <a:pt x="286" y="198"/>
                    <a:pt x="285" y="196"/>
                  </a:cubicBezTo>
                  <a:cubicBezTo>
                    <a:pt x="285" y="194"/>
                    <a:pt x="283" y="193"/>
                    <a:pt x="283" y="190"/>
                  </a:cubicBezTo>
                  <a:cubicBezTo>
                    <a:pt x="283" y="189"/>
                    <a:pt x="285" y="187"/>
                    <a:pt x="284" y="186"/>
                  </a:cubicBezTo>
                  <a:cubicBezTo>
                    <a:pt x="283" y="186"/>
                    <a:pt x="282" y="187"/>
                    <a:pt x="282" y="188"/>
                  </a:cubicBezTo>
                  <a:cubicBezTo>
                    <a:pt x="282" y="188"/>
                    <a:pt x="281" y="189"/>
                    <a:pt x="281" y="188"/>
                  </a:cubicBezTo>
                  <a:cubicBezTo>
                    <a:pt x="281" y="188"/>
                    <a:pt x="281" y="187"/>
                    <a:pt x="281" y="186"/>
                  </a:cubicBezTo>
                  <a:cubicBezTo>
                    <a:pt x="281" y="185"/>
                    <a:pt x="280" y="183"/>
                    <a:pt x="280" y="182"/>
                  </a:cubicBezTo>
                  <a:cubicBezTo>
                    <a:pt x="280" y="181"/>
                    <a:pt x="280" y="181"/>
                    <a:pt x="279" y="180"/>
                  </a:cubicBezTo>
                  <a:cubicBezTo>
                    <a:pt x="278" y="179"/>
                    <a:pt x="278" y="178"/>
                    <a:pt x="277" y="177"/>
                  </a:cubicBezTo>
                  <a:cubicBezTo>
                    <a:pt x="276" y="176"/>
                    <a:pt x="277" y="175"/>
                    <a:pt x="277" y="175"/>
                  </a:cubicBezTo>
                  <a:cubicBezTo>
                    <a:pt x="277" y="174"/>
                    <a:pt x="278" y="174"/>
                    <a:pt x="278" y="173"/>
                  </a:cubicBezTo>
                  <a:cubicBezTo>
                    <a:pt x="277" y="173"/>
                    <a:pt x="276" y="172"/>
                    <a:pt x="275" y="172"/>
                  </a:cubicBezTo>
                  <a:cubicBezTo>
                    <a:pt x="275" y="171"/>
                    <a:pt x="275" y="171"/>
                    <a:pt x="275" y="171"/>
                  </a:cubicBezTo>
                  <a:cubicBezTo>
                    <a:pt x="276" y="171"/>
                    <a:pt x="276" y="171"/>
                    <a:pt x="276" y="170"/>
                  </a:cubicBezTo>
                  <a:cubicBezTo>
                    <a:pt x="275" y="170"/>
                    <a:pt x="276" y="169"/>
                    <a:pt x="275" y="168"/>
                  </a:cubicBezTo>
                  <a:cubicBezTo>
                    <a:pt x="275" y="168"/>
                    <a:pt x="274" y="167"/>
                    <a:pt x="275" y="167"/>
                  </a:cubicBezTo>
                  <a:cubicBezTo>
                    <a:pt x="275" y="166"/>
                    <a:pt x="276" y="166"/>
                    <a:pt x="276" y="166"/>
                  </a:cubicBezTo>
                  <a:cubicBezTo>
                    <a:pt x="277" y="165"/>
                    <a:pt x="277" y="165"/>
                    <a:pt x="278" y="166"/>
                  </a:cubicBezTo>
                  <a:cubicBezTo>
                    <a:pt x="279" y="166"/>
                    <a:pt x="280" y="166"/>
                    <a:pt x="281" y="166"/>
                  </a:cubicBezTo>
                  <a:cubicBezTo>
                    <a:pt x="281" y="166"/>
                    <a:pt x="281" y="167"/>
                    <a:pt x="282" y="167"/>
                  </a:cubicBezTo>
                  <a:cubicBezTo>
                    <a:pt x="283" y="167"/>
                    <a:pt x="282" y="167"/>
                    <a:pt x="282" y="166"/>
                  </a:cubicBezTo>
                  <a:cubicBezTo>
                    <a:pt x="282" y="166"/>
                    <a:pt x="281" y="166"/>
                    <a:pt x="281" y="166"/>
                  </a:cubicBezTo>
                  <a:cubicBezTo>
                    <a:pt x="281" y="165"/>
                    <a:pt x="281" y="165"/>
                    <a:pt x="280" y="164"/>
                  </a:cubicBezTo>
                  <a:cubicBezTo>
                    <a:pt x="279" y="164"/>
                    <a:pt x="278" y="165"/>
                    <a:pt x="277" y="165"/>
                  </a:cubicBezTo>
                  <a:cubicBezTo>
                    <a:pt x="276" y="163"/>
                    <a:pt x="278" y="163"/>
                    <a:pt x="279" y="163"/>
                  </a:cubicBezTo>
                  <a:cubicBezTo>
                    <a:pt x="281" y="163"/>
                    <a:pt x="279" y="161"/>
                    <a:pt x="280" y="161"/>
                  </a:cubicBezTo>
                  <a:cubicBezTo>
                    <a:pt x="281" y="160"/>
                    <a:pt x="281" y="159"/>
                    <a:pt x="281" y="158"/>
                  </a:cubicBezTo>
                  <a:cubicBezTo>
                    <a:pt x="281" y="158"/>
                    <a:pt x="281" y="157"/>
                    <a:pt x="281" y="156"/>
                  </a:cubicBezTo>
                  <a:cubicBezTo>
                    <a:pt x="281" y="155"/>
                    <a:pt x="280" y="153"/>
                    <a:pt x="278" y="154"/>
                  </a:cubicBezTo>
                  <a:cubicBezTo>
                    <a:pt x="278" y="154"/>
                    <a:pt x="275" y="154"/>
                    <a:pt x="277" y="155"/>
                  </a:cubicBezTo>
                  <a:cubicBezTo>
                    <a:pt x="278" y="156"/>
                    <a:pt x="279" y="158"/>
                    <a:pt x="277" y="158"/>
                  </a:cubicBezTo>
                  <a:cubicBezTo>
                    <a:pt x="276" y="158"/>
                    <a:pt x="275" y="158"/>
                    <a:pt x="275" y="158"/>
                  </a:cubicBezTo>
                  <a:cubicBezTo>
                    <a:pt x="274" y="158"/>
                    <a:pt x="274" y="158"/>
                    <a:pt x="273" y="158"/>
                  </a:cubicBezTo>
                  <a:cubicBezTo>
                    <a:pt x="272" y="157"/>
                    <a:pt x="273" y="156"/>
                    <a:pt x="272" y="156"/>
                  </a:cubicBezTo>
                  <a:cubicBezTo>
                    <a:pt x="271" y="156"/>
                    <a:pt x="271" y="155"/>
                    <a:pt x="271" y="154"/>
                  </a:cubicBezTo>
                  <a:cubicBezTo>
                    <a:pt x="271" y="154"/>
                    <a:pt x="271" y="153"/>
                    <a:pt x="271" y="152"/>
                  </a:cubicBezTo>
                  <a:cubicBezTo>
                    <a:pt x="271" y="152"/>
                    <a:pt x="272" y="151"/>
                    <a:pt x="272" y="151"/>
                  </a:cubicBezTo>
                  <a:cubicBezTo>
                    <a:pt x="272" y="150"/>
                    <a:pt x="270" y="147"/>
                    <a:pt x="272" y="148"/>
                  </a:cubicBezTo>
                  <a:cubicBezTo>
                    <a:pt x="273" y="148"/>
                    <a:pt x="273" y="148"/>
                    <a:pt x="274" y="148"/>
                  </a:cubicBezTo>
                  <a:cubicBezTo>
                    <a:pt x="275" y="149"/>
                    <a:pt x="275" y="149"/>
                    <a:pt x="276" y="149"/>
                  </a:cubicBezTo>
                  <a:cubicBezTo>
                    <a:pt x="278" y="150"/>
                    <a:pt x="279" y="151"/>
                    <a:pt x="279" y="149"/>
                  </a:cubicBezTo>
                  <a:cubicBezTo>
                    <a:pt x="278" y="148"/>
                    <a:pt x="278" y="148"/>
                    <a:pt x="278" y="147"/>
                  </a:cubicBezTo>
                  <a:cubicBezTo>
                    <a:pt x="277" y="147"/>
                    <a:pt x="276" y="147"/>
                    <a:pt x="276" y="146"/>
                  </a:cubicBezTo>
                  <a:cubicBezTo>
                    <a:pt x="276" y="145"/>
                    <a:pt x="276" y="145"/>
                    <a:pt x="275" y="145"/>
                  </a:cubicBezTo>
                  <a:cubicBezTo>
                    <a:pt x="275" y="145"/>
                    <a:pt x="274" y="145"/>
                    <a:pt x="274" y="144"/>
                  </a:cubicBezTo>
                  <a:cubicBezTo>
                    <a:pt x="273" y="144"/>
                    <a:pt x="274" y="143"/>
                    <a:pt x="273" y="142"/>
                  </a:cubicBezTo>
                  <a:cubicBezTo>
                    <a:pt x="273" y="142"/>
                    <a:pt x="272" y="142"/>
                    <a:pt x="271" y="142"/>
                  </a:cubicBezTo>
                  <a:cubicBezTo>
                    <a:pt x="271" y="142"/>
                    <a:pt x="271" y="143"/>
                    <a:pt x="271" y="144"/>
                  </a:cubicBezTo>
                  <a:cubicBezTo>
                    <a:pt x="271" y="145"/>
                    <a:pt x="270" y="145"/>
                    <a:pt x="269" y="144"/>
                  </a:cubicBezTo>
                  <a:cubicBezTo>
                    <a:pt x="268" y="143"/>
                    <a:pt x="268" y="142"/>
                    <a:pt x="268" y="142"/>
                  </a:cubicBezTo>
                  <a:cubicBezTo>
                    <a:pt x="268" y="141"/>
                    <a:pt x="267" y="141"/>
                    <a:pt x="267" y="140"/>
                  </a:cubicBezTo>
                  <a:cubicBezTo>
                    <a:pt x="267" y="138"/>
                    <a:pt x="269" y="139"/>
                    <a:pt x="268" y="138"/>
                  </a:cubicBezTo>
                  <a:cubicBezTo>
                    <a:pt x="268" y="137"/>
                    <a:pt x="267" y="136"/>
                    <a:pt x="267" y="136"/>
                  </a:cubicBezTo>
                  <a:cubicBezTo>
                    <a:pt x="267" y="135"/>
                    <a:pt x="268" y="135"/>
                    <a:pt x="268" y="135"/>
                  </a:cubicBezTo>
                  <a:cubicBezTo>
                    <a:pt x="269" y="134"/>
                    <a:pt x="268" y="134"/>
                    <a:pt x="267" y="134"/>
                  </a:cubicBezTo>
                  <a:cubicBezTo>
                    <a:pt x="266" y="133"/>
                    <a:pt x="267" y="132"/>
                    <a:pt x="267" y="131"/>
                  </a:cubicBezTo>
                  <a:cubicBezTo>
                    <a:pt x="266" y="131"/>
                    <a:pt x="265" y="130"/>
                    <a:pt x="265" y="130"/>
                  </a:cubicBezTo>
                  <a:cubicBezTo>
                    <a:pt x="264" y="129"/>
                    <a:pt x="264" y="129"/>
                    <a:pt x="264" y="128"/>
                  </a:cubicBezTo>
                  <a:cubicBezTo>
                    <a:pt x="264" y="128"/>
                    <a:pt x="264" y="127"/>
                    <a:pt x="264" y="126"/>
                  </a:cubicBezTo>
                  <a:cubicBezTo>
                    <a:pt x="264" y="125"/>
                    <a:pt x="264" y="125"/>
                    <a:pt x="263" y="124"/>
                  </a:cubicBezTo>
                  <a:cubicBezTo>
                    <a:pt x="263" y="123"/>
                    <a:pt x="263" y="123"/>
                    <a:pt x="262" y="123"/>
                  </a:cubicBezTo>
                  <a:cubicBezTo>
                    <a:pt x="261" y="122"/>
                    <a:pt x="261" y="121"/>
                    <a:pt x="261" y="121"/>
                  </a:cubicBezTo>
                  <a:cubicBezTo>
                    <a:pt x="260" y="121"/>
                    <a:pt x="259" y="120"/>
                    <a:pt x="259" y="119"/>
                  </a:cubicBezTo>
                  <a:cubicBezTo>
                    <a:pt x="258" y="119"/>
                    <a:pt x="258" y="118"/>
                    <a:pt x="258" y="118"/>
                  </a:cubicBezTo>
                  <a:cubicBezTo>
                    <a:pt x="257" y="116"/>
                    <a:pt x="257" y="115"/>
                    <a:pt x="255" y="114"/>
                  </a:cubicBezTo>
                  <a:cubicBezTo>
                    <a:pt x="254" y="113"/>
                    <a:pt x="253" y="113"/>
                    <a:pt x="252" y="112"/>
                  </a:cubicBezTo>
                  <a:cubicBezTo>
                    <a:pt x="251" y="112"/>
                    <a:pt x="250" y="112"/>
                    <a:pt x="249" y="111"/>
                  </a:cubicBezTo>
                  <a:cubicBezTo>
                    <a:pt x="249" y="111"/>
                    <a:pt x="248" y="111"/>
                    <a:pt x="247" y="110"/>
                  </a:cubicBezTo>
                  <a:cubicBezTo>
                    <a:pt x="247" y="110"/>
                    <a:pt x="245" y="110"/>
                    <a:pt x="245" y="110"/>
                  </a:cubicBezTo>
                  <a:cubicBezTo>
                    <a:pt x="245" y="110"/>
                    <a:pt x="245" y="111"/>
                    <a:pt x="246" y="111"/>
                  </a:cubicBezTo>
                  <a:cubicBezTo>
                    <a:pt x="246" y="111"/>
                    <a:pt x="244" y="111"/>
                    <a:pt x="244" y="111"/>
                  </a:cubicBezTo>
                  <a:cubicBezTo>
                    <a:pt x="242" y="110"/>
                    <a:pt x="241" y="110"/>
                    <a:pt x="241" y="111"/>
                  </a:cubicBezTo>
                  <a:cubicBezTo>
                    <a:pt x="240" y="111"/>
                    <a:pt x="240" y="111"/>
                    <a:pt x="239" y="110"/>
                  </a:cubicBezTo>
                  <a:cubicBezTo>
                    <a:pt x="238" y="110"/>
                    <a:pt x="239" y="111"/>
                    <a:pt x="239" y="112"/>
                  </a:cubicBezTo>
                  <a:cubicBezTo>
                    <a:pt x="238" y="112"/>
                    <a:pt x="237" y="111"/>
                    <a:pt x="236" y="111"/>
                  </a:cubicBezTo>
                  <a:cubicBezTo>
                    <a:pt x="236" y="111"/>
                    <a:pt x="235" y="111"/>
                    <a:pt x="234" y="111"/>
                  </a:cubicBezTo>
                  <a:cubicBezTo>
                    <a:pt x="233" y="110"/>
                    <a:pt x="233" y="110"/>
                    <a:pt x="233" y="109"/>
                  </a:cubicBezTo>
                  <a:cubicBezTo>
                    <a:pt x="232" y="109"/>
                    <a:pt x="231" y="109"/>
                    <a:pt x="230" y="109"/>
                  </a:cubicBezTo>
                  <a:cubicBezTo>
                    <a:pt x="229" y="108"/>
                    <a:pt x="231" y="108"/>
                    <a:pt x="232" y="108"/>
                  </a:cubicBezTo>
                  <a:cubicBezTo>
                    <a:pt x="233" y="108"/>
                    <a:pt x="235" y="108"/>
                    <a:pt x="234" y="107"/>
                  </a:cubicBezTo>
                  <a:cubicBezTo>
                    <a:pt x="234" y="106"/>
                    <a:pt x="232" y="106"/>
                    <a:pt x="232" y="106"/>
                  </a:cubicBezTo>
                  <a:cubicBezTo>
                    <a:pt x="231" y="106"/>
                    <a:pt x="230" y="106"/>
                    <a:pt x="230" y="105"/>
                  </a:cubicBezTo>
                  <a:cubicBezTo>
                    <a:pt x="229" y="105"/>
                    <a:pt x="228" y="105"/>
                    <a:pt x="227" y="105"/>
                  </a:cubicBezTo>
                  <a:cubicBezTo>
                    <a:pt x="226" y="104"/>
                    <a:pt x="226" y="103"/>
                    <a:pt x="228" y="102"/>
                  </a:cubicBezTo>
                  <a:cubicBezTo>
                    <a:pt x="228" y="102"/>
                    <a:pt x="229" y="102"/>
                    <a:pt x="230" y="102"/>
                  </a:cubicBezTo>
                  <a:cubicBezTo>
                    <a:pt x="230" y="102"/>
                    <a:pt x="231" y="102"/>
                    <a:pt x="231" y="103"/>
                  </a:cubicBezTo>
                  <a:cubicBezTo>
                    <a:pt x="232" y="103"/>
                    <a:pt x="233" y="102"/>
                    <a:pt x="233" y="102"/>
                  </a:cubicBezTo>
                  <a:cubicBezTo>
                    <a:pt x="234" y="101"/>
                    <a:pt x="237" y="103"/>
                    <a:pt x="237" y="102"/>
                  </a:cubicBezTo>
                  <a:cubicBezTo>
                    <a:pt x="237" y="101"/>
                    <a:pt x="239" y="102"/>
                    <a:pt x="238" y="101"/>
                  </a:cubicBezTo>
                  <a:cubicBezTo>
                    <a:pt x="238" y="100"/>
                    <a:pt x="236" y="99"/>
                    <a:pt x="236" y="99"/>
                  </a:cubicBezTo>
                  <a:cubicBezTo>
                    <a:pt x="235" y="100"/>
                    <a:pt x="235" y="101"/>
                    <a:pt x="234" y="100"/>
                  </a:cubicBezTo>
                  <a:cubicBezTo>
                    <a:pt x="234" y="100"/>
                    <a:pt x="233" y="100"/>
                    <a:pt x="233" y="100"/>
                  </a:cubicBezTo>
                  <a:cubicBezTo>
                    <a:pt x="233" y="100"/>
                    <a:pt x="232" y="100"/>
                    <a:pt x="232" y="101"/>
                  </a:cubicBezTo>
                  <a:cubicBezTo>
                    <a:pt x="232" y="101"/>
                    <a:pt x="231" y="101"/>
                    <a:pt x="231" y="101"/>
                  </a:cubicBezTo>
                  <a:cubicBezTo>
                    <a:pt x="230" y="101"/>
                    <a:pt x="229" y="101"/>
                    <a:pt x="229" y="100"/>
                  </a:cubicBezTo>
                  <a:cubicBezTo>
                    <a:pt x="229" y="100"/>
                    <a:pt x="229" y="99"/>
                    <a:pt x="229" y="99"/>
                  </a:cubicBezTo>
                  <a:cubicBezTo>
                    <a:pt x="229" y="98"/>
                    <a:pt x="226" y="98"/>
                    <a:pt x="225" y="98"/>
                  </a:cubicBezTo>
                  <a:cubicBezTo>
                    <a:pt x="224" y="97"/>
                    <a:pt x="223" y="97"/>
                    <a:pt x="223" y="96"/>
                  </a:cubicBezTo>
                  <a:cubicBezTo>
                    <a:pt x="223" y="95"/>
                    <a:pt x="222" y="95"/>
                    <a:pt x="222" y="94"/>
                  </a:cubicBezTo>
                  <a:cubicBezTo>
                    <a:pt x="222" y="94"/>
                    <a:pt x="222" y="93"/>
                    <a:pt x="223" y="93"/>
                  </a:cubicBezTo>
                  <a:cubicBezTo>
                    <a:pt x="224" y="92"/>
                    <a:pt x="225" y="92"/>
                    <a:pt x="226" y="91"/>
                  </a:cubicBezTo>
                  <a:cubicBezTo>
                    <a:pt x="227" y="91"/>
                    <a:pt x="228" y="91"/>
                    <a:pt x="229" y="91"/>
                  </a:cubicBezTo>
                  <a:cubicBezTo>
                    <a:pt x="229" y="91"/>
                    <a:pt x="229" y="91"/>
                    <a:pt x="230" y="90"/>
                  </a:cubicBezTo>
                  <a:cubicBezTo>
                    <a:pt x="230" y="90"/>
                    <a:pt x="230" y="89"/>
                    <a:pt x="231" y="89"/>
                  </a:cubicBezTo>
                  <a:cubicBezTo>
                    <a:pt x="232" y="89"/>
                    <a:pt x="233" y="90"/>
                    <a:pt x="233" y="89"/>
                  </a:cubicBezTo>
                  <a:cubicBezTo>
                    <a:pt x="233" y="89"/>
                    <a:pt x="233" y="89"/>
                    <a:pt x="234" y="89"/>
                  </a:cubicBezTo>
                  <a:cubicBezTo>
                    <a:pt x="234" y="89"/>
                    <a:pt x="234" y="89"/>
                    <a:pt x="234" y="89"/>
                  </a:cubicBezTo>
                  <a:cubicBezTo>
                    <a:pt x="235" y="89"/>
                    <a:pt x="235" y="89"/>
                    <a:pt x="235" y="89"/>
                  </a:cubicBezTo>
                  <a:cubicBezTo>
                    <a:pt x="237" y="89"/>
                    <a:pt x="237" y="88"/>
                    <a:pt x="238" y="88"/>
                  </a:cubicBezTo>
                  <a:cubicBezTo>
                    <a:pt x="239" y="88"/>
                    <a:pt x="239" y="87"/>
                    <a:pt x="238" y="86"/>
                  </a:cubicBezTo>
                  <a:cubicBezTo>
                    <a:pt x="238" y="85"/>
                    <a:pt x="236" y="85"/>
                    <a:pt x="238" y="85"/>
                  </a:cubicBezTo>
                  <a:cubicBezTo>
                    <a:pt x="238" y="85"/>
                    <a:pt x="239" y="85"/>
                    <a:pt x="238" y="84"/>
                  </a:cubicBezTo>
                  <a:cubicBezTo>
                    <a:pt x="238" y="84"/>
                    <a:pt x="238" y="84"/>
                    <a:pt x="238" y="84"/>
                  </a:cubicBezTo>
                  <a:cubicBezTo>
                    <a:pt x="238" y="84"/>
                    <a:pt x="238" y="83"/>
                    <a:pt x="238" y="83"/>
                  </a:cubicBezTo>
                  <a:cubicBezTo>
                    <a:pt x="238" y="83"/>
                    <a:pt x="237" y="83"/>
                    <a:pt x="237" y="83"/>
                  </a:cubicBezTo>
                  <a:cubicBezTo>
                    <a:pt x="236" y="83"/>
                    <a:pt x="237" y="83"/>
                    <a:pt x="236" y="83"/>
                  </a:cubicBezTo>
                  <a:cubicBezTo>
                    <a:pt x="236" y="83"/>
                    <a:pt x="235" y="83"/>
                    <a:pt x="234" y="83"/>
                  </a:cubicBezTo>
                  <a:cubicBezTo>
                    <a:pt x="234" y="82"/>
                    <a:pt x="233" y="83"/>
                    <a:pt x="233" y="82"/>
                  </a:cubicBezTo>
                  <a:cubicBezTo>
                    <a:pt x="232" y="82"/>
                    <a:pt x="232" y="81"/>
                    <a:pt x="232" y="81"/>
                  </a:cubicBezTo>
                  <a:cubicBezTo>
                    <a:pt x="232" y="81"/>
                    <a:pt x="232" y="80"/>
                    <a:pt x="233" y="80"/>
                  </a:cubicBezTo>
                  <a:cubicBezTo>
                    <a:pt x="233" y="80"/>
                    <a:pt x="234" y="79"/>
                    <a:pt x="234" y="79"/>
                  </a:cubicBezTo>
                  <a:cubicBezTo>
                    <a:pt x="234" y="79"/>
                    <a:pt x="233" y="78"/>
                    <a:pt x="234" y="78"/>
                  </a:cubicBezTo>
                  <a:cubicBezTo>
                    <a:pt x="234" y="78"/>
                    <a:pt x="235" y="78"/>
                    <a:pt x="235" y="78"/>
                  </a:cubicBezTo>
                  <a:cubicBezTo>
                    <a:pt x="236" y="78"/>
                    <a:pt x="236" y="77"/>
                    <a:pt x="237" y="77"/>
                  </a:cubicBezTo>
                  <a:cubicBezTo>
                    <a:pt x="237" y="76"/>
                    <a:pt x="237" y="76"/>
                    <a:pt x="238" y="76"/>
                  </a:cubicBezTo>
                  <a:cubicBezTo>
                    <a:pt x="238" y="75"/>
                    <a:pt x="238" y="75"/>
                    <a:pt x="239" y="75"/>
                  </a:cubicBezTo>
                  <a:cubicBezTo>
                    <a:pt x="240" y="75"/>
                    <a:pt x="241" y="76"/>
                    <a:pt x="242" y="76"/>
                  </a:cubicBezTo>
                  <a:cubicBezTo>
                    <a:pt x="244" y="76"/>
                    <a:pt x="243" y="75"/>
                    <a:pt x="243" y="74"/>
                  </a:cubicBezTo>
                  <a:cubicBezTo>
                    <a:pt x="243" y="74"/>
                    <a:pt x="244" y="73"/>
                    <a:pt x="243" y="72"/>
                  </a:cubicBezTo>
                  <a:cubicBezTo>
                    <a:pt x="242" y="72"/>
                    <a:pt x="241" y="71"/>
                    <a:pt x="242" y="70"/>
                  </a:cubicBezTo>
                  <a:cubicBezTo>
                    <a:pt x="242" y="70"/>
                    <a:pt x="243" y="70"/>
                    <a:pt x="244" y="70"/>
                  </a:cubicBezTo>
                  <a:cubicBezTo>
                    <a:pt x="245" y="71"/>
                    <a:pt x="245" y="71"/>
                    <a:pt x="247" y="72"/>
                  </a:cubicBezTo>
                  <a:cubicBezTo>
                    <a:pt x="247" y="72"/>
                    <a:pt x="248" y="72"/>
                    <a:pt x="248" y="73"/>
                  </a:cubicBezTo>
                  <a:cubicBezTo>
                    <a:pt x="249" y="73"/>
                    <a:pt x="249" y="74"/>
                    <a:pt x="250" y="74"/>
                  </a:cubicBezTo>
                  <a:close/>
                  <a:moveTo>
                    <a:pt x="100" y="147"/>
                  </a:moveTo>
                  <a:cubicBezTo>
                    <a:pt x="101" y="146"/>
                    <a:pt x="101" y="145"/>
                    <a:pt x="102" y="144"/>
                  </a:cubicBezTo>
                  <a:cubicBezTo>
                    <a:pt x="102" y="142"/>
                    <a:pt x="103" y="141"/>
                    <a:pt x="103" y="140"/>
                  </a:cubicBezTo>
                  <a:cubicBezTo>
                    <a:pt x="103" y="139"/>
                    <a:pt x="103" y="138"/>
                    <a:pt x="103" y="137"/>
                  </a:cubicBezTo>
                  <a:cubicBezTo>
                    <a:pt x="104" y="137"/>
                    <a:pt x="104" y="138"/>
                    <a:pt x="105" y="137"/>
                  </a:cubicBezTo>
                  <a:cubicBezTo>
                    <a:pt x="105" y="137"/>
                    <a:pt x="106" y="136"/>
                    <a:pt x="106" y="136"/>
                  </a:cubicBezTo>
                  <a:cubicBezTo>
                    <a:pt x="105" y="135"/>
                    <a:pt x="104" y="135"/>
                    <a:pt x="105" y="134"/>
                  </a:cubicBezTo>
                  <a:cubicBezTo>
                    <a:pt x="105" y="133"/>
                    <a:pt x="105" y="133"/>
                    <a:pt x="105" y="133"/>
                  </a:cubicBezTo>
                  <a:cubicBezTo>
                    <a:pt x="106" y="132"/>
                    <a:pt x="106" y="132"/>
                    <a:pt x="107" y="132"/>
                  </a:cubicBezTo>
                  <a:cubicBezTo>
                    <a:pt x="107" y="131"/>
                    <a:pt x="108" y="131"/>
                    <a:pt x="109" y="131"/>
                  </a:cubicBezTo>
                  <a:cubicBezTo>
                    <a:pt x="109" y="131"/>
                    <a:pt x="110" y="131"/>
                    <a:pt x="111" y="130"/>
                  </a:cubicBezTo>
                  <a:cubicBezTo>
                    <a:pt x="111" y="129"/>
                    <a:pt x="111" y="129"/>
                    <a:pt x="112" y="129"/>
                  </a:cubicBezTo>
                  <a:cubicBezTo>
                    <a:pt x="113" y="129"/>
                    <a:pt x="113" y="130"/>
                    <a:pt x="113" y="130"/>
                  </a:cubicBezTo>
                  <a:cubicBezTo>
                    <a:pt x="114" y="131"/>
                    <a:pt x="114" y="131"/>
                    <a:pt x="115" y="131"/>
                  </a:cubicBezTo>
                  <a:cubicBezTo>
                    <a:pt x="115" y="131"/>
                    <a:pt x="116" y="132"/>
                    <a:pt x="116" y="132"/>
                  </a:cubicBezTo>
                  <a:cubicBezTo>
                    <a:pt x="117" y="132"/>
                    <a:pt x="117" y="131"/>
                    <a:pt x="117" y="131"/>
                  </a:cubicBezTo>
                  <a:cubicBezTo>
                    <a:pt x="120" y="128"/>
                    <a:pt x="121" y="132"/>
                    <a:pt x="122" y="132"/>
                  </a:cubicBezTo>
                  <a:cubicBezTo>
                    <a:pt x="122" y="133"/>
                    <a:pt x="123" y="133"/>
                    <a:pt x="123" y="134"/>
                  </a:cubicBezTo>
                  <a:cubicBezTo>
                    <a:pt x="123" y="135"/>
                    <a:pt x="122" y="135"/>
                    <a:pt x="121" y="136"/>
                  </a:cubicBezTo>
                  <a:cubicBezTo>
                    <a:pt x="120" y="136"/>
                    <a:pt x="119" y="137"/>
                    <a:pt x="118" y="137"/>
                  </a:cubicBezTo>
                  <a:cubicBezTo>
                    <a:pt x="118" y="138"/>
                    <a:pt x="117" y="138"/>
                    <a:pt x="117" y="139"/>
                  </a:cubicBezTo>
                  <a:cubicBezTo>
                    <a:pt x="116" y="139"/>
                    <a:pt x="116" y="140"/>
                    <a:pt x="115" y="141"/>
                  </a:cubicBezTo>
                  <a:cubicBezTo>
                    <a:pt x="114" y="141"/>
                    <a:pt x="114" y="142"/>
                    <a:pt x="113" y="143"/>
                  </a:cubicBezTo>
                  <a:cubicBezTo>
                    <a:pt x="113" y="143"/>
                    <a:pt x="112" y="144"/>
                    <a:pt x="112" y="144"/>
                  </a:cubicBezTo>
                  <a:cubicBezTo>
                    <a:pt x="110" y="145"/>
                    <a:pt x="111" y="147"/>
                    <a:pt x="110" y="149"/>
                  </a:cubicBezTo>
                  <a:cubicBezTo>
                    <a:pt x="109" y="150"/>
                    <a:pt x="108" y="150"/>
                    <a:pt x="106" y="151"/>
                  </a:cubicBezTo>
                  <a:cubicBezTo>
                    <a:pt x="105" y="152"/>
                    <a:pt x="105" y="153"/>
                    <a:pt x="104" y="154"/>
                  </a:cubicBezTo>
                  <a:cubicBezTo>
                    <a:pt x="103" y="154"/>
                    <a:pt x="103" y="153"/>
                    <a:pt x="103" y="153"/>
                  </a:cubicBezTo>
                  <a:cubicBezTo>
                    <a:pt x="103" y="152"/>
                    <a:pt x="103" y="152"/>
                    <a:pt x="102" y="151"/>
                  </a:cubicBezTo>
                  <a:cubicBezTo>
                    <a:pt x="101" y="150"/>
                    <a:pt x="101" y="149"/>
                    <a:pt x="100" y="149"/>
                  </a:cubicBezTo>
                  <a:cubicBezTo>
                    <a:pt x="99" y="149"/>
                    <a:pt x="100" y="147"/>
                    <a:pt x="100" y="147"/>
                  </a:cubicBezTo>
                  <a:close/>
                  <a:moveTo>
                    <a:pt x="38" y="191"/>
                  </a:moveTo>
                  <a:cubicBezTo>
                    <a:pt x="38" y="190"/>
                    <a:pt x="36" y="192"/>
                    <a:pt x="36" y="193"/>
                  </a:cubicBezTo>
                  <a:cubicBezTo>
                    <a:pt x="35" y="194"/>
                    <a:pt x="35" y="194"/>
                    <a:pt x="34" y="195"/>
                  </a:cubicBezTo>
                  <a:cubicBezTo>
                    <a:pt x="34" y="195"/>
                    <a:pt x="33" y="195"/>
                    <a:pt x="33" y="195"/>
                  </a:cubicBezTo>
                  <a:cubicBezTo>
                    <a:pt x="32" y="197"/>
                    <a:pt x="33" y="198"/>
                    <a:pt x="34" y="198"/>
                  </a:cubicBezTo>
                  <a:cubicBezTo>
                    <a:pt x="34" y="198"/>
                    <a:pt x="34" y="198"/>
                    <a:pt x="34" y="199"/>
                  </a:cubicBezTo>
                  <a:cubicBezTo>
                    <a:pt x="34" y="199"/>
                    <a:pt x="34" y="199"/>
                    <a:pt x="34" y="199"/>
                  </a:cubicBezTo>
                  <a:cubicBezTo>
                    <a:pt x="36" y="199"/>
                    <a:pt x="38" y="199"/>
                    <a:pt x="40" y="199"/>
                  </a:cubicBezTo>
                  <a:cubicBezTo>
                    <a:pt x="40" y="199"/>
                    <a:pt x="40" y="199"/>
                    <a:pt x="40" y="199"/>
                  </a:cubicBezTo>
                  <a:cubicBezTo>
                    <a:pt x="40" y="198"/>
                    <a:pt x="40" y="199"/>
                    <a:pt x="40" y="199"/>
                  </a:cubicBezTo>
                  <a:cubicBezTo>
                    <a:pt x="41" y="199"/>
                    <a:pt x="42" y="199"/>
                    <a:pt x="43" y="199"/>
                  </a:cubicBezTo>
                  <a:cubicBezTo>
                    <a:pt x="57" y="200"/>
                    <a:pt x="72" y="207"/>
                    <a:pt x="90" y="219"/>
                  </a:cubicBezTo>
                  <a:cubicBezTo>
                    <a:pt x="109" y="231"/>
                    <a:pt x="132" y="248"/>
                    <a:pt x="158" y="262"/>
                  </a:cubicBezTo>
                  <a:cubicBezTo>
                    <a:pt x="165" y="266"/>
                    <a:pt x="172" y="269"/>
                    <a:pt x="179" y="272"/>
                  </a:cubicBezTo>
                  <a:cubicBezTo>
                    <a:pt x="179" y="272"/>
                    <a:pt x="179" y="272"/>
                    <a:pt x="179" y="272"/>
                  </a:cubicBezTo>
                  <a:cubicBezTo>
                    <a:pt x="180" y="272"/>
                    <a:pt x="181" y="271"/>
                    <a:pt x="182" y="271"/>
                  </a:cubicBezTo>
                  <a:cubicBezTo>
                    <a:pt x="182" y="271"/>
                    <a:pt x="183" y="270"/>
                    <a:pt x="184" y="270"/>
                  </a:cubicBezTo>
                  <a:cubicBezTo>
                    <a:pt x="185" y="269"/>
                    <a:pt x="184" y="267"/>
                    <a:pt x="186" y="267"/>
                  </a:cubicBezTo>
                  <a:cubicBezTo>
                    <a:pt x="187" y="267"/>
                    <a:pt x="187" y="268"/>
                    <a:pt x="188" y="268"/>
                  </a:cubicBezTo>
                  <a:cubicBezTo>
                    <a:pt x="188" y="269"/>
                    <a:pt x="188" y="269"/>
                    <a:pt x="188" y="268"/>
                  </a:cubicBezTo>
                  <a:cubicBezTo>
                    <a:pt x="189" y="267"/>
                    <a:pt x="190" y="269"/>
                    <a:pt x="190" y="270"/>
                  </a:cubicBezTo>
                  <a:cubicBezTo>
                    <a:pt x="191" y="271"/>
                    <a:pt x="191" y="271"/>
                    <a:pt x="192" y="271"/>
                  </a:cubicBezTo>
                  <a:cubicBezTo>
                    <a:pt x="194" y="271"/>
                    <a:pt x="195" y="272"/>
                    <a:pt x="195" y="274"/>
                  </a:cubicBezTo>
                  <a:cubicBezTo>
                    <a:pt x="196" y="277"/>
                    <a:pt x="192" y="276"/>
                    <a:pt x="191" y="276"/>
                  </a:cubicBezTo>
                  <a:cubicBezTo>
                    <a:pt x="190" y="276"/>
                    <a:pt x="189" y="276"/>
                    <a:pt x="189" y="277"/>
                  </a:cubicBezTo>
                  <a:cubicBezTo>
                    <a:pt x="191" y="278"/>
                    <a:pt x="193" y="279"/>
                    <a:pt x="195" y="279"/>
                  </a:cubicBezTo>
                  <a:cubicBezTo>
                    <a:pt x="195" y="279"/>
                    <a:pt x="196" y="279"/>
                    <a:pt x="196" y="279"/>
                  </a:cubicBezTo>
                  <a:cubicBezTo>
                    <a:pt x="196" y="279"/>
                    <a:pt x="198" y="279"/>
                    <a:pt x="199" y="280"/>
                  </a:cubicBezTo>
                  <a:cubicBezTo>
                    <a:pt x="199" y="280"/>
                    <a:pt x="200" y="281"/>
                    <a:pt x="201" y="282"/>
                  </a:cubicBezTo>
                  <a:cubicBezTo>
                    <a:pt x="203" y="282"/>
                    <a:pt x="202" y="281"/>
                    <a:pt x="203" y="280"/>
                  </a:cubicBezTo>
                  <a:cubicBezTo>
                    <a:pt x="204" y="279"/>
                    <a:pt x="206" y="279"/>
                    <a:pt x="207" y="280"/>
                  </a:cubicBezTo>
                  <a:cubicBezTo>
                    <a:pt x="208" y="281"/>
                    <a:pt x="209" y="283"/>
                    <a:pt x="208" y="285"/>
                  </a:cubicBezTo>
                  <a:cubicBezTo>
                    <a:pt x="210" y="286"/>
                    <a:pt x="212" y="286"/>
                    <a:pt x="215" y="287"/>
                  </a:cubicBezTo>
                  <a:cubicBezTo>
                    <a:pt x="216" y="286"/>
                    <a:pt x="219" y="285"/>
                    <a:pt x="219" y="288"/>
                  </a:cubicBezTo>
                  <a:cubicBezTo>
                    <a:pt x="219" y="288"/>
                    <a:pt x="219" y="288"/>
                    <a:pt x="219" y="289"/>
                  </a:cubicBezTo>
                  <a:cubicBezTo>
                    <a:pt x="224" y="290"/>
                    <a:pt x="229" y="292"/>
                    <a:pt x="233" y="293"/>
                  </a:cubicBezTo>
                  <a:cubicBezTo>
                    <a:pt x="233" y="293"/>
                    <a:pt x="234" y="292"/>
                    <a:pt x="234" y="291"/>
                  </a:cubicBezTo>
                  <a:cubicBezTo>
                    <a:pt x="234" y="291"/>
                    <a:pt x="234" y="291"/>
                    <a:pt x="235" y="291"/>
                  </a:cubicBezTo>
                  <a:cubicBezTo>
                    <a:pt x="236" y="291"/>
                    <a:pt x="235" y="290"/>
                    <a:pt x="236" y="289"/>
                  </a:cubicBezTo>
                  <a:cubicBezTo>
                    <a:pt x="236" y="289"/>
                    <a:pt x="236" y="288"/>
                    <a:pt x="237" y="287"/>
                  </a:cubicBezTo>
                  <a:cubicBezTo>
                    <a:pt x="237" y="286"/>
                    <a:pt x="237" y="287"/>
                    <a:pt x="238" y="287"/>
                  </a:cubicBezTo>
                  <a:cubicBezTo>
                    <a:pt x="239" y="288"/>
                    <a:pt x="240" y="285"/>
                    <a:pt x="241" y="285"/>
                  </a:cubicBezTo>
                  <a:cubicBezTo>
                    <a:pt x="242" y="285"/>
                    <a:pt x="247" y="284"/>
                    <a:pt x="247" y="283"/>
                  </a:cubicBezTo>
                  <a:cubicBezTo>
                    <a:pt x="246" y="282"/>
                    <a:pt x="248" y="282"/>
                    <a:pt x="249" y="281"/>
                  </a:cubicBezTo>
                  <a:cubicBezTo>
                    <a:pt x="250" y="280"/>
                    <a:pt x="251" y="280"/>
                    <a:pt x="251" y="279"/>
                  </a:cubicBezTo>
                  <a:cubicBezTo>
                    <a:pt x="252" y="279"/>
                    <a:pt x="253" y="281"/>
                    <a:pt x="253" y="281"/>
                  </a:cubicBezTo>
                  <a:cubicBezTo>
                    <a:pt x="252" y="282"/>
                    <a:pt x="251" y="282"/>
                    <a:pt x="251" y="282"/>
                  </a:cubicBezTo>
                  <a:cubicBezTo>
                    <a:pt x="250" y="283"/>
                    <a:pt x="249" y="283"/>
                    <a:pt x="249" y="284"/>
                  </a:cubicBezTo>
                  <a:cubicBezTo>
                    <a:pt x="248" y="285"/>
                    <a:pt x="248" y="286"/>
                    <a:pt x="249" y="287"/>
                  </a:cubicBezTo>
                  <a:cubicBezTo>
                    <a:pt x="249" y="287"/>
                    <a:pt x="249" y="288"/>
                    <a:pt x="250" y="288"/>
                  </a:cubicBezTo>
                  <a:cubicBezTo>
                    <a:pt x="251" y="289"/>
                    <a:pt x="252" y="286"/>
                    <a:pt x="253" y="285"/>
                  </a:cubicBezTo>
                  <a:cubicBezTo>
                    <a:pt x="253" y="285"/>
                    <a:pt x="254" y="284"/>
                    <a:pt x="254" y="283"/>
                  </a:cubicBezTo>
                  <a:cubicBezTo>
                    <a:pt x="255" y="282"/>
                    <a:pt x="257" y="283"/>
                    <a:pt x="258" y="282"/>
                  </a:cubicBezTo>
                  <a:cubicBezTo>
                    <a:pt x="258" y="282"/>
                    <a:pt x="262" y="281"/>
                    <a:pt x="262" y="279"/>
                  </a:cubicBezTo>
                  <a:cubicBezTo>
                    <a:pt x="261" y="279"/>
                    <a:pt x="260" y="279"/>
                    <a:pt x="259" y="278"/>
                  </a:cubicBezTo>
                  <a:cubicBezTo>
                    <a:pt x="259" y="277"/>
                    <a:pt x="258" y="277"/>
                    <a:pt x="257" y="277"/>
                  </a:cubicBezTo>
                  <a:cubicBezTo>
                    <a:pt x="256" y="277"/>
                    <a:pt x="255" y="276"/>
                    <a:pt x="254" y="275"/>
                  </a:cubicBezTo>
                  <a:cubicBezTo>
                    <a:pt x="252" y="275"/>
                    <a:pt x="252" y="273"/>
                    <a:pt x="252" y="271"/>
                  </a:cubicBezTo>
                  <a:cubicBezTo>
                    <a:pt x="253" y="269"/>
                    <a:pt x="256" y="266"/>
                    <a:pt x="253" y="264"/>
                  </a:cubicBezTo>
                  <a:cubicBezTo>
                    <a:pt x="251" y="264"/>
                    <a:pt x="250" y="263"/>
                    <a:pt x="248" y="264"/>
                  </a:cubicBezTo>
                  <a:cubicBezTo>
                    <a:pt x="247" y="264"/>
                    <a:pt x="246" y="265"/>
                    <a:pt x="244" y="265"/>
                  </a:cubicBezTo>
                  <a:cubicBezTo>
                    <a:pt x="244" y="266"/>
                    <a:pt x="243" y="266"/>
                    <a:pt x="243" y="267"/>
                  </a:cubicBezTo>
                  <a:cubicBezTo>
                    <a:pt x="242" y="268"/>
                    <a:pt x="241" y="268"/>
                    <a:pt x="241" y="269"/>
                  </a:cubicBezTo>
                  <a:cubicBezTo>
                    <a:pt x="240" y="269"/>
                    <a:pt x="240" y="272"/>
                    <a:pt x="240" y="272"/>
                  </a:cubicBezTo>
                  <a:cubicBezTo>
                    <a:pt x="240" y="271"/>
                    <a:pt x="239" y="271"/>
                    <a:pt x="239" y="270"/>
                  </a:cubicBezTo>
                  <a:cubicBezTo>
                    <a:pt x="239" y="269"/>
                    <a:pt x="240" y="268"/>
                    <a:pt x="240" y="268"/>
                  </a:cubicBezTo>
                  <a:cubicBezTo>
                    <a:pt x="241" y="266"/>
                    <a:pt x="242" y="265"/>
                    <a:pt x="244" y="264"/>
                  </a:cubicBezTo>
                  <a:cubicBezTo>
                    <a:pt x="245" y="264"/>
                    <a:pt x="246" y="263"/>
                    <a:pt x="246" y="262"/>
                  </a:cubicBezTo>
                  <a:cubicBezTo>
                    <a:pt x="247" y="262"/>
                    <a:pt x="247" y="261"/>
                    <a:pt x="248" y="260"/>
                  </a:cubicBezTo>
                  <a:cubicBezTo>
                    <a:pt x="249" y="260"/>
                    <a:pt x="250" y="260"/>
                    <a:pt x="251" y="260"/>
                  </a:cubicBezTo>
                  <a:cubicBezTo>
                    <a:pt x="252" y="260"/>
                    <a:pt x="252" y="260"/>
                    <a:pt x="253" y="261"/>
                  </a:cubicBezTo>
                  <a:cubicBezTo>
                    <a:pt x="253" y="263"/>
                    <a:pt x="254" y="264"/>
                    <a:pt x="255" y="265"/>
                  </a:cubicBezTo>
                  <a:cubicBezTo>
                    <a:pt x="256" y="265"/>
                    <a:pt x="258" y="264"/>
                    <a:pt x="260" y="264"/>
                  </a:cubicBezTo>
                  <a:cubicBezTo>
                    <a:pt x="260" y="264"/>
                    <a:pt x="261" y="264"/>
                    <a:pt x="261" y="263"/>
                  </a:cubicBezTo>
                  <a:cubicBezTo>
                    <a:pt x="262" y="262"/>
                    <a:pt x="262" y="261"/>
                    <a:pt x="263" y="261"/>
                  </a:cubicBezTo>
                  <a:cubicBezTo>
                    <a:pt x="265" y="260"/>
                    <a:pt x="267" y="261"/>
                    <a:pt x="268" y="262"/>
                  </a:cubicBezTo>
                  <a:cubicBezTo>
                    <a:pt x="267" y="263"/>
                    <a:pt x="268" y="265"/>
                    <a:pt x="267" y="265"/>
                  </a:cubicBezTo>
                  <a:cubicBezTo>
                    <a:pt x="267" y="266"/>
                    <a:pt x="264" y="266"/>
                    <a:pt x="265" y="267"/>
                  </a:cubicBezTo>
                  <a:cubicBezTo>
                    <a:pt x="265" y="267"/>
                    <a:pt x="266" y="267"/>
                    <a:pt x="266" y="268"/>
                  </a:cubicBezTo>
                  <a:cubicBezTo>
                    <a:pt x="266" y="268"/>
                    <a:pt x="266" y="268"/>
                    <a:pt x="265" y="269"/>
                  </a:cubicBezTo>
                  <a:cubicBezTo>
                    <a:pt x="265" y="270"/>
                    <a:pt x="264" y="271"/>
                    <a:pt x="266" y="271"/>
                  </a:cubicBezTo>
                  <a:cubicBezTo>
                    <a:pt x="267" y="271"/>
                    <a:pt x="267" y="270"/>
                    <a:pt x="268" y="270"/>
                  </a:cubicBezTo>
                  <a:cubicBezTo>
                    <a:pt x="269" y="270"/>
                    <a:pt x="270" y="270"/>
                    <a:pt x="271" y="270"/>
                  </a:cubicBezTo>
                  <a:cubicBezTo>
                    <a:pt x="272" y="270"/>
                    <a:pt x="272" y="269"/>
                    <a:pt x="273" y="270"/>
                  </a:cubicBezTo>
                  <a:cubicBezTo>
                    <a:pt x="273" y="271"/>
                    <a:pt x="274" y="271"/>
                    <a:pt x="274" y="272"/>
                  </a:cubicBezTo>
                  <a:cubicBezTo>
                    <a:pt x="273" y="273"/>
                    <a:pt x="272" y="272"/>
                    <a:pt x="272" y="272"/>
                  </a:cubicBezTo>
                  <a:cubicBezTo>
                    <a:pt x="271" y="273"/>
                    <a:pt x="272" y="274"/>
                    <a:pt x="272" y="274"/>
                  </a:cubicBezTo>
                  <a:cubicBezTo>
                    <a:pt x="273" y="274"/>
                    <a:pt x="274" y="274"/>
                    <a:pt x="274" y="273"/>
                  </a:cubicBezTo>
                  <a:cubicBezTo>
                    <a:pt x="275" y="272"/>
                    <a:pt x="275" y="271"/>
                    <a:pt x="276" y="271"/>
                  </a:cubicBezTo>
                  <a:cubicBezTo>
                    <a:pt x="277" y="271"/>
                    <a:pt x="278" y="271"/>
                    <a:pt x="278" y="270"/>
                  </a:cubicBezTo>
                  <a:cubicBezTo>
                    <a:pt x="278" y="269"/>
                    <a:pt x="278" y="268"/>
                    <a:pt x="278" y="269"/>
                  </a:cubicBezTo>
                  <a:cubicBezTo>
                    <a:pt x="279" y="269"/>
                    <a:pt x="277" y="272"/>
                    <a:pt x="278" y="273"/>
                  </a:cubicBezTo>
                  <a:cubicBezTo>
                    <a:pt x="278" y="274"/>
                    <a:pt x="279" y="275"/>
                    <a:pt x="279" y="274"/>
                  </a:cubicBezTo>
                  <a:cubicBezTo>
                    <a:pt x="280" y="274"/>
                    <a:pt x="280" y="272"/>
                    <a:pt x="280" y="271"/>
                  </a:cubicBezTo>
                  <a:cubicBezTo>
                    <a:pt x="281" y="271"/>
                    <a:pt x="281" y="270"/>
                    <a:pt x="281" y="269"/>
                  </a:cubicBezTo>
                  <a:cubicBezTo>
                    <a:pt x="280" y="268"/>
                    <a:pt x="280" y="268"/>
                    <a:pt x="280" y="266"/>
                  </a:cubicBezTo>
                  <a:cubicBezTo>
                    <a:pt x="280" y="265"/>
                    <a:pt x="280" y="262"/>
                    <a:pt x="279" y="262"/>
                  </a:cubicBezTo>
                  <a:cubicBezTo>
                    <a:pt x="277" y="262"/>
                    <a:pt x="279" y="264"/>
                    <a:pt x="278" y="265"/>
                  </a:cubicBezTo>
                  <a:cubicBezTo>
                    <a:pt x="276" y="266"/>
                    <a:pt x="276" y="264"/>
                    <a:pt x="275" y="263"/>
                  </a:cubicBezTo>
                  <a:cubicBezTo>
                    <a:pt x="275" y="262"/>
                    <a:pt x="274" y="263"/>
                    <a:pt x="274" y="263"/>
                  </a:cubicBezTo>
                  <a:cubicBezTo>
                    <a:pt x="272" y="264"/>
                    <a:pt x="272" y="263"/>
                    <a:pt x="272" y="262"/>
                  </a:cubicBezTo>
                  <a:cubicBezTo>
                    <a:pt x="271" y="261"/>
                    <a:pt x="272" y="260"/>
                    <a:pt x="272" y="259"/>
                  </a:cubicBezTo>
                  <a:cubicBezTo>
                    <a:pt x="272" y="258"/>
                    <a:pt x="273" y="259"/>
                    <a:pt x="273" y="259"/>
                  </a:cubicBezTo>
                  <a:cubicBezTo>
                    <a:pt x="273" y="257"/>
                    <a:pt x="276" y="257"/>
                    <a:pt x="276" y="255"/>
                  </a:cubicBezTo>
                  <a:cubicBezTo>
                    <a:pt x="275" y="254"/>
                    <a:pt x="275" y="253"/>
                    <a:pt x="275" y="252"/>
                  </a:cubicBezTo>
                  <a:cubicBezTo>
                    <a:pt x="274" y="251"/>
                    <a:pt x="273" y="250"/>
                    <a:pt x="274" y="250"/>
                  </a:cubicBezTo>
                  <a:cubicBezTo>
                    <a:pt x="275" y="249"/>
                    <a:pt x="275" y="249"/>
                    <a:pt x="275" y="248"/>
                  </a:cubicBezTo>
                  <a:cubicBezTo>
                    <a:pt x="275" y="247"/>
                    <a:pt x="275" y="246"/>
                    <a:pt x="275" y="246"/>
                  </a:cubicBezTo>
                  <a:cubicBezTo>
                    <a:pt x="274" y="245"/>
                    <a:pt x="272" y="244"/>
                    <a:pt x="271" y="244"/>
                  </a:cubicBezTo>
                  <a:cubicBezTo>
                    <a:pt x="269" y="243"/>
                    <a:pt x="272" y="242"/>
                    <a:pt x="271" y="241"/>
                  </a:cubicBezTo>
                  <a:cubicBezTo>
                    <a:pt x="271" y="240"/>
                    <a:pt x="270" y="239"/>
                    <a:pt x="270" y="239"/>
                  </a:cubicBezTo>
                  <a:cubicBezTo>
                    <a:pt x="269" y="239"/>
                    <a:pt x="269" y="239"/>
                    <a:pt x="268" y="238"/>
                  </a:cubicBezTo>
                  <a:cubicBezTo>
                    <a:pt x="268" y="238"/>
                    <a:pt x="267" y="237"/>
                    <a:pt x="267" y="237"/>
                  </a:cubicBezTo>
                  <a:cubicBezTo>
                    <a:pt x="267" y="236"/>
                    <a:pt x="266" y="236"/>
                    <a:pt x="265" y="236"/>
                  </a:cubicBezTo>
                  <a:cubicBezTo>
                    <a:pt x="265" y="235"/>
                    <a:pt x="265" y="235"/>
                    <a:pt x="264" y="235"/>
                  </a:cubicBezTo>
                  <a:cubicBezTo>
                    <a:pt x="263" y="235"/>
                    <a:pt x="262" y="234"/>
                    <a:pt x="262" y="234"/>
                  </a:cubicBezTo>
                  <a:cubicBezTo>
                    <a:pt x="261" y="232"/>
                    <a:pt x="260" y="230"/>
                    <a:pt x="259" y="229"/>
                  </a:cubicBezTo>
                  <a:cubicBezTo>
                    <a:pt x="259" y="228"/>
                    <a:pt x="260" y="227"/>
                    <a:pt x="260" y="226"/>
                  </a:cubicBezTo>
                  <a:cubicBezTo>
                    <a:pt x="260" y="225"/>
                    <a:pt x="259" y="224"/>
                    <a:pt x="259" y="224"/>
                  </a:cubicBezTo>
                  <a:cubicBezTo>
                    <a:pt x="258" y="222"/>
                    <a:pt x="258" y="221"/>
                    <a:pt x="257" y="220"/>
                  </a:cubicBezTo>
                  <a:cubicBezTo>
                    <a:pt x="256" y="219"/>
                    <a:pt x="256" y="218"/>
                    <a:pt x="255" y="217"/>
                  </a:cubicBezTo>
                  <a:cubicBezTo>
                    <a:pt x="255" y="214"/>
                    <a:pt x="253" y="213"/>
                    <a:pt x="252" y="210"/>
                  </a:cubicBezTo>
                  <a:cubicBezTo>
                    <a:pt x="251" y="209"/>
                    <a:pt x="252" y="208"/>
                    <a:pt x="252" y="206"/>
                  </a:cubicBezTo>
                  <a:cubicBezTo>
                    <a:pt x="252" y="205"/>
                    <a:pt x="251" y="205"/>
                    <a:pt x="251" y="207"/>
                  </a:cubicBezTo>
                  <a:cubicBezTo>
                    <a:pt x="252" y="209"/>
                    <a:pt x="251" y="209"/>
                    <a:pt x="250" y="210"/>
                  </a:cubicBezTo>
                  <a:cubicBezTo>
                    <a:pt x="248" y="211"/>
                    <a:pt x="250" y="212"/>
                    <a:pt x="249" y="213"/>
                  </a:cubicBezTo>
                  <a:cubicBezTo>
                    <a:pt x="249" y="214"/>
                    <a:pt x="249" y="216"/>
                    <a:pt x="248" y="217"/>
                  </a:cubicBezTo>
                  <a:cubicBezTo>
                    <a:pt x="248" y="217"/>
                    <a:pt x="248" y="217"/>
                    <a:pt x="247" y="218"/>
                  </a:cubicBezTo>
                  <a:cubicBezTo>
                    <a:pt x="247" y="218"/>
                    <a:pt x="247" y="219"/>
                    <a:pt x="246" y="219"/>
                  </a:cubicBezTo>
                  <a:cubicBezTo>
                    <a:pt x="246" y="220"/>
                    <a:pt x="245" y="221"/>
                    <a:pt x="244" y="220"/>
                  </a:cubicBezTo>
                  <a:cubicBezTo>
                    <a:pt x="243" y="219"/>
                    <a:pt x="243" y="217"/>
                    <a:pt x="242" y="217"/>
                  </a:cubicBezTo>
                  <a:cubicBezTo>
                    <a:pt x="241" y="217"/>
                    <a:pt x="240" y="218"/>
                    <a:pt x="240" y="217"/>
                  </a:cubicBezTo>
                  <a:cubicBezTo>
                    <a:pt x="239" y="217"/>
                    <a:pt x="240" y="216"/>
                    <a:pt x="239" y="216"/>
                  </a:cubicBezTo>
                  <a:cubicBezTo>
                    <a:pt x="239" y="215"/>
                    <a:pt x="239" y="214"/>
                    <a:pt x="238" y="214"/>
                  </a:cubicBezTo>
                  <a:cubicBezTo>
                    <a:pt x="238" y="214"/>
                    <a:pt x="238" y="213"/>
                    <a:pt x="238" y="213"/>
                  </a:cubicBezTo>
                  <a:cubicBezTo>
                    <a:pt x="238" y="212"/>
                    <a:pt x="238" y="211"/>
                    <a:pt x="238" y="210"/>
                  </a:cubicBezTo>
                  <a:cubicBezTo>
                    <a:pt x="238" y="209"/>
                    <a:pt x="237" y="209"/>
                    <a:pt x="237" y="208"/>
                  </a:cubicBezTo>
                  <a:cubicBezTo>
                    <a:pt x="237" y="207"/>
                    <a:pt x="240" y="205"/>
                    <a:pt x="238" y="204"/>
                  </a:cubicBezTo>
                  <a:cubicBezTo>
                    <a:pt x="237" y="204"/>
                    <a:pt x="238" y="205"/>
                    <a:pt x="237" y="205"/>
                  </a:cubicBezTo>
                  <a:cubicBezTo>
                    <a:pt x="236" y="205"/>
                    <a:pt x="235" y="205"/>
                    <a:pt x="235" y="204"/>
                  </a:cubicBezTo>
                  <a:cubicBezTo>
                    <a:pt x="234" y="204"/>
                    <a:pt x="234" y="203"/>
                    <a:pt x="234" y="203"/>
                  </a:cubicBezTo>
                  <a:cubicBezTo>
                    <a:pt x="233" y="203"/>
                    <a:pt x="233" y="203"/>
                    <a:pt x="232" y="203"/>
                  </a:cubicBezTo>
                  <a:cubicBezTo>
                    <a:pt x="232" y="203"/>
                    <a:pt x="231" y="202"/>
                    <a:pt x="231" y="201"/>
                  </a:cubicBezTo>
                  <a:cubicBezTo>
                    <a:pt x="230" y="200"/>
                    <a:pt x="229" y="200"/>
                    <a:pt x="228" y="199"/>
                  </a:cubicBezTo>
                  <a:cubicBezTo>
                    <a:pt x="228" y="199"/>
                    <a:pt x="226" y="196"/>
                    <a:pt x="225" y="196"/>
                  </a:cubicBezTo>
                  <a:cubicBezTo>
                    <a:pt x="225" y="196"/>
                    <a:pt x="224" y="197"/>
                    <a:pt x="224" y="197"/>
                  </a:cubicBezTo>
                  <a:cubicBezTo>
                    <a:pt x="224" y="197"/>
                    <a:pt x="222" y="197"/>
                    <a:pt x="222" y="197"/>
                  </a:cubicBezTo>
                  <a:cubicBezTo>
                    <a:pt x="220" y="197"/>
                    <a:pt x="219" y="196"/>
                    <a:pt x="217" y="196"/>
                  </a:cubicBezTo>
                  <a:cubicBezTo>
                    <a:pt x="217" y="196"/>
                    <a:pt x="216" y="196"/>
                    <a:pt x="216" y="195"/>
                  </a:cubicBezTo>
                  <a:cubicBezTo>
                    <a:pt x="215" y="195"/>
                    <a:pt x="215" y="194"/>
                    <a:pt x="214" y="195"/>
                  </a:cubicBezTo>
                  <a:cubicBezTo>
                    <a:pt x="213" y="195"/>
                    <a:pt x="213" y="196"/>
                    <a:pt x="213" y="197"/>
                  </a:cubicBezTo>
                  <a:cubicBezTo>
                    <a:pt x="213" y="198"/>
                    <a:pt x="212" y="199"/>
                    <a:pt x="213" y="199"/>
                  </a:cubicBezTo>
                  <a:cubicBezTo>
                    <a:pt x="214" y="201"/>
                    <a:pt x="214" y="203"/>
                    <a:pt x="213" y="205"/>
                  </a:cubicBezTo>
                  <a:cubicBezTo>
                    <a:pt x="211" y="206"/>
                    <a:pt x="213" y="206"/>
                    <a:pt x="214" y="206"/>
                  </a:cubicBezTo>
                  <a:cubicBezTo>
                    <a:pt x="215" y="207"/>
                    <a:pt x="214" y="208"/>
                    <a:pt x="215" y="209"/>
                  </a:cubicBezTo>
                  <a:cubicBezTo>
                    <a:pt x="215" y="210"/>
                    <a:pt x="216" y="210"/>
                    <a:pt x="215" y="211"/>
                  </a:cubicBezTo>
                  <a:cubicBezTo>
                    <a:pt x="215" y="212"/>
                    <a:pt x="214" y="213"/>
                    <a:pt x="213" y="213"/>
                  </a:cubicBezTo>
                  <a:cubicBezTo>
                    <a:pt x="213" y="214"/>
                    <a:pt x="212" y="215"/>
                    <a:pt x="212" y="216"/>
                  </a:cubicBezTo>
                  <a:cubicBezTo>
                    <a:pt x="212" y="218"/>
                    <a:pt x="214" y="219"/>
                    <a:pt x="216" y="221"/>
                  </a:cubicBezTo>
                  <a:cubicBezTo>
                    <a:pt x="217" y="223"/>
                    <a:pt x="217" y="225"/>
                    <a:pt x="217" y="227"/>
                  </a:cubicBezTo>
                  <a:cubicBezTo>
                    <a:pt x="218" y="229"/>
                    <a:pt x="218" y="231"/>
                    <a:pt x="218" y="232"/>
                  </a:cubicBezTo>
                  <a:cubicBezTo>
                    <a:pt x="218" y="233"/>
                    <a:pt x="217" y="234"/>
                    <a:pt x="217" y="234"/>
                  </a:cubicBezTo>
                  <a:cubicBezTo>
                    <a:pt x="216" y="235"/>
                    <a:pt x="215" y="236"/>
                    <a:pt x="214" y="236"/>
                  </a:cubicBezTo>
                  <a:cubicBezTo>
                    <a:pt x="213" y="237"/>
                    <a:pt x="212" y="237"/>
                    <a:pt x="211" y="238"/>
                  </a:cubicBezTo>
                  <a:cubicBezTo>
                    <a:pt x="210" y="238"/>
                    <a:pt x="208" y="238"/>
                    <a:pt x="210" y="239"/>
                  </a:cubicBezTo>
                  <a:cubicBezTo>
                    <a:pt x="211" y="241"/>
                    <a:pt x="211" y="243"/>
                    <a:pt x="211" y="245"/>
                  </a:cubicBezTo>
                  <a:cubicBezTo>
                    <a:pt x="212" y="247"/>
                    <a:pt x="213" y="250"/>
                    <a:pt x="212" y="252"/>
                  </a:cubicBezTo>
                  <a:cubicBezTo>
                    <a:pt x="211" y="253"/>
                    <a:pt x="210" y="251"/>
                    <a:pt x="210" y="253"/>
                  </a:cubicBezTo>
                  <a:cubicBezTo>
                    <a:pt x="210" y="256"/>
                    <a:pt x="209" y="256"/>
                    <a:pt x="207" y="255"/>
                  </a:cubicBezTo>
                  <a:cubicBezTo>
                    <a:pt x="205" y="254"/>
                    <a:pt x="207" y="251"/>
                    <a:pt x="207" y="250"/>
                  </a:cubicBezTo>
                  <a:cubicBezTo>
                    <a:pt x="207" y="248"/>
                    <a:pt x="206" y="246"/>
                    <a:pt x="204" y="246"/>
                  </a:cubicBezTo>
                  <a:cubicBezTo>
                    <a:pt x="204" y="247"/>
                    <a:pt x="205" y="247"/>
                    <a:pt x="205" y="248"/>
                  </a:cubicBezTo>
                  <a:cubicBezTo>
                    <a:pt x="204" y="248"/>
                    <a:pt x="203" y="248"/>
                    <a:pt x="203" y="248"/>
                  </a:cubicBezTo>
                  <a:cubicBezTo>
                    <a:pt x="200" y="247"/>
                    <a:pt x="201" y="245"/>
                    <a:pt x="201" y="244"/>
                  </a:cubicBezTo>
                  <a:cubicBezTo>
                    <a:pt x="201" y="243"/>
                    <a:pt x="200" y="242"/>
                    <a:pt x="200" y="242"/>
                  </a:cubicBezTo>
                  <a:cubicBezTo>
                    <a:pt x="200" y="241"/>
                    <a:pt x="201" y="240"/>
                    <a:pt x="202" y="239"/>
                  </a:cubicBezTo>
                  <a:cubicBezTo>
                    <a:pt x="202" y="239"/>
                    <a:pt x="201" y="237"/>
                    <a:pt x="201" y="236"/>
                  </a:cubicBezTo>
                  <a:cubicBezTo>
                    <a:pt x="200" y="236"/>
                    <a:pt x="199" y="236"/>
                    <a:pt x="198" y="236"/>
                  </a:cubicBezTo>
                  <a:cubicBezTo>
                    <a:pt x="196" y="236"/>
                    <a:pt x="194" y="236"/>
                    <a:pt x="191" y="234"/>
                  </a:cubicBezTo>
                  <a:cubicBezTo>
                    <a:pt x="190" y="234"/>
                    <a:pt x="189" y="233"/>
                    <a:pt x="188" y="232"/>
                  </a:cubicBezTo>
                  <a:cubicBezTo>
                    <a:pt x="187" y="232"/>
                    <a:pt x="186" y="231"/>
                    <a:pt x="185" y="230"/>
                  </a:cubicBezTo>
                  <a:cubicBezTo>
                    <a:pt x="184" y="229"/>
                    <a:pt x="184" y="227"/>
                    <a:pt x="182" y="227"/>
                  </a:cubicBezTo>
                  <a:cubicBezTo>
                    <a:pt x="181" y="228"/>
                    <a:pt x="180" y="228"/>
                    <a:pt x="179" y="228"/>
                  </a:cubicBezTo>
                  <a:cubicBezTo>
                    <a:pt x="178" y="228"/>
                    <a:pt x="177" y="227"/>
                    <a:pt x="176" y="226"/>
                  </a:cubicBezTo>
                  <a:cubicBezTo>
                    <a:pt x="175" y="225"/>
                    <a:pt x="174" y="227"/>
                    <a:pt x="173" y="227"/>
                  </a:cubicBezTo>
                  <a:cubicBezTo>
                    <a:pt x="172" y="228"/>
                    <a:pt x="172" y="227"/>
                    <a:pt x="172" y="226"/>
                  </a:cubicBezTo>
                  <a:cubicBezTo>
                    <a:pt x="172" y="225"/>
                    <a:pt x="171" y="224"/>
                    <a:pt x="171" y="223"/>
                  </a:cubicBezTo>
                  <a:cubicBezTo>
                    <a:pt x="170" y="222"/>
                    <a:pt x="171" y="220"/>
                    <a:pt x="170" y="218"/>
                  </a:cubicBezTo>
                  <a:cubicBezTo>
                    <a:pt x="169" y="217"/>
                    <a:pt x="167" y="218"/>
                    <a:pt x="166" y="217"/>
                  </a:cubicBezTo>
                  <a:cubicBezTo>
                    <a:pt x="165" y="216"/>
                    <a:pt x="166" y="212"/>
                    <a:pt x="166" y="210"/>
                  </a:cubicBezTo>
                  <a:cubicBezTo>
                    <a:pt x="166" y="208"/>
                    <a:pt x="167" y="206"/>
                    <a:pt x="168" y="204"/>
                  </a:cubicBezTo>
                  <a:cubicBezTo>
                    <a:pt x="169" y="202"/>
                    <a:pt x="170" y="200"/>
                    <a:pt x="171" y="199"/>
                  </a:cubicBezTo>
                  <a:cubicBezTo>
                    <a:pt x="172" y="198"/>
                    <a:pt x="172" y="198"/>
                    <a:pt x="173" y="197"/>
                  </a:cubicBezTo>
                  <a:cubicBezTo>
                    <a:pt x="173" y="196"/>
                    <a:pt x="173" y="195"/>
                    <a:pt x="173" y="195"/>
                  </a:cubicBezTo>
                  <a:cubicBezTo>
                    <a:pt x="174" y="195"/>
                    <a:pt x="176" y="194"/>
                    <a:pt x="177" y="194"/>
                  </a:cubicBezTo>
                  <a:cubicBezTo>
                    <a:pt x="178" y="193"/>
                    <a:pt x="177" y="192"/>
                    <a:pt x="176" y="191"/>
                  </a:cubicBezTo>
                  <a:cubicBezTo>
                    <a:pt x="175" y="191"/>
                    <a:pt x="172" y="190"/>
                    <a:pt x="173" y="190"/>
                  </a:cubicBezTo>
                  <a:cubicBezTo>
                    <a:pt x="174" y="189"/>
                    <a:pt x="176" y="190"/>
                    <a:pt x="178" y="190"/>
                  </a:cubicBezTo>
                  <a:cubicBezTo>
                    <a:pt x="180" y="190"/>
                    <a:pt x="178" y="188"/>
                    <a:pt x="179" y="187"/>
                  </a:cubicBezTo>
                  <a:cubicBezTo>
                    <a:pt x="179" y="186"/>
                    <a:pt x="182" y="188"/>
                    <a:pt x="183" y="187"/>
                  </a:cubicBezTo>
                  <a:cubicBezTo>
                    <a:pt x="185" y="185"/>
                    <a:pt x="185" y="183"/>
                    <a:pt x="187" y="181"/>
                  </a:cubicBezTo>
                  <a:cubicBezTo>
                    <a:pt x="187" y="181"/>
                    <a:pt x="188" y="181"/>
                    <a:pt x="187" y="180"/>
                  </a:cubicBezTo>
                  <a:cubicBezTo>
                    <a:pt x="187" y="178"/>
                    <a:pt x="185" y="179"/>
                    <a:pt x="185" y="179"/>
                  </a:cubicBezTo>
                  <a:cubicBezTo>
                    <a:pt x="183" y="179"/>
                    <a:pt x="182" y="179"/>
                    <a:pt x="182" y="178"/>
                  </a:cubicBezTo>
                  <a:cubicBezTo>
                    <a:pt x="182" y="178"/>
                    <a:pt x="182" y="177"/>
                    <a:pt x="180" y="177"/>
                  </a:cubicBezTo>
                  <a:cubicBezTo>
                    <a:pt x="178" y="177"/>
                    <a:pt x="180" y="174"/>
                    <a:pt x="182" y="175"/>
                  </a:cubicBezTo>
                  <a:cubicBezTo>
                    <a:pt x="183" y="175"/>
                    <a:pt x="184" y="177"/>
                    <a:pt x="186" y="178"/>
                  </a:cubicBezTo>
                  <a:cubicBezTo>
                    <a:pt x="187" y="178"/>
                    <a:pt x="188" y="178"/>
                    <a:pt x="188" y="177"/>
                  </a:cubicBezTo>
                  <a:cubicBezTo>
                    <a:pt x="189" y="177"/>
                    <a:pt x="190" y="176"/>
                    <a:pt x="190" y="175"/>
                  </a:cubicBezTo>
                  <a:cubicBezTo>
                    <a:pt x="191" y="174"/>
                    <a:pt x="189" y="172"/>
                    <a:pt x="190" y="172"/>
                  </a:cubicBezTo>
                  <a:cubicBezTo>
                    <a:pt x="192" y="171"/>
                    <a:pt x="192" y="173"/>
                    <a:pt x="194" y="174"/>
                  </a:cubicBezTo>
                  <a:cubicBezTo>
                    <a:pt x="195" y="174"/>
                    <a:pt x="194" y="172"/>
                    <a:pt x="194" y="171"/>
                  </a:cubicBezTo>
                  <a:cubicBezTo>
                    <a:pt x="194" y="171"/>
                    <a:pt x="193" y="170"/>
                    <a:pt x="193" y="170"/>
                  </a:cubicBezTo>
                  <a:cubicBezTo>
                    <a:pt x="193" y="169"/>
                    <a:pt x="194" y="168"/>
                    <a:pt x="195" y="169"/>
                  </a:cubicBezTo>
                  <a:cubicBezTo>
                    <a:pt x="196" y="170"/>
                    <a:pt x="196" y="171"/>
                    <a:pt x="197" y="172"/>
                  </a:cubicBezTo>
                  <a:cubicBezTo>
                    <a:pt x="198" y="173"/>
                    <a:pt x="200" y="170"/>
                    <a:pt x="201" y="170"/>
                  </a:cubicBezTo>
                  <a:cubicBezTo>
                    <a:pt x="202" y="168"/>
                    <a:pt x="204" y="166"/>
                    <a:pt x="203" y="164"/>
                  </a:cubicBezTo>
                  <a:cubicBezTo>
                    <a:pt x="203" y="164"/>
                    <a:pt x="202" y="163"/>
                    <a:pt x="202" y="163"/>
                  </a:cubicBezTo>
                  <a:cubicBezTo>
                    <a:pt x="202" y="162"/>
                    <a:pt x="203" y="161"/>
                    <a:pt x="202" y="161"/>
                  </a:cubicBezTo>
                  <a:cubicBezTo>
                    <a:pt x="201" y="160"/>
                    <a:pt x="200" y="159"/>
                    <a:pt x="202" y="159"/>
                  </a:cubicBezTo>
                  <a:cubicBezTo>
                    <a:pt x="203" y="159"/>
                    <a:pt x="204" y="158"/>
                    <a:pt x="204" y="158"/>
                  </a:cubicBezTo>
                  <a:cubicBezTo>
                    <a:pt x="204" y="157"/>
                    <a:pt x="203" y="156"/>
                    <a:pt x="203" y="156"/>
                  </a:cubicBezTo>
                  <a:cubicBezTo>
                    <a:pt x="202" y="155"/>
                    <a:pt x="204" y="155"/>
                    <a:pt x="204" y="155"/>
                  </a:cubicBezTo>
                  <a:cubicBezTo>
                    <a:pt x="205" y="155"/>
                    <a:pt x="204" y="154"/>
                    <a:pt x="204" y="154"/>
                  </a:cubicBezTo>
                  <a:cubicBezTo>
                    <a:pt x="204" y="154"/>
                    <a:pt x="203" y="154"/>
                    <a:pt x="203" y="153"/>
                  </a:cubicBezTo>
                  <a:cubicBezTo>
                    <a:pt x="203" y="153"/>
                    <a:pt x="203" y="153"/>
                    <a:pt x="202" y="152"/>
                  </a:cubicBezTo>
                  <a:cubicBezTo>
                    <a:pt x="202" y="152"/>
                    <a:pt x="201" y="152"/>
                    <a:pt x="201" y="152"/>
                  </a:cubicBezTo>
                  <a:cubicBezTo>
                    <a:pt x="201" y="152"/>
                    <a:pt x="201" y="151"/>
                    <a:pt x="200" y="151"/>
                  </a:cubicBezTo>
                  <a:cubicBezTo>
                    <a:pt x="200" y="151"/>
                    <a:pt x="199" y="151"/>
                    <a:pt x="198" y="151"/>
                  </a:cubicBezTo>
                  <a:cubicBezTo>
                    <a:pt x="197" y="150"/>
                    <a:pt x="194" y="150"/>
                    <a:pt x="193" y="150"/>
                  </a:cubicBezTo>
                  <a:cubicBezTo>
                    <a:pt x="192" y="151"/>
                    <a:pt x="192" y="152"/>
                    <a:pt x="193" y="152"/>
                  </a:cubicBezTo>
                  <a:cubicBezTo>
                    <a:pt x="193" y="153"/>
                    <a:pt x="194" y="154"/>
                    <a:pt x="194" y="154"/>
                  </a:cubicBezTo>
                  <a:cubicBezTo>
                    <a:pt x="195" y="155"/>
                    <a:pt x="194" y="156"/>
                    <a:pt x="193" y="156"/>
                  </a:cubicBezTo>
                  <a:cubicBezTo>
                    <a:pt x="192" y="156"/>
                    <a:pt x="192" y="157"/>
                    <a:pt x="192" y="158"/>
                  </a:cubicBezTo>
                  <a:cubicBezTo>
                    <a:pt x="192" y="159"/>
                    <a:pt x="193" y="161"/>
                    <a:pt x="191" y="161"/>
                  </a:cubicBezTo>
                  <a:cubicBezTo>
                    <a:pt x="190" y="161"/>
                    <a:pt x="188" y="161"/>
                    <a:pt x="188" y="163"/>
                  </a:cubicBezTo>
                  <a:cubicBezTo>
                    <a:pt x="188" y="164"/>
                    <a:pt x="189" y="164"/>
                    <a:pt x="189" y="166"/>
                  </a:cubicBezTo>
                  <a:cubicBezTo>
                    <a:pt x="189" y="166"/>
                    <a:pt x="188" y="166"/>
                    <a:pt x="188" y="166"/>
                  </a:cubicBezTo>
                  <a:cubicBezTo>
                    <a:pt x="187" y="166"/>
                    <a:pt x="187" y="166"/>
                    <a:pt x="187" y="166"/>
                  </a:cubicBezTo>
                  <a:cubicBezTo>
                    <a:pt x="187" y="165"/>
                    <a:pt x="186" y="165"/>
                    <a:pt x="186" y="165"/>
                  </a:cubicBezTo>
                  <a:cubicBezTo>
                    <a:pt x="185" y="164"/>
                    <a:pt x="184" y="162"/>
                    <a:pt x="185" y="160"/>
                  </a:cubicBezTo>
                  <a:cubicBezTo>
                    <a:pt x="186" y="160"/>
                    <a:pt x="187" y="160"/>
                    <a:pt x="187" y="159"/>
                  </a:cubicBezTo>
                  <a:cubicBezTo>
                    <a:pt x="187" y="158"/>
                    <a:pt x="187" y="157"/>
                    <a:pt x="186" y="157"/>
                  </a:cubicBezTo>
                  <a:cubicBezTo>
                    <a:pt x="185" y="156"/>
                    <a:pt x="185" y="155"/>
                    <a:pt x="184" y="154"/>
                  </a:cubicBezTo>
                  <a:cubicBezTo>
                    <a:pt x="184" y="154"/>
                    <a:pt x="182" y="154"/>
                    <a:pt x="182" y="155"/>
                  </a:cubicBezTo>
                  <a:cubicBezTo>
                    <a:pt x="180" y="156"/>
                    <a:pt x="180" y="158"/>
                    <a:pt x="180" y="160"/>
                  </a:cubicBezTo>
                  <a:cubicBezTo>
                    <a:pt x="179" y="160"/>
                    <a:pt x="178" y="158"/>
                    <a:pt x="178" y="157"/>
                  </a:cubicBezTo>
                  <a:cubicBezTo>
                    <a:pt x="178" y="157"/>
                    <a:pt x="178" y="156"/>
                    <a:pt x="178" y="156"/>
                  </a:cubicBezTo>
                  <a:cubicBezTo>
                    <a:pt x="178" y="155"/>
                    <a:pt x="179" y="154"/>
                    <a:pt x="179" y="153"/>
                  </a:cubicBezTo>
                  <a:cubicBezTo>
                    <a:pt x="178" y="153"/>
                    <a:pt x="178" y="153"/>
                    <a:pt x="177" y="152"/>
                  </a:cubicBezTo>
                  <a:cubicBezTo>
                    <a:pt x="176" y="152"/>
                    <a:pt x="176" y="152"/>
                    <a:pt x="175" y="152"/>
                  </a:cubicBezTo>
                  <a:cubicBezTo>
                    <a:pt x="175" y="153"/>
                    <a:pt x="174" y="152"/>
                    <a:pt x="174" y="151"/>
                  </a:cubicBezTo>
                  <a:cubicBezTo>
                    <a:pt x="174" y="151"/>
                    <a:pt x="175" y="151"/>
                    <a:pt x="175" y="150"/>
                  </a:cubicBezTo>
                  <a:cubicBezTo>
                    <a:pt x="175" y="150"/>
                    <a:pt x="174" y="149"/>
                    <a:pt x="174" y="149"/>
                  </a:cubicBezTo>
                  <a:cubicBezTo>
                    <a:pt x="175" y="148"/>
                    <a:pt x="177" y="149"/>
                    <a:pt x="176" y="148"/>
                  </a:cubicBezTo>
                  <a:cubicBezTo>
                    <a:pt x="176" y="147"/>
                    <a:pt x="175" y="146"/>
                    <a:pt x="175" y="146"/>
                  </a:cubicBezTo>
                  <a:cubicBezTo>
                    <a:pt x="174" y="145"/>
                    <a:pt x="174" y="145"/>
                    <a:pt x="174" y="144"/>
                  </a:cubicBezTo>
                  <a:cubicBezTo>
                    <a:pt x="174" y="143"/>
                    <a:pt x="173" y="142"/>
                    <a:pt x="173" y="141"/>
                  </a:cubicBezTo>
                  <a:cubicBezTo>
                    <a:pt x="172" y="139"/>
                    <a:pt x="172" y="139"/>
                    <a:pt x="170" y="139"/>
                  </a:cubicBezTo>
                  <a:cubicBezTo>
                    <a:pt x="169" y="139"/>
                    <a:pt x="170" y="138"/>
                    <a:pt x="169" y="138"/>
                  </a:cubicBezTo>
                  <a:cubicBezTo>
                    <a:pt x="169" y="137"/>
                    <a:pt x="168" y="138"/>
                    <a:pt x="168" y="139"/>
                  </a:cubicBezTo>
                  <a:cubicBezTo>
                    <a:pt x="167" y="139"/>
                    <a:pt x="167" y="141"/>
                    <a:pt x="166" y="141"/>
                  </a:cubicBezTo>
                  <a:cubicBezTo>
                    <a:pt x="166" y="142"/>
                    <a:pt x="165" y="142"/>
                    <a:pt x="165" y="142"/>
                  </a:cubicBezTo>
                  <a:cubicBezTo>
                    <a:pt x="164" y="143"/>
                    <a:pt x="164" y="144"/>
                    <a:pt x="165" y="145"/>
                  </a:cubicBezTo>
                  <a:cubicBezTo>
                    <a:pt x="165" y="145"/>
                    <a:pt x="166" y="146"/>
                    <a:pt x="165" y="146"/>
                  </a:cubicBezTo>
                  <a:cubicBezTo>
                    <a:pt x="165" y="147"/>
                    <a:pt x="164" y="147"/>
                    <a:pt x="164" y="148"/>
                  </a:cubicBezTo>
                  <a:cubicBezTo>
                    <a:pt x="163" y="149"/>
                    <a:pt x="165" y="150"/>
                    <a:pt x="165" y="151"/>
                  </a:cubicBezTo>
                  <a:cubicBezTo>
                    <a:pt x="166" y="152"/>
                    <a:pt x="168" y="153"/>
                    <a:pt x="170" y="153"/>
                  </a:cubicBezTo>
                  <a:cubicBezTo>
                    <a:pt x="170" y="153"/>
                    <a:pt x="171" y="154"/>
                    <a:pt x="171" y="154"/>
                  </a:cubicBezTo>
                  <a:cubicBezTo>
                    <a:pt x="171" y="155"/>
                    <a:pt x="170" y="155"/>
                    <a:pt x="169" y="155"/>
                  </a:cubicBezTo>
                  <a:cubicBezTo>
                    <a:pt x="168" y="156"/>
                    <a:pt x="168" y="156"/>
                    <a:pt x="168" y="157"/>
                  </a:cubicBezTo>
                  <a:cubicBezTo>
                    <a:pt x="168" y="158"/>
                    <a:pt x="169" y="158"/>
                    <a:pt x="170" y="158"/>
                  </a:cubicBezTo>
                  <a:cubicBezTo>
                    <a:pt x="173" y="159"/>
                    <a:pt x="166" y="163"/>
                    <a:pt x="166" y="163"/>
                  </a:cubicBezTo>
                  <a:cubicBezTo>
                    <a:pt x="165" y="165"/>
                    <a:pt x="167" y="166"/>
                    <a:pt x="166" y="168"/>
                  </a:cubicBezTo>
                  <a:cubicBezTo>
                    <a:pt x="165" y="169"/>
                    <a:pt x="163" y="167"/>
                    <a:pt x="164" y="166"/>
                  </a:cubicBezTo>
                  <a:cubicBezTo>
                    <a:pt x="164" y="165"/>
                    <a:pt x="164" y="164"/>
                    <a:pt x="164" y="164"/>
                  </a:cubicBezTo>
                  <a:cubicBezTo>
                    <a:pt x="164" y="163"/>
                    <a:pt x="164" y="163"/>
                    <a:pt x="163" y="162"/>
                  </a:cubicBezTo>
                  <a:cubicBezTo>
                    <a:pt x="163" y="161"/>
                    <a:pt x="162" y="162"/>
                    <a:pt x="161" y="162"/>
                  </a:cubicBezTo>
                  <a:cubicBezTo>
                    <a:pt x="160" y="162"/>
                    <a:pt x="159" y="162"/>
                    <a:pt x="158" y="163"/>
                  </a:cubicBezTo>
                  <a:cubicBezTo>
                    <a:pt x="158" y="164"/>
                    <a:pt x="158" y="165"/>
                    <a:pt x="157" y="165"/>
                  </a:cubicBezTo>
                  <a:cubicBezTo>
                    <a:pt x="157" y="165"/>
                    <a:pt x="156" y="165"/>
                    <a:pt x="155" y="165"/>
                  </a:cubicBezTo>
                  <a:cubicBezTo>
                    <a:pt x="153" y="164"/>
                    <a:pt x="151" y="166"/>
                    <a:pt x="149" y="166"/>
                  </a:cubicBezTo>
                  <a:cubicBezTo>
                    <a:pt x="148" y="166"/>
                    <a:pt x="147" y="166"/>
                    <a:pt x="147" y="165"/>
                  </a:cubicBezTo>
                  <a:cubicBezTo>
                    <a:pt x="147" y="165"/>
                    <a:pt x="147" y="164"/>
                    <a:pt x="146" y="163"/>
                  </a:cubicBezTo>
                  <a:cubicBezTo>
                    <a:pt x="146" y="163"/>
                    <a:pt x="144" y="165"/>
                    <a:pt x="144" y="164"/>
                  </a:cubicBezTo>
                  <a:cubicBezTo>
                    <a:pt x="143" y="164"/>
                    <a:pt x="143" y="163"/>
                    <a:pt x="141" y="163"/>
                  </a:cubicBezTo>
                  <a:cubicBezTo>
                    <a:pt x="141" y="162"/>
                    <a:pt x="138" y="163"/>
                    <a:pt x="138" y="164"/>
                  </a:cubicBezTo>
                  <a:cubicBezTo>
                    <a:pt x="137" y="165"/>
                    <a:pt x="137" y="165"/>
                    <a:pt x="136" y="166"/>
                  </a:cubicBezTo>
                  <a:cubicBezTo>
                    <a:pt x="136" y="166"/>
                    <a:pt x="135" y="166"/>
                    <a:pt x="134" y="167"/>
                  </a:cubicBezTo>
                  <a:cubicBezTo>
                    <a:pt x="134" y="168"/>
                    <a:pt x="135" y="170"/>
                    <a:pt x="133" y="169"/>
                  </a:cubicBezTo>
                  <a:cubicBezTo>
                    <a:pt x="132" y="168"/>
                    <a:pt x="131" y="167"/>
                    <a:pt x="130" y="167"/>
                  </a:cubicBezTo>
                  <a:cubicBezTo>
                    <a:pt x="127" y="167"/>
                    <a:pt x="126" y="168"/>
                    <a:pt x="124" y="169"/>
                  </a:cubicBezTo>
                  <a:cubicBezTo>
                    <a:pt x="122" y="170"/>
                    <a:pt x="122" y="168"/>
                    <a:pt x="120" y="169"/>
                  </a:cubicBezTo>
                  <a:cubicBezTo>
                    <a:pt x="119" y="169"/>
                    <a:pt x="118" y="169"/>
                    <a:pt x="118" y="167"/>
                  </a:cubicBezTo>
                  <a:cubicBezTo>
                    <a:pt x="119" y="166"/>
                    <a:pt x="120" y="166"/>
                    <a:pt x="121" y="166"/>
                  </a:cubicBezTo>
                  <a:cubicBezTo>
                    <a:pt x="123" y="165"/>
                    <a:pt x="120" y="163"/>
                    <a:pt x="120" y="163"/>
                  </a:cubicBezTo>
                  <a:cubicBezTo>
                    <a:pt x="119" y="163"/>
                    <a:pt x="119" y="162"/>
                    <a:pt x="118" y="162"/>
                  </a:cubicBezTo>
                  <a:cubicBezTo>
                    <a:pt x="117" y="162"/>
                    <a:pt x="116" y="163"/>
                    <a:pt x="116" y="163"/>
                  </a:cubicBezTo>
                  <a:cubicBezTo>
                    <a:pt x="114" y="163"/>
                    <a:pt x="113" y="162"/>
                    <a:pt x="112" y="161"/>
                  </a:cubicBezTo>
                  <a:cubicBezTo>
                    <a:pt x="111" y="161"/>
                    <a:pt x="111" y="160"/>
                    <a:pt x="110" y="160"/>
                  </a:cubicBezTo>
                  <a:cubicBezTo>
                    <a:pt x="109" y="160"/>
                    <a:pt x="109" y="160"/>
                    <a:pt x="109" y="160"/>
                  </a:cubicBezTo>
                  <a:cubicBezTo>
                    <a:pt x="108" y="160"/>
                    <a:pt x="107" y="159"/>
                    <a:pt x="107" y="159"/>
                  </a:cubicBezTo>
                  <a:cubicBezTo>
                    <a:pt x="106" y="159"/>
                    <a:pt x="105" y="159"/>
                    <a:pt x="104" y="159"/>
                  </a:cubicBezTo>
                  <a:cubicBezTo>
                    <a:pt x="104" y="159"/>
                    <a:pt x="103" y="160"/>
                    <a:pt x="103" y="160"/>
                  </a:cubicBezTo>
                  <a:cubicBezTo>
                    <a:pt x="103" y="161"/>
                    <a:pt x="102" y="161"/>
                    <a:pt x="102" y="162"/>
                  </a:cubicBezTo>
                  <a:cubicBezTo>
                    <a:pt x="101" y="163"/>
                    <a:pt x="100" y="163"/>
                    <a:pt x="100" y="161"/>
                  </a:cubicBezTo>
                  <a:cubicBezTo>
                    <a:pt x="101" y="160"/>
                    <a:pt x="102" y="159"/>
                    <a:pt x="101" y="159"/>
                  </a:cubicBezTo>
                  <a:cubicBezTo>
                    <a:pt x="99" y="158"/>
                    <a:pt x="99" y="160"/>
                    <a:pt x="98" y="160"/>
                  </a:cubicBezTo>
                  <a:cubicBezTo>
                    <a:pt x="99" y="161"/>
                    <a:pt x="98" y="163"/>
                    <a:pt x="97" y="163"/>
                  </a:cubicBezTo>
                  <a:cubicBezTo>
                    <a:pt x="97" y="163"/>
                    <a:pt x="96" y="161"/>
                    <a:pt x="96" y="160"/>
                  </a:cubicBezTo>
                  <a:cubicBezTo>
                    <a:pt x="95" y="159"/>
                    <a:pt x="95" y="157"/>
                    <a:pt x="95" y="156"/>
                  </a:cubicBezTo>
                  <a:cubicBezTo>
                    <a:pt x="93" y="155"/>
                    <a:pt x="94" y="159"/>
                    <a:pt x="93" y="159"/>
                  </a:cubicBezTo>
                  <a:cubicBezTo>
                    <a:pt x="93" y="160"/>
                    <a:pt x="91" y="163"/>
                    <a:pt x="91" y="162"/>
                  </a:cubicBezTo>
                  <a:cubicBezTo>
                    <a:pt x="91" y="161"/>
                    <a:pt x="91" y="160"/>
                    <a:pt x="90" y="160"/>
                  </a:cubicBezTo>
                  <a:cubicBezTo>
                    <a:pt x="90" y="160"/>
                    <a:pt x="89" y="160"/>
                    <a:pt x="89" y="161"/>
                  </a:cubicBezTo>
                  <a:cubicBezTo>
                    <a:pt x="88" y="162"/>
                    <a:pt x="88" y="163"/>
                    <a:pt x="87" y="163"/>
                  </a:cubicBezTo>
                  <a:cubicBezTo>
                    <a:pt x="86" y="163"/>
                    <a:pt x="86" y="163"/>
                    <a:pt x="85" y="163"/>
                  </a:cubicBezTo>
                  <a:cubicBezTo>
                    <a:pt x="85" y="164"/>
                    <a:pt x="85" y="164"/>
                    <a:pt x="85" y="165"/>
                  </a:cubicBezTo>
                  <a:cubicBezTo>
                    <a:pt x="84" y="165"/>
                    <a:pt x="84" y="166"/>
                    <a:pt x="84" y="166"/>
                  </a:cubicBezTo>
                  <a:cubicBezTo>
                    <a:pt x="83" y="166"/>
                    <a:pt x="83" y="165"/>
                    <a:pt x="83" y="165"/>
                  </a:cubicBezTo>
                  <a:cubicBezTo>
                    <a:pt x="83" y="163"/>
                    <a:pt x="82" y="165"/>
                    <a:pt x="81" y="166"/>
                  </a:cubicBezTo>
                  <a:cubicBezTo>
                    <a:pt x="81" y="166"/>
                    <a:pt x="78" y="168"/>
                    <a:pt x="79" y="168"/>
                  </a:cubicBezTo>
                  <a:cubicBezTo>
                    <a:pt x="79" y="169"/>
                    <a:pt x="80" y="169"/>
                    <a:pt x="80" y="169"/>
                  </a:cubicBezTo>
                  <a:cubicBezTo>
                    <a:pt x="79" y="170"/>
                    <a:pt x="79" y="170"/>
                    <a:pt x="79" y="170"/>
                  </a:cubicBezTo>
                  <a:cubicBezTo>
                    <a:pt x="78" y="170"/>
                    <a:pt x="78" y="170"/>
                    <a:pt x="77" y="170"/>
                  </a:cubicBezTo>
                  <a:cubicBezTo>
                    <a:pt x="77" y="170"/>
                    <a:pt x="76" y="170"/>
                    <a:pt x="76" y="169"/>
                  </a:cubicBezTo>
                  <a:cubicBezTo>
                    <a:pt x="76" y="169"/>
                    <a:pt x="75" y="168"/>
                    <a:pt x="74" y="168"/>
                  </a:cubicBezTo>
                  <a:cubicBezTo>
                    <a:pt x="74" y="168"/>
                    <a:pt x="73" y="167"/>
                    <a:pt x="73" y="167"/>
                  </a:cubicBezTo>
                  <a:cubicBezTo>
                    <a:pt x="72" y="167"/>
                    <a:pt x="72" y="167"/>
                    <a:pt x="71" y="167"/>
                  </a:cubicBezTo>
                  <a:cubicBezTo>
                    <a:pt x="71" y="167"/>
                    <a:pt x="70" y="167"/>
                    <a:pt x="70" y="166"/>
                  </a:cubicBezTo>
                  <a:cubicBezTo>
                    <a:pt x="70" y="166"/>
                    <a:pt x="69" y="166"/>
                    <a:pt x="68" y="166"/>
                  </a:cubicBezTo>
                  <a:cubicBezTo>
                    <a:pt x="67" y="166"/>
                    <a:pt x="66" y="167"/>
                    <a:pt x="65" y="167"/>
                  </a:cubicBezTo>
                  <a:cubicBezTo>
                    <a:pt x="64" y="167"/>
                    <a:pt x="64" y="166"/>
                    <a:pt x="63" y="166"/>
                  </a:cubicBezTo>
                  <a:cubicBezTo>
                    <a:pt x="62" y="167"/>
                    <a:pt x="61" y="166"/>
                    <a:pt x="60" y="166"/>
                  </a:cubicBezTo>
                  <a:cubicBezTo>
                    <a:pt x="60" y="166"/>
                    <a:pt x="59" y="165"/>
                    <a:pt x="58" y="166"/>
                  </a:cubicBezTo>
                  <a:cubicBezTo>
                    <a:pt x="58" y="167"/>
                    <a:pt x="57" y="168"/>
                    <a:pt x="57" y="167"/>
                  </a:cubicBezTo>
                  <a:cubicBezTo>
                    <a:pt x="57" y="167"/>
                    <a:pt x="57" y="166"/>
                    <a:pt x="56" y="166"/>
                  </a:cubicBezTo>
                  <a:cubicBezTo>
                    <a:pt x="56" y="167"/>
                    <a:pt x="56" y="166"/>
                    <a:pt x="56" y="166"/>
                  </a:cubicBezTo>
                  <a:cubicBezTo>
                    <a:pt x="56" y="166"/>
                    <a:pt x="56" y="166"/>
                    <a:pt x="56" y="166"/>
                  </a:cubicBezTo>
                  <a:cubicBezTo>
                    <a:pt x="56" y="165"/>
                    <a:pt x="55" y="165"/>
                    <a:pt x="55" y="165"/>
                  </a:cubicBezTo>
                  <a:cubicBezTo>
                    <a:pt x="54" y="166"/>
                    <a:pt x="53" y="167"/>
                    <a:pt x="53" y="165"/>
                  </a:cubicBezTo>
                  <a:cubicBezTo>
                    <a:pt x="53" y="165"/>
                    <a:pt x="53" y="164"/>
                    <a:pt x="52" y="165"/>
                  </a:cubicBezTo>
                  <a:cubicBezTo>
                    <a:pt x="52" y="166"/>
                    <a:pt x="52" y="166"/>
                    <a:pt x="52" y="166"/>
                  </a:cubicBezTo>
                  <a:cubicBezTo>
                    <a:pt x="52" y="167"/>
                    <a:pt x="52" y="167"/>
                    <a:pt x="52" y="167"/>
                  </a:cubicBezTo>
                  <a:cubicBezTo>
                    <a:pt x="52" y="168"/>
                    <a:pt x="52" y="168"/>
                    <a:pt x="52" y="168"/>
                  </a:cubicBezTo>
                  <a:cubicBezTo>
                    <a:pt x="51" y="167"/>
                    <a:pt x="51" y="167"/>
                    <a:pt x="51" y="167"/>
                  </a:cubicBezTo>
                  <a:cubicBezTo>
                    <a:pt x="51" y="166"/>
                    <a:pt x="52" y="164"/>
                    <a:pt x="51" y="164"/>
                  </a:cubicBezTo>
                  <a:cubicBezTo>
                    <a:pt x="50" y="164"/>
                    <a:pt x="50" y="166"/>
                    <a:pt x="49" y="167"/>
                  </a:cubicBezTo>
                  <a:cubicBezTo>
                    <a:pt x="48" y="167"/>
                    <a:pt x="48" y="167"/>
                    <a:pt x="48" y="168"/>
                  </a:cubicBezTo>
                  <a:cubicBezTo>
                    <a:pt x="47" y="168"/>
                    <a:pt x="47" y="168"/>
                    <a:pt x="47" y="167"/>
                  </a:cubicBezTo>
                  <a:cubicBezTo>
                    <a:pt x="46" y="167"/>
                    <a:pt x="46" y="169"/>
                    <a:pt x="45" y="170"/>
                  </a:cubicBezTo>
                  <a:cubicBezTo>
                    <a:pt x="45" y="170"/>
                    <a:pt x="45" y="170"/>
                    <a:pt x="44" y="170"/>
                  </a:cubicBezTo>
                  <a:cubicBezTo>
                    <a:pt x="44" y="171"/>
                    <a:pt x="44" y="171"/>
                    <a:pt x="43" y="171"/>
                  </a:cubicBezTo>
                  <a:cubicBezTo>
                    <a:pt x="43" y="171"/>
                    <a:pt x="43" y="173"/>
                    <a:pt x="43" y="173"/>
                  </a:cubicBezTo>
                  <a:cubicBezTo>
                    <a:pt x="42" y="174"/>
                    <a:pt x="42" y="174"/>
                    <a:pt x="42" y="174"/>
                  </a:cubicBezTo>
                  <a:cubicBezTo>
                    <a:pt x="41" y="175"/>
                    <a:pt x="42" y="175"/>
                    <a:pt x="41" y="176"/>
                  </a:cubicBezTo>
                  <a:cubicBezTo>
                    <a:pt x="41" y="177"/>
                    <a:pt x="40" y="178"/>
                    <a:pt x="39" y="179"/>
                  </a:cubicBezTo>
                  <a:cubicBezTo>
                    <a:pt x="39" y="180"/>
                    <a:pt x="38" y="179"/>
                    <a:pt x="37" y="180"/>
                  </a:cubicBezTo>
                  <a:cubicBezTo>
                    <a:pt x="37" y="181"/>
                    <a:pt x="37" y="181"/>
                    <a:pt x="37" y="181"/>
                  </a:cubicBezTo>
                  <a:cubicBezTo>
                    <a:pt x="36" y="182"/>
                    <a:pt x="36" y="183"/>
                    <a:pt x="36" y="183"/>
                  </a:cubicBezTo>
                  <a:cubicBezTo>
                    <a:pt x="36" y="183"/>
                    <a:pt x="36" y="183"/>
                    <a:pt x="36" y="183"/>
                  </a:cubicBezTo>
                  <a:cubicBezTo>
                    <a:pt x="36" y="184"/>
                    <a:pt x="37" y="184"/>
                    <a:pt x="37" y="184"/>
                  </a:cubicBezTo>
                  <a:cubicBezTo>
                    <a:pt x="37" y="184"/>
                    <a:pt x="38" y="184"/>
                    <a:pt x="38" y="185"/>
                  </a:cubicBezTo>
                  <a:cubicBezTo>
                    <a:pt x="38" y="185"/>
                    <a:pt x="39" y="186"/>
                    <a:pt x="39" y="187"/>
                  </a:cubicBezTo>
                  <a:cubicBezTo>
                    <a:pt x="38" y="188"/>
                    <a:pt x="38" y="189"/>
                    <a:pt x="39" y="189"/>
                  </a:cubicBezTo>
                  <a:cubicBezTo>
                    <a:pt x="39" y="189"/>
                    <a:pt x="41" y="190"/>
                    <a:pt x="40" y="191"/>
                  </a:cubicBezTo>
                  <a:cubicBezTo>
                    <a:pt x="39" y="192"/>
                    <a:pt x="41" y="191"/>
                    <a:pt x="41" y="192"/>
                  </a:cubicBezTo>
                  <a:cubicBezTo>
                    <a:pt x="40" y="193"/>
                    <a:pt x="39" y="193"/>
                    <a:pt x="39" y="193"/>
                  </a:cubicBezTo>
                  <a:cubicBezTo>
                    <a:pt x="39" y="193"/>
                    <a:pt x="38" y="193"/>
                    <a:pt x="38" y="192"/>
                  </a:cubicBezTo>
                  <a:cubicBezTo>
                    <a:pt x="38" y="192"/>
                    <a:pt x="38" y="192"/>
                    <a:pt x="38" y="191"/>
                  </a:cubicBezTo>
                  <a:close/>
                  <a:moveTo>
                    <a:pt x="184" y="261"/>
                  </a:moveTo>
                  <a:cubicBezTo>
                    <a:pt x="185" y="261"/>
                    <a:pt x="185" y="263"/>
                    <a:pt x="185" y="264"/>
                  </a:cubicBezTo>
                  <a:cubicBezTo>
                    <a:pt x="184" y="264"/>
                    <a:pt x="182" y="264"/>
                    <a:pt x="182" y="263"/>
                  </a:cubicBezTo>
                  <a:cubicBezTo>
                    <a:pt x="182" y="262"/>
                    <a:pt x="184" y="261"/>
                    <a:pt x="184" y="261"/>
                  </a:cubicBezTo>
                  <a:close/>
                  <a:moveTo>
                    <a:pt x="157" y="244"/>
                  </a:moveTo>
                  <a:cubicBezTo>
                    <a:pt x="160" y="245"/>
                    <a:pt x="159" y="249"/>
                    <a:pt x="159" y="251"/>
                  </a:cubicBezTo>
                  <a:cubicBezTo>
                    <a:pt x="160" y="252"/>
                    <a:pt x="161" y="254"/>
                    <a:pt x="160" y="254"/>
                  </a:cubicBezTo>
                  <a:cubicBezTo>
                    <a:pt x="160" y="255"/>
                    <a:pt x="157" y="252"/>
                    <a:pt x="157" y="252"/>
                  </a:cubicBezTo>
                  <a:cubicBezTo>
                    <a:pt x="156" y="251"/>
                    <a:pt x="155" y="250"/>
                    <a:pt x="155" y="249"/>
                  </a:cubicBezTo>
                  <a:cubicBezTo>
                    <a:pt x="155" y="247"/>
                    <a:pt x="155" y="248"/>
                    <a:pt x="154" y="247"/>
                  </a:cubicBezTo>
                  <a:cubicBezTo>
                    <a:pt x="154" y="247"/>
                    <a:pt x="154" y="246"/>
                    <a:pt x="154" y="246"/>
                  </a:cubicBezTo>
                  <a:cubicBezTo>
                    <a:pt x="153" y="243"/>
                    <a:pt x="156" y="244"/>
                    <a:pt x="157" y="244"/>
                  </a:cubicBezTo>
                  <a:close/>
                  <a:moveTo>
                    <a:pt x="153" y="249"/>
                  </a:moveTo>
                  <a:cubicBezTo>
                    <a:pt x="153" y="250"/>
                    <a:pt x="153" y="251"/>
                    <a:pt x="153" y="252"/>
                  </a:cubicBezTo>
                  <a:cubicBezTo>
                    <a:pt x="153" y="252"/>
                    <a:pt x="153" y="253"/>
                    <a:pt x="153" y="254"/>
                  </a:cubicBezTo>
                  <a:cubicBezTo>
                    <a:pt x="152" y="255"/>
                    <a:pt x="152" y="252"/>
                    <a:pt x="152" y="252"/>
                  </a:cubicBezTo>
                  <a:cubicBezTo>
                    <a:pt x="151" y="251"/>
                    <a:pt x="151" y="250"/>
                    <a:pt x="151" y="250"/>
                  </a:cubicBezTo>
                  <a:cubicBezTo>
                    <a:pt x="150" y="249"/>
                    <a:pt x="149" y="249"/>
                    <a:pt x="149" y="248"/>
                  </a:cubicBezTo>
                  <a:cubicBezTo>
                    <a:pt x="149" y="246"/>
                    <a:pt x="152" y="248"/>
                    <a:pt x="153" y="249"/>
                  </a:cubicBezTo>
                  <a:close/>
                  <a:moveTo>
                    <a:pt x="129" y="217"/>
                  </a:moveTo>
                  <a:cubicBezTo>
                    <a:pt x="129" y="218"/>
                    <a:pt x="127" y="217"/>
                    <a:pt x="126" y="219"/>
                  </a:cubicBezTo>
                  <a:cubicBezTo>
                    <a:pt x="126" y="219"/>
                    <a:pt x="124" y="221"/>
                    <a:pt x="125" y="219"/>
                  </a:cubicBezTo>
                  <a:cubicBezTo>
                    <a:pt x="125" y="217"/>
                    <a:pt x="127" y="217"/>
                    <a:pt x="128" y="215"/>
                  </a:cubicBezTo>
                  <a:cubicBezTo>
                    <a:pt x="129" y="213"/>
                    <a:pt x="130" y="216"/>
                    <a:pt x="129" y="217"/>
                  </a:cubicBezTo>
                  <a:close/>
                  <a:moveTo>
                    <a:pt x="113" y="207"/>
                  </a:moveTo>
                  <a:cubicBezTo>
                    <a:pt x="114" y="207"/>
                    <a:pt x="114" y="206"/>
                    <a:pt x="115" y="206"/>
                  </a:cubicBezTo>
                  <a:cubicBezTo>
                    <a:pt x="115" y="205"/>
                    <a:pt x="116" y="204"/>
                    <a:pt x="116" y="204"/>
                  </a:cubicBezTo>
                  <a:cubicBezTo>
                    <a:pt x="117" y="203"/>
                    <a:pt x="117" y="203"/>
                    <a:pt x="117" y="202"/>
                  </a:cubicBezTo>
                  <a:cubicBezTo>
                    <a:pt x="116" y="200"/>
                    <a:pt x="117" y="200"/>
                    <a:pt x="118" y="200"/>
                  </a:cubicBezTo>
                  <a:cubicBezTo>
                    <a:pt x="119" y="201"/>
                    <a:pt x="119" y="202"/>
                    <a:pt x="120" y="203"/>
                  </a:cubicBezTo>
                  <a:cubicBezTo>
                    <a:pt x="121" y="203"/>
                    <a:pt x="122" y="201"/>
                    <a:pt x="123" y="200"/>
                  </a:cubicBezTo>
                  <a:cubicBezTo>
                    <a:pt x="123" y="199"/>
                    <a:pt x="124" y="199"/>
                    <a:pt x="126" y="198"/>
                  </a:cubicBezTo>
                  <a:cubicBezTo>
                    <a:pt x="126" y="198"/>
                    <a:pt x="130" y="196"/>
                    <a:pt x="130" y="197"/>
                  </a:cubicBezTo>
                  <a:cubicBezTo>
                    <a:pt x="130" y="198"/>
                    <a:pt x="128" y="199"/>
                    <a:pt x="127" y="199"/>
                  </a:cubicBezTo>
                  <a:cubicBezTo>
                    <a:pt x="126" y="199"/>
                    <a:pt x="126" y="200"/>
                    <a:pt x="125" y="200"/>
                  </a:cubicBezTo>
                  <a:cubicBezTo>
                    <a:pt x="125" y="201"/>
                    <a:pt x="124" y="201"/>
                    <a:pt x="124" y="202"/>
                  </a:cubicBezTo>
                  <a:cubicBezTo>
                    <a:pt x="123" y="202"/>
                    <a:pt x="123" y="202"/>
                    <a:pt x="123" y="203"/>
                  </a:cubicBezTo>
                  <a:cubicBezTo>
                    <a:pt x="123" y="204"/>
                    <a:pt x="122" y="204"/>
                    <a:pt x="122" y="204"/>
                  </a:cubicBezTo>
                  <a:cubicBezTo>
                    <a:pt x="120" y="206"/>
                    <a:pt x="119" y="206"/>
                    <a:pt x="118" y="207"/>
                  </a:cubicBezTo>
                  <a:cubicBezTo>
                    <a:pt x="117" y="208"/>
                    <a:pt x="116" y="209"/>
                    <a:pt x="114" y="209"/>
                  </a:cubicBezTo>
                  <a:cubicBezTo>
                    <a:pt x="113" y="209"/>
                    <a:pt x="112" y="208"/>
                    <a:pt x="111" y="207"/>
                  </a:cubicBezTo>
                  <a:cubicBezTo>
                    <a:pt x="110" y="207"/>
                    <a:pt x="110" y="207"/>
                    <a:pt x="109" y="207"/>
                  </a:cubicBezTo>
                  <a:cubicBezTo>
                    <a:pt x="109" y="207"/>
                    <a:pt x="108" y="208"/>
                    <a:pt x="107" y="207"/>
                  </a:cubicBezTo>
                  <a:cubicBezTo>
                    <a:pt x="106" y="206"/>
                    <a:pt x="109" y="206"/>
                    <a:pt x="109" y="206"/>
                  </a:cubicBezTo>
                  <a:cubicBezTo>
                    <a:pt x="110" y="207"/>
                    <a:pt x="112" y="208"/>
                    <a:pt x="113" y="207"/>
                  </a:cubicBezTo>
                  <a:close/>
                  <a:moveTo>
                    <a:pt x="99" y="180"/>
                  </a:moveTo>
                  <a:cubicBezTo>
                    <a:pt x="100" y="179"/>
                    <a:pt x="102" y="179"/>
                    <a:pt x="103" y="179"/>
                  </a:cubicBezTo>
                  <a:cubicBezTo>
                    <a:pt x="103" y="178"/>
                    <a:pt x="104" y="178"/>
                    <a:pt x="105" y="177"/>
                  </a:cubicBezTo>
                  <a:cubicBezTo>
                    <a:pt x="105" y="177"/>
                    <a:pt x="106" y="176"/>
                    <a:pt x="107" y="176"/>
                  </a:cubicBezTo>
                  <a:cubicBezTo>
                    <a:pt x="108" y="175"/>
                    <a:pt x="108" y="175"/>
                    <a:pt x="109" y="175"/>
                  </a:cubicBezTo>
                  <a:cubicBezTo>
                    <a:pt x="109" y="175"/>
                    <a:pt x="108" y="176"/>
                    <a:pt x="108" y="176"/>
                  </a:cubicBezTo>
                  <a:cubicBezTo>
                    <a:pt x="106" y="177"/>
                    <a:pt x="106" y="179"/>
                    <a:pt x="108" y="179"/>
                  </a:cubicBezTo>
                  <a:cubicBezTo>
                    <a:pt x="109" y="179"/>
                    <a:pt x="109" y="179"/>
                    <a:pt x="110" y="178"/>
                  </a:cubicBezTo>
                  <a:cubicBezTo>
                    <a:pt x="110" y="178"/>
                    <a:pt x="110" y="177"/>
                    <a:pt x="111" y="177"/>
                  </a:cubicBezTo>
                  <a:cubicBezTo>
                    <a:pt x="111" y="177"/>
                    <a:pt x="112" y="177"/>
                    <a:pt x="112" y="177"/>
                  </a:cubicBezTo>
                  <a:cubicBezTo>
                    <a:pt x="112" y="178"/>
                    <a:pt x="111" y="178"/>
                    <a:pt x="111" y="179"/>
                  </a:cubicBezTo>
                  <a:cubicBezTo>
                    <a:pt x="111" y="181"/>
                    <a:pt x="110" y="182"/>
                    <a:pt x="109" y="182"/>
                  </a:cubicBezTo>
                  <a:cubicBezTo>
                    <a:pt x="108" y="181"/>
                    <a:pt x="108" y="182"/>
                    <a:pt x="108" y="182"/>
                  </a:cubicBezTo>
                  <a:cubicBezTo>
                    <a:pt x="108" y="183"/>
                    <a:pt x="107" y="184"/>
                    <a:pt x="107" y="185"/>
                  </a:cubicBezTo>
                  <a:cubicBezTo>
                    <a:pt x="106" y="185"/>
                    <a:pt x="104" y="188"/>
                    <a:pt x="104" y="186"/>
                  </a:cubicBezTo>
                  <a:cubicBezTo>
                    <a:pt x="104" y="186"/>
                    <a:pt x="105" y="185"/>
                    <a:pt x="105" y="184"/>
                  </a:cubicBezTo>
                  <a:cubicBezTo>
                    <a:pt x="105" y="184"/>
                    <a:pt x="105" y="184"/>
                    <a:pt x="105" y="184"/>
                  </a:cubicBezTo>
                  <a:cubicBezTo>
                    <a:pt x="104" y="184"/>
                    <a:pt x="104" y="185"/>
                    <a:pt x="103" y="185"/>
                  </a:cubicBezTo>
                  <a:cubicBezTo>
                    <a:pt x="103" y="186"/>
                    <a:pt x="101" y="188"/>
                    <a:pt x="100" y="187"/>
                  </a:cubicBezTo>
                  <a:cubicBezTo>
                    <a:pt x="99" y="186"/>
                    <a:pt x="101" y="184"/>
                    <a:pt x="102" y="184"/>
                  </a:cubicBezTo>
                  <a:cubicBezTo>
                    <a:pt x="103" y="183"/>
                    <a:pt x="104" y="182"/>
                    <a:pt x="103" y="181"/>
                  </a:cubicBezTo>
                  <a:cubicBezTo>
                    <a:pt x="103" y="180"/>
                    <a:pt x="102" y="180"/>
                    <a:pt x="102" y="180"/>
                  </a:cubicBezTo>
                  <a:cubicBezTo>
                    <a:pt x="102" y="180"/>
                    <a:pt x="101" y="181"/>
                    <a:pt x="100" y="181"/>
                  </a:cubicBezTo>
                  <a:cubicBezTo>
                    <a:pt x="99" y="181"/>
                    <a:pt x="98" y="181"/>
                    <a:pt x="98" y="182"/>
                  </a:cubicBezTo>
                  <a:cubicBezTo>
                    <a:pt x="97" y="182"/>
                    <a:pt x="96" y="182"/>
                    <a:pt x="96" y="182"/>
                  </a:cubicBezTo>
                  <a:cubicBezTo>
                    <a:pt x="96" y="180"/>
                    <a:pt x="99" y="181"/>
                    <a:pt x="99" y="180"/>
                  </a:cubicBezTo>
                  <a:close/>
                  <a:moveTo>
                    <a:pt x="136" y="100"/>
                  </a:moveTo>
                  <a:cubicBezTo>
                    <a:pt x="135" y="101"/>
                    <a:pt x="134" y="102"/>
                    <a:pt x="134" y="100"/>
                  </a:cubicBezTo>
                  <a:cubicBezTo>
                    <a:pt x="135" y="100"/>
                    <a:pt x="136" y="99"/>
                    <a:pt x="137" y="99"/>
                  </a:cubicBezTo>
                  <a:cubicBezTo>
                    <a:pt x="138" y="98"/>
                    <a:pt x="141" y="96"/>
                    <a:pt x="141" y="98"/>
                  </a:cubicBezTo>
                  <a:cubicBezTo>
                    <a:pt x="142" y="98"/>
                    <a:pt x="143" y="99"/>
                    <a:pt x="142" y="100"/>
                  </a:cubicBezTo>
                  <a:cubicBezTo>
                    <a:pt x="141" y="100"/>
                    <a:pt x="140" y="100"/>
                    <a:pt x="140" y="100"/>
                  </a:cubicBezTo>
                  <a:cubicBezTo>
                    <a:pt x="139" y="100"/>
                    <a:pt x="139" y="100"/>
                    <a:pt x="139" y="100"/>
                  </a:cubicBezTo>
                  <a:cubicBezTo>
                    <a:pt x="138" y="100"/>
                    <a:pt x="138" y="100"/>
                    <a:pt x="138" y="100"/>
                  </a:cubicBezTo>
                  <a:cubicBezTo>
                    <a:pt x="138" y="100"/>
                    <a:pt x="137" y="100"/>
                    <a:pt x="136" y="100"/>
                  </a:cubicBezTo>
                  <a:close/>
                  <a:moveTo>
                    <a:pt x="138" y="107"/>
                  </a:moveTo>
                  <a:cubicBezTo>
                    <a:pt x="135" y="108"/>
                    <a:pt x="134" y="107"/>
                    <a:pt x="134" y="105"/>
                  </a:cubicBezTo>
                  <a:cubicBezTo>
                    <a:pt x="134" y="104"/>
                    <a:pt x="135" y="103"/>
                    <a:pt x="136" y="102"/>
                  </a:cubicBezTo>
                  <a:cubicBezTo>
                    <a:pt x="137" y="102"/>
                    <a:pt x="137" y="102"/>
                    <a:pt x="138" y="102"/>
                  </a:cubicBezTo>
                  <a:cubicBezTo>
                    <a:pt x="138" y="101"/>
                    <a:pt x="139" y="102"/>
                    <a:pt x="139" y="101"/>
                  </a:cubicBezTo>
                  <a:cubicBezTo>
                    <a:pt x="140" y="101"/>
                    <a:pt x="141" y="100"/>
                    <a:pt x="141" y="101"/>
                  </a:cubicBezTo>
                  <a:cubicBezTo>
                    <a:pt x="141" y="101"/>
                    <a:pt x="141" y="102"/>
                    <a:pt x="141" y="102"/>
                  </a:cubicBezTo>
                  <a:cubicBezTo>
                    <a:pt x="140" y="103"/>
                    <a:pt x="140" y="102"/>
                    <a:pt x="139" y="103"/>
                  </a:cubicBezTo>
                  <a:cubicBezTo>
                    <a:pt x="138" y="103"/>
                    <a:pt x="139" y="104"/>
                    <a:pt x="139" y="104"/>
                  </a:cubicBezTo>
                  <a:cubicBezTo>
                    <a:pt x="139" y="105"/>
                    <a:pt x="139" y="106"/>
                    <a:pt x="138" y="107"/>
                  </a:cubicBezTo>
                  <a:close/>
                  <a:moveTo>
                    <a:pt x="112" y="121"/>
                  </a:moveTo>
                  <a:cubicBezTo>
                    <a:pt x="112" y="121"/>
                    <a:pt x="112" y="120"/>
                    <a:pt x="112" y="120"/>
                  </a:cubicBezTo>
                  <a:cubicBezTo>
                    <a:pt x="113" y="119"/>
                    <a:pt x="113" y="119"/>
                    <a:pt x="113" y="119"/>
                  </a:cubicBezTo>
                  <a:cubicBezTo>
                    <a:pt x="113" y="119"/>
                    <a:pt x="112" y="118"/>
                    <a:pt x="112" y="118"/>
                  </a:cubicBezTo>
                  <a:cubicBezTo>
                    <a:pt x="113" y="117"/>
                    <a:pt x="114" y="117"/>
                    <a:pt x="115" y="117"/>
                  </a:cubicBezTo>
                  <a:cubicBezTo>
                    <a:pt x="116" y="116"/>
                    <a:pt x="116" y="116"/>
                    <a:pt x="117" y="115"/>
                  </a:cubicBezTo>
                  <a:cubicBezTo>
                    <a:pt x="118" y="114"/>
                    <a:pt x="118" y="113"/>
                    <a:pt x="119" y="112"/>
                  </a:cubicBezTo>
                  <a:cubicBezTo>
                    <a:pt x="120" y="112"/>
                    <a:pt x="122" y="111"/>
                    <a:pt x="122" y="110"/>
                  </a:cubicBezTo>
                  <a:cubicBezTo>
                    <a:pt x="123" y="110"/>
                    <a:pt x="125" y="110"/>
                    <a:pt x="126" y="109"/>
                  </a:cubicBezTo>
                  <a:cubicBezTo>
                    <a:pt x="126" y="109"/>
                    <a:pt x="127" y="108"/>
                    <a:pt x="127" y="108"/>
                  </a:cubicBezTo>
                  <a:cubicBezTo>
                    <a:pt x="128" y="108"/>
                    <a:pt x="129" y="107"/>
                    <a:pt x="129" y="107"/>
                  </a:cubicBezTo>
                  <a:cubicBezTo>
                    <a:pt x="130" y="107"/>
                    <a:pt x="129" y="108"/>
                    <a:pt x="129" y="108"/>
                  </a:cubicBezTo>
                  <a:cubicBezTo>
                    <a:pt x="128" y="108"/>
                    <a:pt x="129" y="108"/>
                    <a:pt x="129" y="109"/>
                  </a:cubicBezTo>
                  <a:cubicBezTo>
                    <a:pt x="129" y="109"/>
                    <a:pt x="129" y="109"/>
                    <a:pt x="128" y="110"/>
                  </a:cubicBezTo>
                  <a:cubicBezTo>
                    <a:pt x="127" y="110"/>
                    <a:pt x="127" y="111"/>
                    <a:pt x="127" y="112"/>
                  </a:cubicBezTo>
                  <a:cubicBezTo>
                    <a:pt x="127" y="112"/>
                    <a:pt x="127" y="113"/>
                    <a:pt x="126" y="113"/>
                  </a:cubicBezTo>
                  <a:cubicBezTo>
                    <a:pt x="126" y="114"/>
                    <a:pt x="125" y="114"/>
                    <a:pt x="125" y="115"/>
                  </a:cubicBezTo>
                  <a:cubicBezTo>
                    <a:pt x="125" y="116"/>
                    <a:pt x="124" y="116"/>
                    <a:pt x="124" y="116"/>
                  </a:cubicBezTo>
                  <a:cubicBezTo>
                    <a:pt x="123" y="117"/>
                    <a:pt x="122" y="116"/>
                    <a:pt x="122" y="115"/>
                  </a:cubicBezTo>
                  <a:cubicBezTo>
                    <a:pt x="122" y="114"/>
                    <a:pt x="121" y="116"/>
                    <a:pt x="121" y="116"/>
                  </a:cubicBezTo>
                  <a:cubicBezTo>
                    <a:pt x="120" y="117"/>
                    <a:pt x="120" y="117"/>
                    <a:pt x="119" y="118"/>
                  </a:cubicBezTo>
                  <a:cubicBezTo>
                    <a:pt x="119" y="119"/>
                    <a:pt x="118" y="120"/>
                    <a:pt x="117" y="120"/>
                  </a:cubicBezTo>
                  <a:cubicBezTo>
                    <a:pt x="117" y="121"/>
                    <a:pt x="116" y="120"/>
                    <a:pt x="116" y="120"/>
                  </a:cubicBezTo>
                  <a:cubicBezTo>
                    <a:pt x="115" y="119"/>
                    <a:pt x="115" y="121"/>
                    <a:pt x="114" y="121"/>
                  </a:cubicBezTo>
                  <a:cubicBezTo>
                    <a:pt x="114" y="120"/>
                    <a:pt x="113" y="120"/>
                    <a:pt x="112" y="121"/>
                  </a:cubicBezTo>
                  <a:close/>
                  <a:moveTo>
                    <a:pt x="215" y="187"/>
                  </a:moveTo>
                  <a:cubicBezTo>
                    <a:pt x="216" y="187"/>
                    <a:pt x="214" y="188"/>
                    <a:pt x="214" y="188"/>
                  </a:cubicBezTo>
                  <a:cubicBezTo>
                    <a:pt x="212" y="187"/>
                    <a:pt x="213" y="186"/>
                    <a:pt x="215" y="187"/>
                  </a:cubicBezTo>
                  <a:close/>
                  <a:moveTo>
                    <a:pt x="248" y="202"/>
                  </a:moveTo>
                  <a:cubicBezTo>
                    <a:pt x="248" y="201"/>
                    <a:pt x="249" y="200"/>
                    <a:pt x="250" y="201"/>
                  </a:cubicBezTo>
                  <a:cubicBezTo>
                    <a:pt x="250" y="202"/>
                    <a:pt x="249" y="203"/>
                    <a:pt x="248" y="202"/>
                  </a:cubicBezTo>
                  <a:close/>
                  <a:moveTo>
                    <a:pt x="250" y="197"/>
                  </a:moveTo>
                  <a:cubicBezTo>
                    <a:pt x="250" y="197"/>
                    <a:pt x="250" y="197"/>
                    <a:pt x="250" y="197"/>
                  </a:cubicBezTo>
                  <a:cubicBezTo>
                    <a:pt x="251" y="197"/>
                    <a:pt x="251" y="197"/>
                    <a:pt x="251" y="197"/>
                  </a:cubicBezTo>
                  <a:cubicBezTo>
                    <a:pt x="252" y="197"/>
                    <a:pt x="252" y="199"/>
                    <a:pt x="251" y="199"/>
                  </a:cubicBezTo>
                  <a:cubicBezTo>
                    <a:pt x="250" y="199"/>
                    <a:pt x="249" y="197"/>
                    <a:pt x="250" y="197"/>
                  </a:cubicBezTo>
                  <a:close/>
                  <a:moveTo>
                    <a:pt x="254" y="179"/>
                  </a:moveTo>
                  <a:cubicBezTo>
                    <a:pt x="252" y="178"/>
                    <a:pt x="252" y="178"/>
                    <a:pt x="252" y="180"/>
                  </a:cubicBezTo>
                  <a:cubicBezTo>
                    <a:pt x="252" y="181"/>
                    <a:pt x="252" y="183"/>
                    <a:pt x="251" y="181"/>
                  </a:cubicBezTo>
                  <a:cubicBezTo>
                    <a:pt x="250" y="181"/>
                    <a:pt x="248" y="180"/>
                    <a:pt x="247" y="179"/>
                  </a:cubicBezTo>
                  <a:cubicBezTo>
                    <a:pt x="247" y="177"/>
                    <a:pt x="249" y="176"/>
                    <a:pt x="249" y="175"/>
                  </a:cubicBezTo>
                  <a:cubicBezTo>
                    <a:pt x="249" y="174"/>
                    <a:pt x="246" y="176"/>
                    <a:pt x="245" y="175"/>
                  </a:cubicBezTo>
                  <a:cubicBezTo>
                    <a:pt x="245" y="175"/>
                    <a:pt x="244" y="173"/>
                    <a:pt x="243" y="173"/>
                  </a:cubicBezTo>
                  <a:cubicBezTo>
                    <a:pt x="242" y="173"/>
                    <a:pt x="243" y="175"/>
                    <a:pt x="242" y="176"/>
                  </a:cubicBezTo>
                  <a:cubicBezTo>
                    <a:pt x="242" y="177"/>
                    <a:pt x="240" y="174"/>
                    <a:pt x="239" y="175"/>
                  </a:cubicBezTo>
                  <a:cubicBezTo>
                    <a:pt x="240" y="176"/>
                    <a:pt x="240" y="178"/>
                    <a:pt x="242" y="179"/>
                  </a:cubicBezTo>
                  <a:cubicBezTo>
                    <a:pt x="243" y="180"/>
                    <a:pt x="244" y="182"/>
                    <a:pt x="245" y="183"/>
                  </a:cubicBezTo>
                  <a:cubicBezTo>
                    <a:pt x="246" y="183"/>
                    <a:pt x="246" y="183"/>
                    <a:pt x="247" y="184"/>
                  </a:cubicBezTo>
                  <a:cubicBezTo>
                    <a:pt x="248" y="185"/>
                    <a:pt x="248" y="185"/>
                    <a:pt x="248" y="186"/>
                  </a:cubicBezTo>
                  <a:cubicBezTo>
                    <a:pt x="249" y="188"/>
                    <a:pt x="251" y="189"/>
                    <a:pt x="251" y="191"/>
                  </a:cubicBezTo>
                  <a:cubicBezTo>
                    <a:pt x="251" y="192"/>
                    <a:pt x="250" y="192"/>
                    <a:pt x="251" y="193"/>
                  </a:cubicBezTo>
                  <a:cubicBezTo>
                    <a:pt x="251" y="194"/>
                    <a:pt x="251" y="195"/>
                    <a:pt x="250" y="196"/>
                  </a:cubicBezTo>
                  <a:cubicBezTo>
                    <a:pt x="249" y="196"/>
                    <a:pt x="246" y="195"/>
                    <a:pt x="245" y="194"/>
                  </a:cubicBezTo>
                  <a:cubicBezTo>
                    <a:pt x="245" y="193"/>
                    <a:pt x="240" y="189"/>
                    <a:pt x="239" y="189"/>
                  </a:cubicBezTo>
                  <a:cubicBezTo>
                    <a:pt x="239" y="192"/>
                    <a:pt x="240" y="193"/>
                    <a:pt x="242" y="194"/>
                  </a:cubicBezTo>
                  <a:cubicBezTo>
                    <a:pt x="243" y="195"/>
                    <a:pt x="245" y="196"/>
                    <a:pt x="246" y="198"/>
                  </a:cubicBezTo>
                  <a:cubicBezTo>
                    <a:pt x="246" y="199"/>
                    <a:pt x="246" y="199"/>
                    <a:pt x="246" y="200"/>
                  </a:cubicBezTo>
                  <a:cubicBezTo>
                    <a:pt x="245" y="200"/>
                    <a:pt x="243" y="199"/>
                    <a:pt x="243" y="199"/>
                  </a:cubicBezTo>
                  <a:cubicBezTo>
                    <a:pt x="242" y="199"/>
                    <a:pt x="240" y="198"/>
                    <a:pt x="240" y="197"/>
                  </a:cubicBezTo>
                  <a:cubicBezTo>
                    <a:pt x="239" y="197"/>
                    <a:pt x="238" y="196"/>
                    <a:pt x="238" y="196"/>
                  </a:cubicBezTo>
                  <a:cubicBezTo>
                    <a:pt x="237" y="195"/>
                    <a:pt x="236" y="195"/>
                    <a:pt x="235" y="195"/>
                  </a:cubicBezTo>
                  <a:cubicBezTo>
                    <a:pt x="234" y="194"/>
                    <a:pt x="234" y="193"/>
                    <a:pt x="233" y="193"/>
                  </a:cubicBezTo>
                  <a:cubicBezTo>
                    <a:pt x="231" y="193"/>
                    <a:pt x="231" y="191"/>
                    <a:pt x="231" y="190"/>
                  </a:cubicBezTo>
                  <a:cubicBezTo>
                    <a:pt x="231" y="189"/>
                    <a:pt x="230" y="189"/>
                    <a:pt x="229" y="189"/>
                  </a:cubicBezTo>
                  <a:cubicBezTo>
                    <a:pt x="228" y="189"/>
                    <a:pt x="228" y="187"/>
                    <a:pt x="227" y="186"/>
                  </a:cubicBezTo>
                  <a:cubicBezTo>
                    <a:pt x="227" y="186"/>
                    <a:pt x="226" y="185"/>
                    <a:pt x="225" y="185"/>
                  </a:cubicBezTo>
                  <a:cubicBezTo>
                    <a:pt x="224" y="184"/>
                    <a:pt x="224" y="184"/>
                    <a:pt x="224" y="185"/>
                  </a:cubicBezTo>
                  <a:cubicBezTo>
                    <a:pt x="223" y="185"/>
                    <a:pt x="220" y="183"/>
                    <a:pt x="220" y="184"/>
                  </a:cubicBezTo>
                  <a:cubicBezTo>
                    <a:pt x="220" y="185"/>
                    <a:pt x="220" y="185"/>
                    <a:pt x="219" y="185"/>
                  </a:cubicBezTo>
                  <a:cubicBezTo>
                    <a:pt x="218" y="186"/>
                    <a:pt x="218" y="185"/>
                    <a:pt x="217" y="186"/>
                  </a:cubicBezTo>
                  <a:cubicBezTo>
                    <a:pt x="216" y="187"/>
                    <a:pt x="214" y="185"/>
                    <a:pt x="213" y="184"/>
                  </a:cubicBezTo>
                  <a:cubicBezTo>
                    <a:pt x="213" y="183"/>
                    <a:pt x="213" y="182"/>
                    <a:pt x="213" y="182"/>
                  </a:cubicBezTo>
                  <a:cubicBezTo>
                    <a:pt x="214" y="181"/>
                    <a:pt x="214" y="180"/>
                    <a:pt x="214" y="179"/>
                  </a:cubicBezTo>
                  <a:cubicBezTo>
                    <a:pt x="215" y="177"/>
                    <a:pt x="217" y="179"/>
                    <a:pt x="218" y="179"/>
                  </a:cubicBezTo>
                  <a:cubicBezTo>
                    <a:pt x="220" y="179"/>
                    <a:pt x="223" y="179"/>
                    <a:pt x="224" y="178"/>
                  </a:cubicBezTo>
                  <a:cubicBezTo>
                    <a:pt x="225" y="178"/>
                    <a:pt x="225" y="177"/>
                    <a:pt x="225" y="177"/>
                  </a:cubicBezTo>
                  <a:cubicBezTo>
                    <a:pt x="225" y="176"/>
                    <a:pt x="224" y="176"/>
                    <a:pt x="224" y="175"/>
                  </a:cubicBezTo>
                  <a:cubicBezTo>
                    <a:pt x="222" y="174"/>
                    <a:pt x="224" y="173"/>
                    <a:pt x="225" y="172"/>
                  </a:cubicBezTo>
                  <a:cubicBezTo>
                    <a:pt x="226" y="171"/>
                    <a:pt x="227" y="172"/>
                    <a:pt x="228" y="172"/>
                  </a:cubicBezTo>
                  <a:cubicBezTo>
                    <a:pt x="229" y="172"/>
                    <a:pt x="230" y="172"/>
                    <a:pt x="231" y="172"/>
                  </a:cubicBezTo>
                  <a:cubicBezTo>
                    <a:pt x="231" y="173"/>
                    <a:pt x="232" y="176"/>
                    <a:pt x="233" y="176"/>
                  </a:cubicBezTo>
                  <a:cubicBezTo>
                    <a:pt x="234" y="175"/>
                    <a:pt x="237" y="174"/>
                    <a:pt x="236" y="173"/>
                  </a:cubicBezTo>
                  <a:cubicBezTo>
                    <a:pt x="236" y="172"/>
                    <a:pt x="235" y="172"/>
                    <a:pt x="235" y="171"/>
                  </a:cubicBezTo>
                  <a:cubicBezTo>
                    <a:pt x="234" y="170"/>
                    <a:pt x="234" y="169"/>
                    <a:pt x="233" y="169"/>
                  </a:cubicBezTo>
                  <a:cubicBezTo>
                    <a:pt x="233" y="169"/>
                    <a:pt x="231" y="169"/>
                    <a:pt x="231" y="170"/>
                  </a:cubicBezTo>
                  <a:cubicBezTo>
                    <a:pt x="231" y="170"/>
                    <a:pt x="231" y="171"/>
                    <a:pt x="230" y="171"/>
                  </a:cubicBezTo>
                  <a:cubicBezTo>
                    <a:pt x="229" y="171"/>
                    <a:pt x="227" y="172"/>
                    <a:pt x="227" y="171"/>
                  </a:cubicBezTo>
                  <a:cubicBezTo>
                    <a:pt x="226" y="170"/>
                    <a:pt x="227" y="169"/>
                    <a:pt x="227" y="168"/>
                  </a:cubicBezTo>
                  <a:cubicBezTo>
                    <a:pt x="228" y="166"/>
                    <a:pt x="227" y="165"/>
                    <a:pt x="227" y="164"/>
                  </a:cubicBezTo>
                  <a:cubicBezTo>
                    <a:pt x="227" y="163"/>
                    <a:pt x="226" y="162"/>
                    <a:pt x="225" y="162"/>
                  </a:cubicBezTo>
                  <a:cubicBezTo>
                    <a:pt x="225" y="161"/>
                    <a:pt x="224" y="160"/>
                    <a:pt x="223" y="159"/>
                  </a:cubicBezTo>
                  <a:cubicBezTo>
                    <a:pt x="223" y="159"/>
                    <a:pt x="222" y="157"/>
                    <a:pt x="221" y="157"/>
                  </a:cubicBezTo>
                  <a:cubicBezTo>
                    <a:pt x="220" y="158"/>
                    <a:pt x="219" y="158"/>
                    <a:pt x="218" y="158"/>
                  </a:cubicBezTo>
                  <a:cubicBezTo>
                    <a:pt x="218" y="158"/>
                    <a:pt x="216" y="157"/>
                    <a:pt x="217" y="156"/>
                  </a:cubicBezTo>
                  <a:cubicBezTo>
                    <a:pt x="218" y="156"/>
                    <a:pt x="218" y="156"/>
                    <a:pt x="219" y="156"/>
                  </a:cubicBezTo>
                  <a:cubicBezTo>
                    <a:pt x="219" y="156"/>
                    <a:pt x="219" y="155"/>
                    <a:pt x="218" y="154"/>
                  </a:cubicBezTo>
                  <a:cubicBezTo>
                    <a:pt x="217" y="154"/>
                    <a:pt x="217" y="154"/>
                    <a:pt x="216" y="155"/>
                  </a:cubicBezTo>
                  <a:cubicBezTo>
                    <a:pt x="216" y="155"/>
                    <a:pt x="215" y="154"/>
                    <a:pt x="215" y="153"/>
                  </a:cubicBezTo>
                  <a:cubicBezTo>
                    <a:pt x="215" y="153"/>
                    <a:pt x="216" y="152"/>
                    <a:pt x="216" y="152"/>
                  </a:cubicBezTo>
                  <a:cubicBezTo>
                    <a:pt x="216" y="152"/>
                    <a:pt x="215" y="152"/>
                    <a:pt x="215" y="152"/>
                  </a:cubicBezTo>
                  <a:cubicBezTo>
                    <a:pt x="214" y="152"/>
                    <a:pt x="214" y="151"/>
                    <a:pt x="214" y="151"/>
                  </a:cubicBezTo>
                  <a:cubicBezTo>
                    <a:pt x="213" y="151"/>
                    <a:pt x="213" y="150"/>
                    <a:pt x="213" y="149"/>
                  </a:cubicBezTo>
                  <a:cubicBezTo>
                    <a:pt x="213" y="149"/>
                    <a:pt x="213" y="147"/>
                    <a:pt x="212" y="147"/>
                  </a:cubicBezTo>
                  <a:cubicBezTo>
                    <a:pt x="212" y="146"/>
                    <a:pt x="210" y="146"/>
                    <a:pt x="209" y="146"/>
                  </a:cubicBezTo>
                  <a:cubicBezTo>
                    <a:pt x="209" y="147"/>
                    <a:pt x="211" y="149"/>
                    <a:pt x="211" y="149"/>
                  </a:cubicBezTo>
                  <a:cubicBezTo>
                    <a:pt x="212" y="150"/>
                    <a:pt x="210" y="150"/>
                    <a:pt x="209" y="150"/>
                  </a:cubicBezTo>
                  <a:cubicBezTo>
                    <a:pt x="208" y="150"/>
                    <a:pt x="206" y="149"/>
                    <a:pt x="205" y="149"/>
                  </a:cubicBezTo>
                  <a:cubicBezTo>
                    <a:pt x="204" y="150"/>
                    <a:pt x="204" y="150"/>
                    <a:pt x="203" y="150"/>
                  </a:cubicBezTo>
                  <a:cubicBezTo>
                    <a:pt x="202" y="150"/>
                    <a:pt x="200" y="150"/>
                    <a:pt x="199" y="150"/>
                  </a:cubicBezTo>
                  <a:cubicBezTo>
                    <a:pt x="198" y="150"/>
                    <a:pt x="196" y="150"/>
                    <a:pt x="196" y="150"/>
                  </a:cubicBezTo>
                  <a:cubicBezTo>
                    <a:pt x="193" y="150"/>
                    <a:pt x="192" y="149"/>
                    <a:pt x="190" y="149"/>
                  </a:cubicBezTo>
                  <a:cubicBezTo>
                    <a:pt x="189" y="149"/>
                    <a:pt x="188" y="149"/>
                    <a:pt x="187" y="148"/>
                  </a:cubicBezTo>
                  <a:cubicBezTo>
                    <a:pt x="186" y="148"/>
                    <a:pt x="186" y="147"/>
                    <a:pt x="185" y="146"/>
                  </a:cubicBezTo>
                  <a:cubicBezTo>
                    <a:pt x="184" y="146"/>
                    <a:pt x="183" y="145"/>
                    <a:pt x="183" y="144"/>
                  </a:cubicBezTo>
                  <a:cubicBezTo>
                    <a:pt x="183" y="143"/>
                    <a:pt x="183" y="143"/>
                    <a:pt x="184" y="143"/>
                  </a:cubicBezTo>
                  <a:cubicBezTo>
                    <a:pt x="185" y="143"/>
                    <a:pt x="186" y="144"/>
                    <a:pt x="187" y="144"/>
                  </a:cubicBezTo>
                  <a:cubicBezTo>
                    <a:pt x="188" y="144"/>
                    <a:pt x="187" y="143"/>
                    <a:pt x="186" y="143"/>
                  </a:cubicBezTo>
                  <a:cubicBezTo>
                    <a:pt x="185" y="142"/>
                    <a:pt x="182" y="142"/>
                    <a:pt x="181" y="141"/>
                  </a:cubicBezTo>
                  <a:cubicBezTo>
                    <a:pt x="181" y="140"/>
                    <a:pt x="181" y="139"/>
                    <a:pt x="181" y="138"/>
                  </a:cubicBezTo>
                  <a:cubicBezTo>
                    <a:pt x="181" y="137"/>
                    <a:pt x="181" y="136"/>
                    <a:pt x="181" y="136"/>
                  </a:cubicBezTo>
                  <a:cubicBezTo>
                    <a:pt x="182" y="133"/>
                    <a:pt x="183" y="132"/>
                    <a:pt x="184" y="130"/>
                  </a:cubicBezTo>
                  <a:cubicBezTo>
                    <a:pt x="184" y="129"/>
                    <a:pt x="185" y="128"/>
                    <a:pt x="185" y="128"/>
                  </a:cubicBezTo>
                  <a:cubicBezTo>
                    <a:pt x="186" y="127"/>
                    <a:pt x="187" y="127"/>
                    <a:pt x="188" y="126"/>
                  </a:cubicBezTo>
                  <a:cubicBezTo>
                    <a:pt x="189" y="125"/>
                    <a:pt x="191" y="125"/>
                    <a:pt x="193" y="125"/>
                  </a:cubicBezTo>
                  <a:cubicBezTo>
                    <a:pt x="195" y="125"/>
                    <a:pt x="196" y="126"/>
                    <a:pt x="194" y="127"/>
                  </a:cubicBezTo>
                  <a:cubicBezTo>
                    <a:pt x="194" y="127"/>
                    <a:pt x="194" y="128"/>
                    <a:pt x="193" y="129"/>
                  </a:cubicBezTo>
                  <a:cubicBezTo>
                    <a:pt x="192" y="129"/>
                    <a:pt x="192" y="129"/>
                    <a:pt x="191" y="130"/>
                  </a:cubicBezTo>
                  <a:cubicBezTo>
                    <a:pt x="191" y="130"/>
                    <a:pt x="190" y="131"/>
                    <a:pt x="190" y="132"/>
                  </a:cubicBezTo>
                  <a:cubicBezTo>
                    <a:pt x="190" y="133"/>
                    <a:pt x="191" y="133"/>
                    <a:pt x="191" y="133"/>
                  </a:cubicBezTo>
                  <a:cubicBezTo>
                    <a:pt x="191" y="134"/>
                    <a:pt x="191" y="135"/>
                    <a:pt x="191" y="136"/>
                  </a:cubicBezTo>
                  <a:cubicBezTo>
                    <a:pt x="191" y="137"/>
                    <a:pt x="191" y="137"/>
                    <a:pt x="192" y="138"/>
                  </a:cubicBezTo>
                  <a:cubicBezTo>
                    <a:pt x="192" y="139"/>
                    <a:pt x="192" y="140"/>
                    <a:pt x="194" y="140"/>
                  </a:cubicBezTo>
                  <a:cubicBezTo>
                    <a:pt x="196" y="141"/>
                    <a:pt x="194" y="139"/>
                    <a:pt x="194" y="138"/>
                  </a:cubicBezTo>
                  <a:cubicBezTo>
                    <a:pt x="193" y="138"/>
                    <a:pt x="192" y="136"/>
                    <a:pt x="193" y="135"/>
                  </a:cubicBezTo>
                  <a:cubicBezTo>
                    <a:pt x="195" y="134"/>
                    <a:pt x="195" y="134"/>
                    <a:pt x="194" y="133"/>
                  </a:cubicBezTo>
                  <a:cubicBezTo>
                    <a:pt x="193" y="133"/>
                    <a:pt x="192" y="131"/>
                    <a:pt x="193" y="131"/>
                  </a:cubicBezTo>
                  <a:cubicBezTo>
                    <a:pt x="193" y="130"/>
                    <a:pt x="194" y="130"/>
                    <a:pt x="194" y="130"/>
                  </a:cubicBezTo>
                  <a:cubicBezTo>
                    <a:pt x="195" y="130"/>
                    <a:pt x="194" y="129"/>
                    <a:pt x="195" y="129"/>
                  </a:cubicBezTo>
                  <a:cubicBezTo>
                    <a:pt x="195" y="129"/>
                    <a:pt x="195" y="128"/>
                    <a:pt x="195" y="127"/>
                  </a:cubicBezTo>
                  <a:cubicBezTo>
                    <a:pt x="196" y="127"/>
                    <a:pt x="196" y="127"/>
                    <a:pt x="196" y="127"/>
                  </a:cubicBezTo>
                  <a:cubicBezTo>
                    <a:pt x="197" y="127"/>
                    <a:pt x="197" y="126"/>
                    <a:pt x="198" y="126"/>
                  </a:cubicBezTo>
                  <a:cubicBezTo>
                    <a:pt x="199" y="126"/>
                    <a:pt x="199" y="126"/>
                    <a:pt x="200" y="126"/>
                  </a:cubicBezTo>
                  <a:cubicBezTo>
                    <a:pt x="201" y="125"/>
                    <a:pt x="203" y="126"/>
                    <a:pt x="203" y="126"/>
                  </a:cubicBezTo>
                  <a:cubicBezTo>
                    <a:pt x="205" y="128"/>
                    <a:pt x="206" y="132"/>
                    <a:pt x="204" y="134"/>
                  </a:cubicBezTo>
                  <a:cubicBezTo>
                    <a:pt x="204" y="135"/>
                    <a:pt x="203" y="135"/>
                    <a:pt x="204" y="136"/>
                  </a:cubicBezTo>
                  <a:cubicBezTo>
                    <a:pt x="204" y="136"/>
                    <a:pt x="204" y="137"/>
                    <a:pt x="205" y="136"/>
                  </a:cubicBezTo>
                  <a:cubicBezTo>
                    <a:pt x="205" y="136"/>
                    <a:pt x="206" y="135"/>
                    <a:pt x="206" y="135"/>
                  </a:cubicBezTo>
                  <a:cubicBezTo>
                    <a:pt x="207" y="134"/>
                    <a:pt x="207" y="135"/>
                    <a:pt x="208" y="136"/>
                  </a:cubicBezTo>
                  <a:cubicBezTo>
                    <a:pt x="208" y="136"/>
                    <a:pt x="209" y="136"/>
                    <a:pt x="209" y="136"/>
                  </a:cubicBezTo>
                  <a:cubicBezTo>
                    <a:pt x="209" y="136"/>
                    <a:pt x="209" y="136"/>
                    <a:pt x="209" y="136"/>
                  </a:cubicBezTo>
                  <a:cubicBezTo>
                    <a:pt x="209" y="135"/>
                    <a:pt x="211" y="135"/>
                    <a:pt x="211" y="135"/>
                  </a:cubicBezTo>
                  <a:cubicBezTo>
                    <a:pt x="212" y="135"/>
                    <a:pt x="211" y="134"/>
                    <a:pt x="211" y="134"/>
                  </a:cubicBezTo>
                  <a:cubicBezTo>
                    <a:pt x="211" y="133"/>
                    <a:pt x="210" y="133"/>
                    <a:pt x="210" y="132"/>
                  </a:cubicBezTo>
                  <a:cubicBezTo>
                    <a:pt x="211" y="132"/>
                    <a:pt x="212" y="132"/>
                    <a:pt x="212" y="132"/>
                  </a:cubicBezTo>
                  <a:cubicBezTo>
                    <a:pt x="213" y="132"/>
                    <a:pt x="212" y="131"/>
                    <a:pt x="211" y="131"/>
                  </a:cubicBezTo>
                  <a:cubicBezTo>
                    <a:pt x="210" y="131"/>
                    <a:pt x="210" y="131"/>
                    <a:pt x="209" y="131"/>
                  </a:cubicBezTo>
                  <a:cubicBezTo>
                    <a:pt x="208" y="131"/>
                    <a:pt x="206" y="129"/>
                    <a:pt x="206" y="128"/>
                  </a:cubicBezTo>
                  <a:cubicBezTo>
                    <a:pt x="205" y="128"/>
                    <a:pt x="204" y="125"/>
                    <a:pt x="206" y="126"/>
                  </a:cubicBezTo>
                  <a:cubicBezTo>
                    <a:pt x="207" y="126"/>
                    <a:pt x="208" y="126"/>
                    <a:pt x="209" y="126"/>
                  </a:cubicBezTo>
                  <a:cubicBezTo>
                    <a:pt x="210" y="126"/>
                    <a:pt x="211" y="126"/>
                    <a:pt x="212" y="126"/>
                  </a:cubicBezTo>
                  <a:cubicBezTo>
                    <a:pt x="214" y="126"/>
                    <a:pt x="215" y="128"/>
                    <a:pt x="216" y="129"/>
                  </a:cubicBezTo>
                  <a:cubicBezTo>
                    <a:pt x="217" y="130"/>
                    <a:pt x="217" y="132"/>
                    <a:pt x="215" y="131"/>
                  </a:cubicBezTo>
                  <a:cubicBezTo>
                    <a:pt x="215" y="132"/>
                    <a:pt x="216" y="133"/>
                    <a:pt x="217" y="133"/>
                  </a:cubicBezTo>
                  <a:cubicBezTo>
                    <a:pt x="218" y="133"/>
                    <a:pt x="218" y="133"/>
                    <a:pt x="219" y="133"/>
                  </a:cubicBezTo>
                  <a:cubicBezTo>
                    <a:pt x="219" y="133"/>
                    <a:pt x="219" y="133"/>
                    <a:pt x="219" y="134"/>
                  </a:cubicBezTo>
                  <a:cubicBezTo>
                    <a:pt x="220" y="135"/>
                    <a:pt x="218" y="136"/>
                    <a:pt x="220" y="136"/>
                  </a:cubicBezTo>
                  <a:cubicBezTo>
                    <a:pt x="221" y="136"/>
                    <a:pt x="221" y="137"/>
                    <a:pt x="220" y="138"/>
                  </a:cubicBezTo>
                  <a:cubicBezTo>
                    <a:pt x="220" y="138"/>
                    <a:pt x="220" y="140"/>
                    <a:pt x="221" y="139"/>
                  </a:cubicBezTo>
                  <a:cubicBezTo>
                    <a:pt x="221" y="139"/>
                    <a:pt x="222" y="139"/>
                    <a:pt x="223" y="138"/>
                  </a:cubicBezTo>
                  <a:cubicBezTo>
                    <a:pt x="225" y="138"/>
                    <a:pt x="222" y="141"/>
                    <a:pt x="224" y="141"/>
                  </a:cubicBezTo>
                  <a:cubicBezTo>
                    <a:pt x="224" y="140"/>
                    <a:pt x="224" y="140"/>
                    <a:pt x="225" y="139"/>
                  </a:cubicBezTo>
                  <a:cubicBezTo>
                    <a:pt x="226" y="139"/>
                    <a:pt x="227" y="139"/>
                    <a:pt x="228" y="140"/>
                  </a:cubicBezTo>
                  <a:cubicBezTo>
                    <a:pt x="229" y="140"/>
                    <a:pt x="230" y="141"/>
                    <a:pt x="230" y="142"/>
                  </a:cubicBezTo>
                  <a:cubicBezTo>
                    <a:pt x="230" y="143"/>
                    <a:pt x="229" y="143"/>
                    <a:pt x="228" y="143"/>
                  </a:cubicBezTo>
                  <a:cubicBezTo>
                    <a:pt x="228" y="143"/>
                    <a:pt x="227" y="143"/>
                    <a:pt x="227" y="143"/>
                  </a:cubicBezTo>
                  <a:cubicBezTo>
                    <a:pt x="227" y="143"/>
                    <a:pt x="227" y="144"/>
                    <a:pt x="227" y="144"/>
                  </a:cubicBezTo>
                  <a:cubicBezTo>
                    <a:pt x="227" y="145"/>
                    <a:pt x="228" y="144"/>
                    <a:pt x="228" y="144"/>
                  </a:cubicBezTo>
                  <a:cubicBezTo>
                    <a:pt x="229" y="144"/>
                    <a:pt x="231" y="143"/>
                    <a:pt x="231" y="144"/>
                  </a:cubicBezTo>
                  <a:cubicBezTo>
                    <a:pt x="231" y="145"/>
                    <a:pt x="231" y="146"/>
                    <a:pt x="233" y="145"/>
                  </a:cubicBezTo>
                  <a:cubicBezTo>
                    <a:pt x="234" y="145"/>
                    <a:pt x="235" y="145"/>
                    <a:pt x="237" y="146"/>
                  </a:cubicBezTo>
                  <a:cubicBezTo>
                    <a:pt x="237" y="147"/>
                    <a:pt x="236" y="148"/>
                    <a:pt x="235" y="149"/>
                  </a:cubicBezTo>
                  <a:cubicBezTo>
                    <a:pt x="234" y="149"/>
                    <a:pt x="233" y="149"/>
                    <a:pt x="233" y="150"/>
                  </a:cubicBezTo>
                  <a:cubicBezTo>
                    <a:pt x="233" y="151"/>
                    <a:pt x="233" y="151"/>
                    <a:pt x="234" y="151"/>
                  </a:cubicBezTo>
                  <a:cubicBezTo>
                    <a:pt x="235" y="152"/>
                    <a:pt x="236" y="149"/>
                    <a:pt x="237" y="149"/>
                  </a:cubicBezTo>
                  <a:cubicBezTo>
                    <a:pt x="238" y="148"/>
                    <a:pt x="240" y="149"/>
                    <a:pt x="240" y="150"/>
                  </a:cubicBezTo>
                  <a:cubicBezTo>
                    <a:pt x="240" y="151"/>
                    <a:pt x="240" y="151"/>
                    <a:pt x="240" y="151"/>
                  </a:cubicBezTo>
                  <a:cubicBezTo>
                    <a:pt x="239" y="152"/>
                    <a:pt x="239" y="152"/>
                    <a:pt x="240" y="153"/>
                  </a:cubicBezTo>
                  <a:cubicBezTo>
                    <a:pt x="240" y="153"/>
                    <a:pt x="243" y="153"/>
                    <a:pt x="242" y="155"/>
                  </a:cubicBezTo>
                  <a:cubicBezTo>
                    <a:pt x="242" y="155"/>
                    <a:pt x="240" y="154"/>
                    <a:pt x="239" y="154"/>
                  </a:cubicBezTo>
                  <a:cubicBezTo>
                    <a:pt x="239" y="154"/>
                    <a:pt x="237" y="154"/>
                    <a:pt x="237" y="155"/>
                  </a:cubicBezTo>
                  <a:cubicBezTo>
                    <a:pt x="238" y="156"/>
                    <a:pt x="239" y="156"/>
                    <a:pt x="239" y="158"/>
                  </a:cubicBezTo>
                  <a:cubicBezTo>
                    <a:pt x="239" y="158"/>
                    <a:pt x="239" y="159"/>
                    <a:pt x="240" y="160"/>
                  </a:cubicBezTo>
                  <a:cubicBezTo>
                    <a:pt x="240" y="160"/>
                    <a:pt x="241" y="160"/>
                    <a:pt x="241" y="161"/>
                  </a:cubicBezTo>
                  <a:cubicBezTo>
                    <a:pt x="242" y="161"/>
                    <a:pt x="243" y="162"/>
                    <a:pt x="243" y="163"/>
                  </a:cubicBezTo>
                  <a:cubicBezTo>
                    <a:pt x="245" y="164"/>
                    <a:pt x="247" y="164"/>
                    <a:pt x="249" y="165"/>
                  </a:cubicBezTo>
                  <a:cubicBezTo>
                    <a:pt x="250" y="166"/>
                    <a:pt x="249" y="168"/>
                    <a:pt x="251" y="168"/>
                  </a:cubicBezTo>
                  <a:cubicBezTo>
                    <a:pt x="252" y="168"/>
                    <a:pt x="252" y="170"/>
                    <a:pt x="253" y="170"/>
                  </a:cubicBezTo>
                  <a:cubicBezTo>
                    <a:pt x="255" y="170"/>
                    <a:pt x="256" y="169"/>
                    <a:pt x="257" y="171"/>
                  </a:cubicBezTo>
                  <a:cubicBezTo>
                    <a:pt x="258" y="173"/>
                    <a:pt x="256" y="174"/>
                    <a:pt x="255" y="175"/>
                  </a:cubicBezTo>
                  <a:cubicBezTo>
                    <a:pt x="255" y="176"/>
                    <a:pt x="255" y="177"/>
                    <a:pt x="255" y="178"/>
                  </a:cubicBezTo>
                  <a:cubicBezTo>
                    <a:pt x="255" y="178"/>
                    <a:pt x="255" y="179"/>
                    <a:pt x="254" y="179"/>
                  </a:cubicBezTo>
                  <a:close/>
                  <a:moveTo>
                    <a:pt x="216" y="189"/>
                  </a:moveTo>
                  <a:cubicBezTo>
                    <a:pt x="217" y="189"/>
                    <a:pt x="218" y="190"/>
                    <a:pt x="218" y="191"/>
                  </a:cubicBezTo>
                  <a:cubicBezTo>
                    <a:pt x="217" y="191"/>
                    <a:pt x="216" y="191"/>
                    <a:pt x="216" y="190"/>
                  </a:cubicBezTo>
                  <a:cubicBezTo>
                    <a:pt x="216" y="190"/>
                    <a:pt x="215" y="189"/>
                    <a:pt x="216" y="189"/>
                  </a:cubicBezTo>
                  <a:close/>
                  <a:moveTo>
                    <a:pt x="240" y="209"/>
                  </a:moveTo>
                  <a:cubicBezTo>
                    <a:pt x="240" y="209"/>
                    <a:pt x="240" y="208"/>
                    <a:pt x="241" y="208"/>
                  </a:cubicBezTo>
                  <a:cubicBezTo>
                    <a:pt x="241" y="208"/>
                    <a:pt x="241" y="208"/>
                    <a:pt x="243" y="208"/>
                  </a:cubicBezTo>
                  <a:cubicBezTo>
                    <a:pt x="243" y="209"/>
                    <a:pt x="242" y="209"/>
                    <a:pt x="241" y="209"/>
                  </a:cubicBezTo>
                  <a:cubicBezTo>
                    <a:pt x="241" y="209"/>
                    <a:pt x="240" y="209"/>
                    <a:pt x="240" y="209"/>
                  </a:cubicBezTo>
                  <a:close/>
                  <a:moveTo>
                    <a:pt x="329" y="299"/>
                  </a:moveTo>
                  <a:cubicBezTo>
                    <a:pt x="329" y="298"/>
                    <a:pt x="330" y="298"/>
                    <a:pt x="330" y="298"/>
                  </a:cubicBezTo>
                  <a:cubicBezTo>
                    <a:pt x="330" y="298"/>
                    <a:pt x="330" y="301"/>
                    <a:pt x="329" y="300"/>
                  </a:cubicBezTo>
                  <a:cubicBezTo>
                    <a:pt x="329" y="300"/>
                    <a:pt x="329" y="299"/>
                    <a:pt x="329" y="299"/>
                  </a:cubicBezTo>
                  <a:close/>
                  <a:moveTo>
                    <a:pt x="332" y="294"/>
                  </a:moveTo>
                  <a:cubicBezTo>
                    <a:pt x="333" y="296"/>
                    <a:pt x="331" y="296"/>
                    <a:pt x="330" y="297"/>
                  </a:cubicBezTo>
                  <a:cubicBezTo>
                    <a:pt x="330" y="298"/>
                    <a:pt x="328" y="297"/>
                    <a:pt x="328" y="296"/>
                  </a:cubicBezTo>
                  <a:cubicBezTo>
                    <a:pt x="328" y="296"/>
                    <a:pt x="329" y="296"/>
                    <a:pt x="329" y="296"/>
                  </a:cubicBezTo>
                  <a:cubicBezTo>
                    <a:pt x="329" y="295"/>
                    <a:pt x="330" y="294"/>
                    <a:pt x="330" y="294"/>
                  </a:cubicBezTo>
                  <a:cubicBezTo>
                    <a:pt x="331" y="293"/>
                    <a:pt x="332" y="293"/>
                    <a:pt x="332" y="294"/>
                  </a:cubicBezTo>
                  <a:close/>
                  <a:moveTo>
                    <a:pt x="336" y="136"/>
                  </a:moveTo>
                  <a:cubicBezTo>
                    <a:pt x="336" y="136"/>
                    <a:pt x="334" y="135"/>
                    <a:pt x="333" y="134"/>
                  </a:cubicBezTo>
                  <a:cubicBezTo>
                    <a:pt x="333" y="133"/>
                    <a:pt x="333" y="132"/>
                    <a:pt x="333" y="132"/>
                  </a:cubicBezTo>
                  <a:cubicBezTo>
                    <a:pt x="333" y="131"/>
                    <a:pt x="333" y="131"/>
                    <a:pt x="334" y="131"/>
                  </a:cubicBezTo>
                  <a:cubicBezTo>
                    <a:pt x="334" y="132"/>
                    <a:pt x="335" y="133"/>
                    <a:pt x="336" y="134"/>
                  </a:cubicBezTo>
                  <a:cubicBezTo>
                    <a:pt x="336" y="134"/>
                    <a:pt x="337" y="135"/>
                    <a:pt x="336" y="136"/>
                  </a:cubicBezTo>
                  <a:close/>
                  <a:moveTo>
                    <a:pt x="336" y="189"/>
                  </a:moveTo>
                  <a:cubicBezTo>
                    <a:pt x="335" y="188"/>
                    <a:pt x="336" y="188"/>
                    <a:pt x="336" y="188"/>
                  </a:cubicBezTo>
                  <a:cubicBezTo>
                    <a:pt x="337" y="187"/>
                    <a:pt x="337" y="186"/>
                    <a:pt x="337" y="186"/>
                  </a:cubicBezTo>
                  <a:cubicBezTo>
                    <a:pt x="337" y="185"/>
                    <a:pt x="337" y="185"/>
                    <a:pt x="337" y="186"/>
                  </a:cubicBezTo>
                  <a:cubicBezTo>
                    <a:pt x="338" y="186"/>
                    <a:pt x="338" y="187"/>
                    <a:pt x="338" y="186"/>
                  </a:cubicBezTo>
                  <a:cubicBezTo>
                    <a:pt x="338" y="186"/>
                    <a:pt x="337" y="184"/>
                    <a:pt x="338" y="184"/>
                  </a:cubicBezTo>
                  <a:cubicBezTo>
                    <a:pt x="339" y="185"/>
                    <a:pt x="340" y="186"/>
                    <a:pt x="340" y="186"/>
                  </a:cubicBezTo>
                  <a:cubicBezTo>
                    <a:pt x="341" y="187"/>
                    <a:pt x="341" y="187"/>
                    <a:pt x="341" y="188"/>
                  </a:cubicBezTo>
                  <a:cubicBezTo>
                    <a:pt x="341" y="188"/>
                    <a:pt x="341" y="189"/>
                    <a:pt x="341" y="189"/>
                  </a:cubicBezTo>
                  <a:cubicBezTo>
                    <a:pt x="341" y="189"/>
                    <a:pt x="342" y="189"/>
                    <a:pt x="342" y="189"/>
                  </a:cubicBezTo>
                  <a:cubicBezTo>
                    <a:pt x="342" y="188"/>
                    <a:pt x="342" y="187"/>
                    <a:pt x="342" y="187"/>
                  </a:cubicBezTo>
                  <a:cubicBezTo>
                    <a:pt x="342" y="187"/>
                    <a:pt x="343" y="189"/>
                    <a:pt x="343" y="188"/>
                  </a:cubicBezTo>
                  <a:cubicBezTo>
                    <a:pt x="343" y="187"/>
                    <a:pt x="343" y="186"/>
                    <a:pt x="344" y="186"/>
                  </a:cubicBezTo>
                  <a:cubicBezTo>
                    <a:pt x="344" y="186"/>
                    <a:pt x="345" y="187"/>
                    <a:pt x="345" y="188"/>
                  </a:cubicBezTo>
                  <a:cubicBezTo>
                    <a:pt x="346" y="188"/>
                    <a:pt x="346" y="187"/>
                    <a:pt x="346" y="187"/>
                  </a:cubicBezTo>
                  <a:cubicBezTo>
                    <a:pt x="347" y="187"/>
                    <a:pt x="347" y="187"/>
                    <a:pt x="348" y="187"/>
                  </a:cubicBezTo>
                  <a:cubicBezTo>
                    <a:pt x="348" y="187"/>
                    <a:pt x="348" y="186"/>
                    <a:pt x="348" y="186"/>
                  </a:cubicBezTo>
                  <a:cubicBezTo>
                    <a:pt x="348" y="186"/>
                    <a:pt x="349" y="186"/>
                    <a:pt x="349" y="186"/>
                  </a:cubicBezTo>
                  <a:cubicBezTo>
                    <a:pt x="350" y="188"/>
                    <a:pt x="350" y="187"/>
                    <a:pt x="350" y="187"/>
                  </a:cubicBezTo>
                  <a:cubicBezTo>
                    <a:pt x="351" y="186"/>
                    <a:pt x="351" y="188"/>
                    <a:pt x="351" y="188"/>
                  </a:cubicBezTo>
                  <a:cubicBezTo>
                    <a:pt x="350" y="188"/>
                    <a:pt x="350" y="189"/>
                    <a:pt x="351" y="189"/>
                  </a:cubicBezTo>
                  <a:cubicBezTo>
                    <a:pt x="351" y="190"/>
                    <a:pt x="352" y="191"/>
                    <a:pt x="352" y="192"/>
                  </a:cubicBezTo>
                  <a:cubicBezTo>
                    <a:pt x="353" y="192"/>
                    <a:pt x="353" y="193"/>
                    <a:pt x="353" y="193"/>
                  </a:cubicBezTo>
                  <a:cubicBezTo>
                    <a:pt x="353" y="194"/>
                    <a:pt x="353" y="194"/>
                    <a:pt x="353" y="195"/>
                  </a:cubicBezTo>
                  <a:cubicBezTo>
                    <a:pt x="353" y="195"/>
                    <a:pt x="353" y="196"/>
                    <a:pt x="352" y="197"/>
                  </a:cubicBezTo>
                  <a:cubicBezTo>
                    <a:pt x="352" y="197"/>
                    <a:pt x="351" y="197"/>
                    <a:pt x="351" y="197"/>
                  </a:cubicBezTo>
                  <a:cubicBezTo>
                    <a:pt x="350" y="197"/>
                    <a:pt x="350" y="198"/>
                    <a:pt x="350" y="198"/>
                  </a:cubicBezTo>
                  <a:cubicBezTo>
                    <a:pt x="350" y="198"/>
                    <a:pt x="349" y="198"/>
                    <a:pt x="349" y="199"/>
                  </a:cubicBezTo>
                  <a:cubicBezTo>
                    <a:pt x="348" y="199"/>
                    <a:pt x="348" y="199"/>
                    <a:pt x="347" y="200"/>
                  </a:cubicBezTo>
                  <a:cubicBezTo>
                    <a:pt x="347" y="202"/>
                    <a:pt x="346" y="202"/>
                    <a:pt x="344" y="200"/>
                  </a:cubicBezTo>
                  <a:cubicBezTo>
                    <a:pt x="344" y="200"/>
                    <a:pt x="343" y="199"/>
                    <a:pt x="342" y="198"/>
                  </a:cubicBezTo>
                  <a:cubicBezTo>
                    <a:pt x="342" y="198"/>
                    <a:pt x="341" y="199"/>
                    <a:pt x="341" y="199"/>
                  </a:cubicBezTo>
                  <a:cubicBezTo>
                    <a:pt x="340" y="199"/>
                    <a:pt x="339" y="198"/>
                    <a:pt x="339" y="197"/>
                  </a:cubicBezTo>
                  <a:cubicBezTo>
                    <a:pt x="339" y="197"/>
                    <a:pt x="339" y="196"/>
                    <a:pt x="339" y="196"/>
                  </a:cubicBezTo>
                  <a:cubicBezTo>
                    <a:pt x="340" y="196"/>
                    <a:pt x="341" y="197"/>
                    <a:pt x="341" y="196"/>
                  </a:cubicBezTo>
                  <a:cubicBezTo>
                    <a:pt x="341" y="195"/>
                    <a:pt x="340" y="194"/>
                    <a:pt x="339" y="194"/>
                  </a:cubicBezTo>
                  <a:cubicBezTo>
                    <a:pt x="339" y="193"/>
                    <a:pt x="338" y="193"/>
                    <a:pt x="337" y="193"/>
                  </a:cubicBezTo>
                  <a:cubicBezTo>
                    <a:pt x="337" y="193"/>
                    <a:pt x="337" y="193"/>
                    <a:pt x="337" y="192"/>
                  </a:cubicBezTo>
                  <a:cubicBezTo>
                    <a:pt x="337" y="191"/>
                    <a:pt x="338" y="192"/>
                    <a:pt x="339" y="192"/>
                  </a:cubicBezTo>
                  <a:cubicBezTo>
                    <a:pt x="339" y="192"/>
                    <a:pt x="340" y="191"/>
                    <a:pt x="340" y="191"/>
                  </a:cubicBezTo>
                  <a:cubicBezTo>
                    <a:pt x="340" y="189"/>
                    <a:pt x="338" y="189"/>
                    <a:pt x="338" y="189"/>
                  </a:cubicBezTo>
                  <a:cubicBezTo>
                    <a:pt x="337" y="189"/>
                    <a:pt x="336" y="190"/>
                    <a:pt x="336" y="189"/>
                  </a:cubicBezTo>
                  <a:close/>
                  <a:moveTo>
                    <a:pt x="329" y="125"/>
                  </a:moveTo>
                  <a:cubicBezTo>
                    <a:pt x="329" y="124"/>
                    <a:pt x="329" y="123"/>
                    <a:pt x="330" y="124"/>
                  </a:cubicBezTo>
                  <a:cubicBezTo>
                    <a:pt x="330" y="125"/>
                    <a:pt x="330" y="126"/>
                    <a:pt x="331" y="126"/>
                  </a:cubicBezTo>
                  <a:cubicBezTo>
                    <a:pt x="331" y="127"/>
                    <a:pt x="331" y="128"/>
                    <a:pt x="331" y="128"/>
                  </a:cubicBezTo>
                  <a:cubicBezTo>
                    <a:pt x="331" y="129"/>
                    <a:pt x="331" y="130"/>
                    <a:pt x="331" y="129"/>
                  </a:cubicBezTo>
                  <a:cubicBezTo>
                    <a:pt x="330" y="127"/>
                    <a:pt x="329" y="126"/>
                    <a:pt x="329" y="125"/>
                  </a:cubicBezTo>
                  <a:close/>
                  <a:moveTo>
                    <a:pt x="333" y="298"/>
                  </a:moveTo>
                  <a:cubicBezTo>
                    <a:pt x="333" y="297"/>
                    <a:pt x="333" y="295"/>
                    <a:pt x="334" y="295"/>
                  </a:cubicBezTo>
                  <a:cubicBezTo>
                    <a:pt x="333" y="296"/>
                    <a:pt x="335" y="297"/>
                    <a:pt x="335" y="297"/>
                  </a:cubicBezTo>
                  <a:cubicBezTo>
                    <a:pt x="335" y="298"/>
                    <a:pt x="335" y="299"/>
                    <a:pt x="335" y="299"/>
                  </a:cubicBezTo>
                  <a:cubicBezTo>
                    <a:pt x="334" y="299"/>
                    <a:pt x="333" y="299"/>
                    <a:pt x="333" y="298"/>
                  </a:cubicBezTo>
                  <a:close/>
                  <a:moveTo>
                    <a:pt x="331" y="146"/>
                  </a:moveTo>
                  <a:cubicBezTo>
                    <a:pt x="332" y="147"/>
                    <a:pt x="332" y="148"/>
                    <a:pt x="332" y="149"/>
                  </a:cubicBezTo>
                  <a:cubicBezTo>
                    <a:pt x="332" y="149"/>
                    <a:pt x="333" y="150"/>
                    <a:pt x="332" y="151"/>
                  </a:cubicBezTo>
                  <a:cubicBezTo>
                    <a:pt x="332" y="152"/>
                    <a:pt x="331" y="150"/>
                    <a:pt x="331" y="150"/>
                  </a:cubicBezTo>
                  <a:cubicBezTo>
                    <a:pt x="330" y="150"/>
                    <a:pt x="329" y="149"/>
                    <a:pt x="329" y="149"/>
                  </a:cubicBezTo>
                  <a:cubicBezTo>
                    <a:pt x="328" y="147"/>
                    <a:pt x="328" y="145"/>
                    <a:pt x="328" y="145"/>
                  </a:cubicBezTo>
                  <a:cubicBezTo>
                    <a:pt x="328" y="144"/>
                    <a:pt x="330" y="145"/>
                    <a:pt x="331" y="146"/>
                  </a:cubicBezTo>
                  <a:close/>
                  <a:moveTo>
                    <a:pt x="365" y="125"/>
                  </a:moveTo>
                  <a:cubicBezTo>
                    <a:pt x="365" y="126"/>
                    <a:pt x="366" y="127"/>
                    <a:pt x="365" y="126"/>
                  </a:cubicBezTo>
                  <a:cubicBezTo>
                    <a:pt x="365" y="126"/>
                    <a:pt x="364" y="125"/>
                    <a:pt x="363" y="124"/>
                  </a:cubicBezTo>
                  <a:cubicBezTo>
                    <a:pt x="363" y="124"/>
                    <a:pt x="362" y="123"/>
                    <a:pt x="362" y="123"/>
                  </a:cubicBezTo>
                  <a:cubicBezTo>
                    <a:pt x="362" y="122"/>
                    <a:pt x="362" y="122"/>
                    <a:pt x="363" y="123"/>
                  </a:cubicBezTo>
                  <a:cubicBezTo>
                    <a:pt x="363" y="123"/>
                    <a:pt x="363" y="123"/>
                    <a:pt x="364" y="124"/>
                  </a:cubicBezTo>
                  <a:cubicBezTo>
                    <a:pt x="364" y="124"/>
                    <a:pt x="365" y="125"/>
                    <a:pt x="365" y="125"/>
                  </a:cubicBezTo>
                  <a:close/>
                  <a:moveTo>
                    <a:pt x="402" y="121"/>
                  </a:moveTo>
                  <a:cubicBezTo>
                    <a:pt x="402" y="120"/>
                    <a:pt x="402" y="120"/>
                    <a:pt x="402" y="120"/>
                  </a:cubicBezTo>
                  <a:cubicBezTo>
                    <a:pt x="401" y="120"/>
                    <a:pt x="401" y="120"/>
                    <a:pt x="401" y="119"/>
                  </a:cubicBezTo>
                  <a:cubicBezTo>
                    <a:pt x="401" y="119"/>
                    <a:pt x="401" y="118"/>
                    <a:pt x="401" y="119"/>
                  </a:cubicBezTo>
                  <a:cubicBezTo>
                    <a:pt x="403" y="119"/>
                    <a:pt x="403" y="120"/>
                    <a:pt x="402" y="121"/>
                  </a:cubicBezTo>
                  <a:close/>
                  <a:moveTo>
                    <a:pt x="398" y="129"/>
                  </a:moveTo>
                  <a:cubicBezTo>
                    <a:pt x="398" y="128"/>
                    <a:pt x="399" y="128"/>
                    <a:pt x="399" y="129"/>
                  </a:cubicBezTo>
                  <a:cubicBezTo>
                    <a:pt x="399" y="129"/>
                    <a:pt x="399" y="130"/>
                    <a:pt x="400" y="130"/>
                  </a:cubicBezTo>
                  <a:cubicBezTo>
                    <a:pt x="400" y="130"/>
                    <a:pt x="400" y="130"/>
                    <a:pt x="400" y="130"/>
                  </a:cubicBezTo>
                  <a:cubicBezTo>
                    <a:pt x="400" y="130"/>
                    <a:pt x="400" y="130"/>
                    <a:pt x="400" y="130"/>
                  </a:cubicBezTo>
                  <a:cubicBezTo>
                    <a:pt x="400" y="130"/>
                    <a:pt x="401" y="131"/>
                    <a:pt x="401" y="131"/>
                  </a:cubicBezTo>
                  <a:cubicBezTo>
                    <a:pt x="400" y="131"/>
                    <a:pt x="400" y="131"/>
                    <a:pt x="400" y="131"/>
                  </a:cubicBezTo>
                  <a:cubicBezTo>
                    <a:pt x="399" y="130"/>
                    <a:pt x="399" y="130"/>
                    <a:pt x="399" y="130"/>
                  </a:cubicBezTo>
                  <a:cubicBezTo>
                    <a:pt x="399" y="130"/>
                    <a:pt x="398" y="130"/>
                    <a:pt x="398" y="130"/>
                  </a:cubicBezTo>
                  <a:cubicBezTo>
                    <a:pt x="398" y="129"/>
                    <a:pt x="398" y="129"/>
                    <a:pt x="398" y="129"/>
                  </a:cubicBezTo>
                  <a:close/>
                  <a:moveTo>
                    <a:pt x="401" y="123"/>
                  </a:moveTo>
                  <a:cubicBezTo>
                    <a:pt x="401" y="124"/>
                    <a:pt x="401" y="124"/>
                    <a:pt x="402" y="124"/>
                  </a:cubicBezTo>
                  <a:cubicBezTo>
                    <a:pt x="402" y="124"/>
                    <a:pt x="402" y="123"/>
                    <a:pt x="402" y="123"/>
                  </a:cubicBezTo>
                  <a:cubicBezTo>
                    <a:pt x="401" y="123"/>
                    <a:pt x="401" y="122"/>
                    <a:pt x="401" y="122"/>
                  </a:cubicBezTo>
                  <a:cubicBezTo>
                    <a:pt x="400" y="122"/>
                    <a:pt x="400" y="121"/>
                    <a:pt x="401" y="122"/>
                  </a:cubicBezTo>
                  <a:cubicBezTo>
                    <a:pt x="401" y="122"/>
                    <a:pt x="401" y="122"/>
                    <a:pt x="401" y="121"/>
                  </a:cubicBezTo>
                  <a:cubicBezTo>
                    <a:pt x="401" y="121"/>
                    <a:pt x="401" y="121"/>
                    <a:pt x="401" y="121"/>
                  </a:cubicBezTo>
                  <a:cubicBezTo>
                    <a:pt x="402" y="121"/>
                    <a:pt x="402" y="122"/>
                    <a:pt x="402" y="122"/>
                  </a:cubicBezTo>
                  <a:cubicBezTo>
                    <a:pt x="403" y="122"/>
                    <a:pt x="403" y="121"/>
                    <a:pt x="403" y="122"/>
                  </a:cubicBezTo>
                  <a:cubicBezTo>
                    <a:pt x="403" y="122"/>
                    <a:pt x="404" y="122"/>
                    <a:pt x="404" y="122"/>
                  </a:cubicBezTo>
                  <a:cubicBezTo>
                    <a:pt x="404" y="123"/>
                    <a:pt x="404" y="123"/>
                    <a:pt x="403" y="123"/>
                  </a:cubicBezTo>
                  <a:cubicBezTo>
                    <a:pt x="403" y="123"/>
                    <a:pt x="402" y="122"/>
                    <a:pt x="402" y="123"/>
                  </a:cubicBezTo>
                  <a:cubicBezTo>
                    <a:pt x="403" y="123"/>
                    <a:pt x="404" y="124"/>
                    <a:pt x="404" y="124"/>
                  </a:cubicBezTo>
                  <a:cubicBezTo>
                    <a:pt x="404" y="125"/>
                    <a:pt x="404" y="125"/>
                    <a:pt x="404" y="125"/>
                  </a:cubicBezTo>
                  <a:cubicBezTo>
                    <a:pt x="404" y="126"/>
                    <a:pt x="404" y="126"/>
                    <a:pt x="404" y="126"/>
                  </a:cubicBezTo>
                  <a:cubicBezTo>
                    <a:pt x="405" y="127"/>
                    <a:pt x="404" y="126"/>
                    <a:pt x="404" y="126"/>
                  </a:cubicBezTo>
                  <a:cubicBezTo>
                    <a:pt x="403" y="126"/>
                    <a:pt x="404" y="127"/>
                    <a:pt x="404" y="127"/>
                  </a:cubicBezTo>
                  <a:cubicBezTo>
                    <a:pt x="404" y="128"/>
                    <a:pt x="404" y="128"/>
                    <a:pt x="404" y="128"/>
                  </a:cubicBezTo>
                  <a:cubicBezTo>
                    <a:pt x="405" y="128"/>
                    <a:pt x="405" y="128"/>
                    <a:pt x="405" y="128"/>
                  </a:cubicBezTo>
                  <a:cubicBezTo>
                    <a:pt x="405" y="129"/>
                    <a:pt x="405" y="129"/>
                    <a:pt x="406" y="129"/>
                  </a:cubicBezTo>
                  <a:cubicBezTo>
                    <a:pt x="406" y="130"/>
                    <a:pt x="405" y="130"/>
                    <a:pt x="405" y="130"/>
                  </a:cubicBezTo>
                  <a:cubicBezTo>
                    <a:pt x="405" y="131"/>
                    <a:pt x="405" y="131"/>
                    <a:pt x="405" y="131"/>
                  </a:cubicBezTo>
                  <a:cubicBezTo>
                    <a:pt x="405" y="131"/>
                    <a:pt x="405" y="131"/>
                    <a:pt x="404" y="130"/>
                  </a:cubicBezTo>
                  <a:cubicBezTo>
                    <a:pt x="404" y="130"/>
                    <a:pt x="404" y="131"/>
                    <a:pt x="404" y="130"/>
                  </a:cubicBezTo>
                  <a:cubicBezTo>
                    <a:pt x="403" y="130"/>
                    <a:pt x="403" y="130"/>
                    <a:pt x="403" y="130"/>
                  </a:cubicBezTo>
                  <a:cubicBezTo>
                    <a:pt x="403" y="129"/>
                    <a:pt x="403" y="129"/>
                    <a:pt x="402" y="129"/>
                  </a:cubicBezTo>
                  <a:cubicBezTo>
                    <a:pt x="402" y="129"/>
                    <a:pt x="402" y="128"/>
                    <a:pt x="402" y="128"/>
                  </a:cubicBezTo>
                  <a:cubicBezTo>
                    <a:pt x="402" y="128"/>
                    <a:pt x="401" y="127"/>
                    <a:pt x="400" y="127"/>
                  </a:cubicBezTo>
                  <a:cubicBezTo>
                    <a:pt x="400" y="126"/>
                    <a:pt x="400" y="126"/>
                    <a:pt x="400" y="125"/>
                  </a:cubicBezTo>
                  <a:cubicBezTo>
                    <a:pt x="400" y="125"/>
                    <a:pt x="400" y="124"/>
                    <a:pt x="400" y="124"/>
                  </a:cubicBezTo>
                  <a:cubicBezTo>
                    <a:pt x="400" y="124"/>
                    <a:pt x="401" y="125"/>
                    <a:pt x="401" y="126"/>
                  </a:cubicBezTo>
                  <a:cubicBezTo>
                    <a:pt x="401" y="126"/>
                    <a:pt x="401" y="126"/>
                    <a:pt x="402" y="126"/>
                  </a:cubicBezTo>
                  <a:cubicBezTo>
                    <a:pt x="402" y="126"/>
                    <a:pt x="401" y="125"/>
                    <a:pt x="401" y="125"/>
                  </a:cubicBezTo>
                  <a:cubicBezTo>
                    <a:pt x="401" y="125"/>
                    <a:pt x="401" y="125"/>
                    <a:pt x="400" y="124"/>
                  </a:cubicBezTo>
                  <a:cubicBezTo>
                    <a:pt x="400" y="124"/>
                    <a:pt x="400" y="124"/>
                    <a:pt x="400" y="123"/>
                  </a:cubicBezTo>
                  <a:cubicBezTo>
                    <a:pt x="399" y="122"/>
                    <a:pt x="400" y="123"/>
                    <a:pt x="401" y="123"/>
                  </a:cubicBezTo>
                  <a:close/>
                  <a:moveTo>
                    <a:pt x="409" y="129"/>
                  </a:moveTo>
                  <a:cubicBezTo>
                    <a:pt x="410" y="129"/>
                    <a:pt x="409" y="128"/>
                    <a:pt x="409" y="129"/>
                  </a:cubicBezTo>
                  <a:cubicBezTo>
                    <a:pt x="409" y="129"/>
                    <a:pt x="409" y="129"/>
                    <a:pt x="409" y="130"/>
                  </a:cubicBezTo>
                  <a:cubicBezTo>
                    <a:pt x="409" y="130"/>
                    <a:pt x="409" y="129"/>
                    <a:pt x="408" y="129"/>
                  </a:cubicBezTo>
                  <a:cubicBezTo>
                    <a:pt x="408" y="129"/>
                    <a:pt x="408" y="129"/>
                    <a:pt x="408" y="128"/>
                  </a:cubicBezTo>
                  <a:cubicBezTo>
                    <a:pt x="407" y="128"/>
                    <a:pt x="407" y="128"/>
                    <a:pt x="407" y="128"/>
                  </a:cubicBezTo>
                  <a:cubicBezTo>
                    <a:pt x="408" y="127"/>
                    <a:pt x="407" y="126"/>
                    <a:pt x="407" y="126"/>
                  </a:cubicBezTo>
                  <a:cubicBezTo>
                    <a:pt x="407" y="126"/>
                    <a:pt x="408" y="123"/>
                    <a:pt x="409" y="126"/>
                  </a:cubicBezTo>
                  <a:cubicBezTo>
                    <a:pt x="409" y="126"/>
                    <a:pt x="409" y="127"/>
                    <a:pt x="409" y="127"/>
                  </a:cubicBezTo>
                  <a:cubicBezTo>
                    <a:pt x="409" y="128"/>
                    <a:pt x="409" y="128"/>
                    <a:pt x="409" y="129"/>
                  </a:cubicBezTo>
                  <a:close/>
                  <a:moveTo>
                    <a:pt x="163" y="152"/>
                  </a:moveTo>
                  <a:cubicBezTo>
                    <a:pt x="163" y="152"/>
                    <a:pt x="162" y="153"/>
                    <a:pt x="163" y="154"/>
                  </a:cubicBezTo>
                  <a:cubicBezTo>
                    <a:pt x="164" y="154"/>
                    <a:pt x="164" y="155"/>
                    <a:pt x="165" y="155"/>
                  </a:cubicBezTo>
                  <a:cubicBezTo>
                    <a:pt x="165" y="156"/>
                    <a:pt x="166" y="157"/>
                    <a:pt x="167" y="159"/>
                  </a:cubicBezTo>
                  <a:cubicBezTo>
                    <a:pt x="167" y="160"/>
                    <a:pt x="165" y="162"/>
                    <a:pt x="164" y="162"/>
                  </a:cubicBezTo>
                  <a:cubicBezTo>
                    <a:pt x="162" y="162"/>
                    <a:pt x="161" y="162"/>
                    <a:pt x="160" y="161"/>
                  </a:cubicBezTo>
                  <a:cubicBezTo>
                    <a:pt x="159" y="161"/>
                    <a:pt x="159" y="158"/>
                    <a:pt x="158" y="159"/>
                  </a:cubicBezTo>
                  <a:cubicBezTo>
                    <a:pt x="158" y="159"/>
                    <a:pt x="157" y="159"/>
                    <a:pt x="157" y="158"/>
                  </a:cubicBezTo>
                  <a:cubicBezTo>
                    <a:pt x="157" y="157"/>
                    <a:pt x="157" y="157"/>
                    <a:pt x="158" y="156"/>
                  </a:cubicBezTo>
                  <a:cubicBezTo>
                    <a:pt x="159" y="155"/>
                    <a:pt x="159" y="153"/>
                    <a:pt x="161" y="151"/>
                  </a:cubicBezTo>
                  <a:cubicBezTo>
                    <a:pt x="162" y="150"/>
                    <a:pt x="162" y="150"/>
                    <a:pt x="163" y="152"/>
                  </a:cubicBezTo>
                  <a:close/>
                  <a:moveTo>
                    <a:pt x="388" y="125"/>
                  </a:moveTo>
                  <a:cubicBezTo>
                    <a:pt x="388" y="125"/>
                    <a:pt x="387" y="124"/>
                    <a:pt x="387" y="124"/>
                  </a:cubicBezTo>
                  <a:cubicBezTo>
                    <a:pt x="387" y="124"/>
                    <a:pt x="387" y="123"/>
                    <a:pt x="387" y="124"/>
                  </a:cubicBezTo>
                  <a:cubicBezTo>
                    <a:pt x="387" y="124"/>
                    <a:pt x="388" y="124"/>
                    <a:pt x="388" y="124"/>
                  </a:cubicBezTo>
                  <a:cubicBezTo>
                    <a:pt x="388" y="124"/>
                    <a:pt x="388" y="125"/>
                    <a:pt x="388" y="125"/>
                  </a:cubicBezTo>
                  <a:close/>
                  <a:moveTo>
                    <a:pt x="406" y="131"/>
                  </a:moveTo>
                  <a:cubicBezTo>
                    <a:pt x="406" y="131"/>
                    <a:pt x="406" y="132"/>
                    <a:pt x="407" y="132"/>
                  </a:cubicBezTo>
                  <a:cubicBezTo>
                    <a:pt x="407" y="132"/>
                    <a:pt x="407" y="133"/>
                    <a:pt x="407" y="134"/>
                  </a:cubicBezTo>
                  <a:cubicBezTo>
                    <a:pt x="407" y="133"/>
                    <a:pt x="407" y="133"/>
                    <a:pt x="407" y="133"/>
                  </a:cubicBezTo>
                  <a:cubicBezTo>
                    <a:pt x="407" y="133"/>
                    <a:pt x="406" y="133"/>
                    <a:pt x="406" y="132"/>
                  </a:cubicBezTo>
                  <a:cubicBezTo>
                    <a:pt x="406" y="132"/>
                    <a:pt x="406" y="131"/>
                    <a:pt x="406" y="131"/>
                  </a:cubicBezTo>
                  <a:close/>
                  <a:moveTo>
                    <a:pt x="383" y="123"/>
                  </a:moveTo>
                  <a:cubicBezTo>
                    <a:pt x="383" y="123"/>
                    <a:pt x="383" y="123"/>
                    <a:pt x="382" y="123"/>
                  </a:cubicBezTo>
                  <a:cubicBezTo>
                    <a:pt x="381" y="122"/>
                    <a:pt x="381" y="122"/>
                    <a:pt x="381" y="122"/>
                  </a:cubicBezTo>
                  <a:cubicBezTo>
                    <a:pt x="381" y="121"/>
                    <a:pt x="383" y="122"/>
                    <a:pt x="383" y="122"/>
                  </a:cubicBezTo>
                  <a:cubicBezTo>
                    <a:pt x="383" y="122"/>
                    <a:pt x="383" y="121"/>
                    <a:pt x="384" y="122"/>
                  </a:cubicBezTo>
                  <a:cubicBezTo>
                    <a:pt x="384" y="122"/>
                    <a:pt x="384" y="123"/>
                    <a:pt x="383" y="123"/>
                  </a:cubicBezTo>
                  <a:close/>
                  <a:moveTo>
                    <a:pt x="397" y="124"/>
                  </a:moveTo>
                  <a:cubicBezTo>
                    <a:pt x="397" y="124"/>
                    <a:pt x="397" y="124"/>
                    <a:pt x="397" y="124"/>
                  </a:cubicBezTo>
                  <a:cubicBezTo>
                    <a:pt x="397" y="124"/>
                    <a:pt x="397" y="123"/>
                    <a:pt x="397" y="123"/>
                  </a:cubicBezTo>
                  <a:cubicBezTo>
                    <a:pt x="397" y="123"/>
                    <a:pt x="398" y="124"/>
                    <a:pt x="398" y="124"/>
                  </a:cubicBezTo>
                  <a:cubicBezTo>
                    <a:pt x="398" y="124"/>
                    <a:pt x="398" y="125"/>
                    <a:pt x="398" y="125"/>
                  </a:cubicBezTo>
                  <a:cubicBezTo>
                    <a:pt x="398" y="125"/>
                    <a:pt x="399" y="125"/>
                    <a:pt x="399" y="126"/>
                  </a:cubicBezTo>
                  <a:cubicBezTo>
                    <a:pt x="399" y="127"/>
                    <a:pt x="399" y="127"/>
                    <a:pt x="399" y="127"/>
                  </a:cubicBezTo>
                  <a:cubicBezTo>
                    <a:pt x="398" y="127"/>
                    <a:pt x="398" y="127"/>
                    <a:pt x="399" y="128"/>
                  </a:cubicBezTo>
                  <a:cubicBezTo>
                    <a:pt x="399" y="129"/>
                    <a:pt x="399" y="128"/>
                    <a:pt x="398" y="128"/>
                  </a:cubicBezTo>
                  <a:cubicBezTo>
                    <a:pt x="398" y="127"/>
                    <a:pt x="397" y="127"/>
                    <a:pt x="398" y="128"/>
                  </a:cubicBezTo>
                  <a:cubicBezTo>
                    <a:pt x="398" y="128"/>
                    <a:pt x="398" y="129"/>
                    <a:pt x="398" y="129"/>
                  </a:cubicBezTo>
                  <a:cubicBezTo>
                    <a:pt x="398" y="129"/>
                    <a:pt x="398" y="129"/>
                    <a:pt x="398" y="129"/>
                  </a:cubicBezTo>
                  <a:cubicBezTo>
                    <a:pt x="398" y="129"/>
                    <a:pt x="398" y="129"/>
                    <a:pt x="398" y="129"/>
                  </a:cubicBezTo>
                  <a:cubicBezTo>
                    <a:pt x="398" y="130"/>
                    <a:pt x="398" y="129"/>
                    <a:pt x="397" y="129"/>
                  </a:cubicBezTo>
                  <a:cubicBezTo>
                    <a:pt x="397" y="129"/>
                    <a:pt x="397" y="128"/>
                    <a:pt x="397" y="128"/>
                  </a:cubicBezTo>
                  <a:cubicBezTo>
                    <a:pt x="396" y="127"/>
                    <a:pt x="396" y="127"/>
                    <a:pt x="396" y="126"/>
                  </a:cubicBezTo>
                  <a:cubicBezTo>
                    <a:pt x="396" y="126"/>
                    <a:pt x="396" y="126"/>
                    <a:pt x="395" y="125"/>
                  </a:cubicBezTo>
                  <a:cubicBezTo>
                    <a:pt x="395" y="125"/>
                    <a:pt x="395" y="125"/>
                    <a:pt x="395" y="125"/>
                  </a:cubicBezTo>
                  <a:cubicBezTo>
                    <a:pt x="395" y="124"/>
                    <a:pt x="395" y="124"/>
                    <a:pt x="395" y="125"/>
                  </a:cubicBezTo>
                  <a:cubicBezTo>
                    <a:pt x="395" y="125"/>
                    <a:pt x="395" y="125"/>
                    <a:pt x="395" y="125"/>
                  </a:cubicBezTo>
                  <a:cubicBezTo>
                    <a:pt x="395" y="126"/>
                    <a:pt x="394" y="125"/>
                    <a:pt x="394" y="125"/>
                  </a:cubicBezTo>
                  <a:cubicBezTo>
                    <a:pt x="393" y="124"/>
                    <a:pt x="393" y="123"/>
                    <a:pt x="393" y="123"/>
                  </a:cubicBezTo>
                  <a:cubicBezTo>
                    <a:pt x="394" y="122"/>
                    <a:pt x="394" y="122"/>
                    <a:pt x="394" y="122"/>
                  </a:cubicBezTo>
                  <a:cubicBezTo>
                    <a:pt x="394" y="122"/>
                    <a:pt x="395" y="123"/>
                    <a:pt x="395" y="123"/>
                  </a:cubicBezTo>
                  <a:cubicBezTo>
                    <a:pt x="396" y="123"/>
                    <a:pt x="396" y="124"/>
                    <a:pt x="397" y="124"/>
                  </a:cubicBezTo>
                  <a:close/>
                  <a:moveTo>
                    <a:pt x="398" y="123"/>
                  </a:moveTo>
                  <a:cubicBezTo>
                    <a:pt x="398" y="123"/>
                    <a:pt x="398" y="123"/>
                    <a:pt x="398" y="123"/>
                  </a:cubicBezTo>
                  <a:cubicBezTo>
                    <a:pt x="397" y="123"/>
                    <a:pt x="397" y="122"/>
                    <a:pt x="397" y="122"/>
                  </a:cubicBezTo>
                  <a:cubicBezTo>
                    <a:pt x="398" y="122"/>
                    <a:pt x="398" y="122"/>
                    <a:pt x="398" y="123"/>
                  </a:cubicBezTo>
                  <a:cubicBezTo>
                    <a:pt x="398" y="123"/>
                    <a:pt x="398" y="123"/>
                    <a:pt x="398" y="123"/>
                  </a:cubicBezTo>
                  <a:close/>
                  <a:moveTo>
                    <a:pt x="411" y="163"/>
                  </a:moveTo>
                  <a:cubicBezTo>
                    <a:pt x="411" y="163"/>
                    <a:pt x="412" y="163"/>
                    <a:pt x="412" y="163"/>
                  </a:cubicBezTo>
                  <a:cubicBezTo>
                    <a:pt x="412" y="163"/>
                    <a:pt x="412" y="162"/>
                    <a:pt x="412" y="162"/>
                  </a:cubicBezTo>
                  <a:cubicBezTo>
                    <a:pt x="412" y="163"/>
                    <a:pt x="412" y="163"/>
                    <a:pt x="413" y="163"/>
                  </a:cubicBezTo>
                  <a:cubicBezTo>
                    <a:pt x="413" y="162"/>
                    <a:pt x="412" y="161"/>
                    <a:pt x="413" y="161"/>
                  </a:cubicBezTo>
                  <a:cubicBezTo>
                    <a:pt x="413" y="161"/>
                    <a:pt x="413" y="160"/>
                    <a:pt x="413" y="160"/>
                  </a:cubicBezTo>
                  <a:cubicBezTo>
                    <a:pt x="413" y="159"/>
                    <a:pt x="414" y="160"/>
                    <a:pt x="414" y="159"/>
                  </a:cubicBezTo>
                  <a:cubicBezTo>
                    <a:pt x="414" y="159"/>
                    <a:pt x="414" y="159"/>
                    <a:pt x="414" y="159"/>
                  </a:cubicBezTo>
                  <a:cubicBezTo>
                    <a:pt x="414" y="159"/>
                    <a:pt x="414" y="160"/>
                    <a:pt x="414" y="159"/>
                  </a:cubicBezTo>
                  <a:cubicBezTo>
                    <a:pt x="414" y="159"/>
                    <a:pt x="414" y="158"/>
                    <a:pt x="415" y="158"/>
                  </a:cubicBezTo>
                  <a:cubicBezTo>
                    <a:pt x="415" y="158"/>
                    <a:pt x="415" y="159"/>
                    <a:pt x="415" y="159"/>
                  </a:cubicBezTo>
                  <a:cubicBezTo>
                    <a:pt x="416" y="159"/>
                    <a:pt x="416" y="159"/>
                    <a:pt x="416" y="159"/>
                  </a:cubicBezTo>
                  <a:cubicBezTo>
                    <a:pt x="416" y="159"/>
                    <a:pt x="416" y="159"/>
                    <a:pt x="417" y="159"/>
                  </a:cubicBezTo>
                  <a:cubicBezTo>
                    <a:pt x="417" y="158"/>
                    <a:pt x="417" y="158"/>
                    <a:pt x="417" y="158"/>
                  </a:cubicBezTo>
                  <a:cubicBezTo>
                    <a:pt x="417" y="158"/>
                    <a:pt x="418" y="158"/>
                    <a:pt x="417" y="157"/>
                  </a:cubicBezTo>
                  <a:cubicBezTo>
                    <a:pt x="417" y="157"/>
                    <a:pt x="417" y="156"/>
                    <a:pt x="418" y="156"/>
                  </a:cubicBezTo>
                  <a:cubicBezTo>
                    <a:pt x="418" y="156"/>
                    <a:pt x="418" y="155"/>
                    <a:pt x="419" y="156"/>
                  </a:cubicBezTo>
                  <a:cubicBezTo>
                    <a:pt x="419" y="156"/>
                    <a:pt x="420" y="157"/>
                    <a:pt x="420" y="157"/>
                  </a:cubicBezTo>
                  <a:cubicBezTo>
                    <a:pt x="420" y="158"/>
                    <a:pt x="420" y="159"/>
                    <a:pt x="420" y="159"/>
                  </a:cubicBezTo>
                  <a:cubicBezTo>
                    <a:pt x="420" y="160"/>
                    <a:pt x="420" y="161"/>
                    <a:pt x="419" y="161"/>
                  </a:cubicBezTo>
                  <a:cubicBezTo>
                    <a:pt x="419" y="161"/>
                    <a:pt x="419" y="161"/>
                    <a:pt x="419" y="161"/>
                  </a:cubicBezTo>
                  <a:cubicBezTo>
                    <a:pt x="418" y="161"/>
                    <a:pt x="418" y="161"/>
                    <a:pt x="418" y="161"/>
                  </a:cubicBezTo>
                  <a:cubicBezTo>
                    <a:pt x="418" y="162"/>
                    <a:pt x="418" y="162"/>
                    <a:pt x="417" y="162"/>
                  </a:cubicBezTo>
                  <a:cubicBezTo>
                    <a:pt x="417" y="162"/>
                    <a:pt x="417" y="163"/>
                    <a:pt x="417" y="163"/>
                  </a:cubicBezTo>
                  <a:cubicBezTo>
                    <a:pt x="417" y="163"/>
                    <a:pt x="416" y="164"/>
                    <a:pt x="416" y="164"/>
                  </a:cubicBezTo>
                  <a:cubicBezTo>
                    <a:pt x="416" y="164"/>
                    <a:pt x="416" y="165"/>
                    <a:pt x="416" y="165"/>
                  </a:cubicBezTo>
                  <a:cubicBezTo>
                    <a:pt x="416" y="165"/>
                    <a:pt x="416" y="165"/>
                    <a:pt x="415" y="166"/>
                  </a:cubicBezTo>
                  <a:cubicBezTo>
                    <a:pt x="415" y="166"/>
                    <a:pt x="415" y="166"/>
                    <a:pt x="415" y="167"/>
                  </a:cubicBezTo>
                  <a:cubicBezTo>
                    <a:pt x="415" y="167"/>
                    <a:pt x="415" y="167"/>
                    <a:pt x="415" y="167"/>
                  </a:cubicBezTo>
                  <a:cubicBezTo>
                    <a:pt x="415" y="167"/>
                    <a:pt x="415" y="167"/>
                    <a:pt x="415" y="167"/>
                  </a:cubicBezTo>
                  <a:cubicBezTo>
                    <a:pt x="415" y="167"/>
                    <a:pt x="415" y="168"/>
                    <a:pt x="415" y="168"/>
                  </a:cubicBezTo>
                  <a:cubicBezTo>
                    <a:pt x="415" y="168"/>
                    <a:pt x="414" y="168"/>
                    <a:pt x="415" y="168"/>
                  </a:cubicBezTo>
                  <a:cubicBezTo>
                    <a:pt x="415" y="169"/>
                    <a:pt x="415" y="170"/>
                    <a:pt x="415" y="170"/>
                  </a:cubicBezTo>
                  <a:cubicBezTo>
                    <a:pt x="414" y="169"/>
                    <a:pt x="414" y="169"/>
                    <a:pt x="414" y="169"/>
                  </a:cubicBezTo>
                  <a:cubicBezTo>
                    <a:pt x="413" y="168"/>
                    <a:pt x="413" y="169"/>
                    <a:pt x="414" y="169"/>
                  </a:cubicBezTo>
                  <a:cubicBezTo>
                    <a:pt x="414" y="170"/>
                    <a:pt x="415" y="171"/>
                    <a:pt x="414" y="171"/>
                  </a:cubicBezTo>
                  <a:cubicBezTo>
                    <a:pt x="414" y="171"/>
                    <a:pt x="414" y="171"/>
                    <a:pt x="414" y="171"/>
                  </a:cubicBezTo>
                  <a:cubicBezTo>
                    <a:pt x="414" y="172"/>
                    <a:pt x="414" y="171"/>
                    <a:pt x="414" y="171"/>
                  </a:cubicBezTo>
                  <a:cubicBezTo>
                    <a:pt x="414" y="171"/>
                    <a:pt x="414" y="172"/>
                    <a:pt x="414" y="172"/>
                  </a:cubicBezTo>
                  <a:cubicBezTo>
                    <a:pt x="414" y="172"/>
                    <a:pt x="414" y="172"/>
                    <a:pt x="414" y="173"/>
                  </a:cubicBezTo>
                  <a:cubicBezTo>
                    <a:pt x="414" y="173"/>
                    <a:pt x="414" y="173"/>
                    <a:pt x="414" y="173"/>
                  </a:cubicBezTo>
                  <a:cubicBezTo>
                    <a:pt x="414" y="173"/>
                    <a:pt x="414" y="174"/>
                    <a:pt x="414" y="174"/>
                  </a:cubicBezTo>
                  <a:cubicBezTo>
                    <a:pt x="414" y="174"/>
                    <a:pt x="414" y="175"/>
                    <a:pt x="414" y="176"/>
                  </a:cubicBezTo>
                  <a:cubicBezTo>
                    <a:pt x="414" y="177"/>
                    <a:pt x="414" y="178"/>
                    <a:pt x="414" y="179"/>
                  </a:cubicBezTo>
                  <a:cubicBezTo>
                    <a:pt x="414" y="180"/>
                    <a:pt x="415" y="181"/>
                    <a:pt x="415" y="182"/>
                  </a:cubicBezTo>
                  <a:cubicBezTo>
                    <a:pt x="415" y="183"/>
                    <a:pt x="416" y="183"/>
                    <a:pt x="416" y="184"/>
                  </a:cubicBezTo>
                  <a:cubicBezTo>
                    <a:pt x="416" y="184"/>
                    <a:pt x="416" y="184"/>
                    <a:pt x="416" y="184"/>
                  </a:cubicBezTo>
                  <a:cubicBezTo>
                    <a:pt x="416" y="185"/>
                    <a:pt x="417" y="186"/>
                    <a:pt x="417" y="186"/>
                  </a:cubicBezTo>
                  <a:cubicBezTo>
                    <a:pt x="417" y="186"/>
                    <a:pt x="416" y="186"/>
                    <a:pt x="416" y="185"/>
                  </a:cubicBezTo>
                  <a:cubicBezTo>
                    <a:pt x="416" y="185"/>
                    <a:pt x="416" y="185"/>
                    <a:pt x="416" y="186"/>
                  </a:cubicBezTo>
                  <a:cubicBezTo>
                    <a:pt x="416" y="186"/>
                    <a:pt x="415" y="186"/>
                    <a:pt x="415" y="186"/>
                  </a:cubicBezTo>
                  <a:cubicBezTo>
                    <a:pt x="415" y="185"/>
                    <a:pt x="415" y="185"/>
                    <a:pt x="415" y="185"/>
                  </a:cubicBezTo>
                  <a:cubicBezTo>
                    <a:pt x="414" y="185"/>
                    <a:pt x="414" y="185"/>
                    <a:pt x="414" y="184"/>
                  </a:cubicBezTo>
                  <a:cubicBezTo>
                    <a:pt x="414" y="184"/>
                    <a:pt x="414" y="184"/>
                    <a:pt x="414" y="183"/>
                  </a:cubicBezTo>
                  <a:cubicBezTo>
                    <a:pt x="414" y="183"/>
                    <a:pt x="413" y="181"/>
                    <a:pt x="413" y="181"/>
                  </a:cubicBezTo>
                  <a:cubicBezTo>
                    <a:pt x="412" y="181"/>
                    <a:pt x="412" y="181"/>
                    <a:pt x="411" y="180"/>
                  </a:cubicBezTo>
                  <a:cubicBezTo>
                    <a:pt x="411" y="179"/>
                    <a:pt x="411" y="178"/>
                    <a:pt x="411" y="178"/>
                  </a:cubicBezTo>
                  <a:cubicBezTo>
                    <a:pt x="412" y="178"/>
                    <a:pt x="412" y="177"/>
                    <a:pt x="412" y="176"/>
                  </a:cubicBezTo>
                  <a:cubicBezTo>
                    <a:pt x="412" y="176"/>
                    <a:pt x="412" y="176"/>
                    <a:pt x="412" y="175"/>
                  </a:cubicBezTo>
                  <a:cubicBezTo>
                    <a:pt x="411" y="175"/>
                    <a:pt x="411" y="175"/>
                    <a:pt x="411" y="175"/>
                  </a:cubicBezTo>
                  <a:cubicBezTo>
                    <a:pt x="411" y="175"/>
                    <a:pt x="411" y="174"/>
                    <a:pt x="411" y="174"/>
                  </a:cubicBezTo>
                  <a:cubicBezTo>
                    <a:pt x="411" y="174"/>
                    <a:pt x="412" y="174"/>
                    <a:pt x="412" y="174"/>
                  </a:cubicBezTo>
                  <a:cubicBezTo>
                    <a:pt x="411" y="173"/>
                    <a:pt x="411" y="172"/>
                    <a:pt x="412" y="172"/>
                  </a:cubicBezTo>
                  <a:cubicBezTo>
                    <a:pt x="412" y="172"/>
                    <a:pt x="412" y="172"/>
                    <a:pt x="412" y="172"/>
                  </a:cubicBezTo>
                  <a:cubicBezTo>
                    <a:pt x="412" y="171"/>
                    <a:pt x="412" y="171"/>
                    <a:pt x="412" y="171"/>
                  </a:cubicBezTo>
                  <a:cubicBezTo>
                    <a:pt x="411" y="170"/>
                    <a:pt x="412" y="169"/>
                    <a:pt x="412" y="169"/>
                  </a:cubicBezTo>
                  <a:cubicBezTo>
                    <a:pt x="412" y="168"/>
                    <a:pt x="412" y="168"/>
                    <a:pt x="412" y="167"/>
                  </a:cubicBezTo>
                  <a:cubicBezTo>
                    <a:pt x="412" y="167"/>
                    <a:pt x="412" y="167"/>
                    <a:pt x="412" y="167"/>
                  </a:cubicBezTo>
                  <a:cubicBezTo>
                    <a:pt x="412" y="166"/>
                    <a:pt x="412" y="166"/>
                    <a:pt x="412" y="165"/>
                  </a:cubicBezTo>
                  <a:cubicBezTo>
                    <a:pt x="412" y="165"/>
                    <a:pt x="412" y="165"/>
                    <a:pt x="412" y="165"/>
                  </a:cubicBezTo>
                  <a:cubicBezTo>
                    <a:pt x="411" y="164"/>
                    <a:pt x="411" y="163"/>
                    <a:pt x="411" y="163"/>
                  </a:cubicBezTo>
                  <a:close/>
                  <a:moveTo>
                    <a:pt x="431" y="181"/>
                  </a:moveTo>
                  <a:cubicBezTo>
                    <a:pt x="431" y="180"/>
                    <a:pt x="430" y="179"/>
                    <a:pt x="431" y="179"/>
                  </a:cubicBezTo>
                  <a:cubicBezTo>
                    <a:pt x="432" y="179"/>
                    <a:pt x="431" y="181"/>
                    <a:pt x="431" y="181"/>
                  </a:cubicBezTo>
                  <a:close/>
                  <a:moveTo>
                    <a:pt x="422" y="134"/>
                  </a:moveTo>
                  <a:cubicBezTo>
                    <a:pt x="423" y="134"/>
                    <a:pt x="423" y="135"/>
                    <a:pt x="422" y="135"/>
                  </a:cubicBezTo>
                  <a:cubicBezTo>
                    <a:pt x="422" y="134"/>
                    <a:pt x="422" y="134"/>
                    <a:pt x="421" y="134"/>
                  </a:cubicBezTo>
                  <a:cubicBezTo>
                    <a:pt x="421" y="133"/>
                    <a:pt x="421" y="133"/>
                    <a:pt x="422" y="133"/>
                  </a:cubicBezTo>
                  <a:cubicBezTo>
                    <a:pt x="422" y="132"/>
                    <a:pt x="422" y="134"/>
                    <a:pt x="422" y="134"/>
                  </a:cubicBezTo>
                  <a:close/>
                  <a:moveTo>
                    <a:pt x="422" y="142"/>
                  </a:moveTo>
                  <a:cubicBezTo>
                    <a:pt x="421" y="142"/>
                    <a:pt x="421" y="141"/>
                    <a:pt x="422" y="142"/>
                  </a:cubicBezTo>
                  <a:cubicBezTo>
                    <a:pt x="422" y="142"/>
                    <a:pt x="422" y="142"/>
                    <a:pt x="422" y="142"/>
                  </a:cubicBezTo>
                  <a:cubicBezTo>
                    <a:pt x="423" y="142"/>
                    <a:pt x="423" y="143"/>
                    <a:pt x="422" y="142"/>
                  </a:cubicBezTo>
                  <a:cubicBezTo>
                    <a:pt x="422" y="142"/>
                    <a:pt x="422" y="142"/>
                    <a:pt x="422" y="142"/>
                  </a:cubicBezTo>
                  <a:close/>
                  <a:moveTo>
                    <a:pt x="425" y="177"/>
                  </a:moveTo>
                  <a:cubicBezTo>
                    <a:pt x="425" y="177"/>
                    <a:pt x="424" y="177"/>
                    <a:pt x="424" y="177"/>
                  </a:cubicBezTo>
                  <a:cubicBezTo>
                    <a:pt x="424" y="177"/>
                    <a:pt x="424" y="176"/>
                    <a:pt x="424" y="175"/>
                  </a:cubicBezTo>
                  <a:cubicBezTo>
                    <a:pt x="424" y="175"/>
                    <a:pt x="424" y="175"/>
                    <a:pt x="424" y="175"/>
                  </a:cubicBezTo>
                  <a:cubicBezTo>
                    <a:pt x="425" y="176"/>
                    <a:pt x="425" y="177"/>
                    <a:pt x="425" y="177"/>
                  </a:cubicBezTo>
                  <a:close/>
                  <a:moveTo>
                    <a:pt x="431" y="167"/>
                  </a:moveTo>
                  <a:cubicBezTo>
                    <a:pt x="431" y="168"/>
                    <a:pt x="432" y="170"/>
                    <a:pt x="431" y="169"/>
                  </a:cubicBezTo>
                  <a:cubicBezTo>
                    <a:pt x="430" y="168"/>
                    <a:pt x="430" y="168"/>
                    <a:pt x="430" y="167"/>
                  </a:cubicBezTo>
                  <a:cubicBezTo>
                    <a:pt x="430" y="167"/>
                    <a:pt x="431" y="167"/>
                    <a:pt x="431" y="167"/>
                  </a:cubicBezTo>
                  <a:close/>
                  <a:moveTo>
                    <a:pt x="405" y="122"/>
                  </a:moveTo>
                  <a:cubicBezTo>
                    <a:pt x="405" y="122"/>
                    <a:pt x="405" y="121"/>
                    <a:pt x="405" y="121"/>
                  </a:cubicBezTo>
                  <a:cubicBezTo>
                    <a:pt x="405" y="121"/>
                    <a:pt x="405" y="121"/>
                    <a:pt x="406" y="121"/>
                  </a:cubicBezTo>
                  <a:cubicBezTo>
                    <a:pt x="406" y="122"/>
                    <a:pt x="406" y="122"/>
                    <a:pt x="405" y="122"/>
                  </a:cubicBezTo>
                  <a:close/>
                  <a:moveTo>
                    <a:pt x="411" y="188"/>
                  </a:moveTo>
                  <a:cubicBezTo>
                    <a:pt x="411" y="188"/>
                    <a:pt x="413" y="190"/>
                    <a:pt x="413" y="190"/>
                  </a:cubicBezTo>
                  <a:cubicBezTo>
                    <a:pt x="413" y="190"/>
                    <a:pt x="413" y="190"/>
                    <a:pt x="413" y="190"/>
                  </a:cubicBezTo>
                  <a:cubicBezTo>
                    <a:pt x="413" y="191"/>
                    <a:pt x="414" y="191"/>
                    <a:pt x="413" y="191"/>
                  </a:cubicBezTo>
                  <a:cubicBezTo>
                    <a:pt x="413" y="192"/>
                    <a:pt x="413" y="192"/>
                    <a:pt x="412" y="192"/>
                  </a:cubicBezTo>
                  <a:cubicBezTo>
                    <a:pt x="412" y="193"/>
                    <a:pt x="411" y="192"/>
                    <a:pt x="411" y="191"/>
                  </a:cubicBezTo>
                  <a:cubicBezTo>
                    <a:pt x="411" y="190"/>
                    <a:pt x="411" y="189"/>
                    <a:pt x="411" y="188"/>
                  </a:cubicBezTo>
                  <a:close/>
                  <a:moveTo>
                    <a:pt x="404" y="124"/>
                  </a:moveTo>
                  <a:cubicBezTo>
                    <a:pt x="404" y="123"/>
                    <a:pt x="405" y="124"/>
                    <a:pt x="404" y="125"/>
                  </a:cubicBezTo>
                  <a:cubicBezTo>
                    <a:pt x="404" y="125"/>
                    <a:pt x="403" y="124"/>
                    <a:pt x="404" y="124"/>
                  </a:cubicBezTo>
                  <a:close/>
                  <a:moveTo>
                    <a:pt x="405" y="120"/>
                  </a:moveTo>
                  <a:cubicBezTo>
                    <a:pt x="405" y="119"/>
                    <a:pt x="407" y="121"/>
                    <a:pt x="407" y="122"/>
                  </a:cubicBezTo>
                  <a:cubicBezTo>
                    <a:pt x="407" y="122"/>
                    <a:pt x="405" y="121"/>
                    <a:pt x="405" y="120"/>
                  </a:cubicBezTo>
                  <a:close/>
                  <a:moveTo>
                    <a:pt x="400" y="129"/>
                  </a:moveTo>
                  <a:cubicBezTo>
                    <a:pt x="399" y="129"/>
                    <a:pt x="399" y="129"/>
                    <a:pt x="399" y="129"/>
                  </a:cubicBezTo>
                  <a:cubicBezTo>
                    <a:pt x="399" y="128"/>
                    <a:pt x="400" y="129"/>
                    <a:pt x="400" y="129"/>
                  </a:cubicBezTo>
                  <a:cubicBezTo>
                    <a:pt x="401" y="129"/>
                    <a:pt x="402" y="129"/>
                    <a:pt x="402" y="129"/>
                  </a:cubicBezTo>
                  <a:cubicBezTo>
                    <a:pt x="402" y="130"/>
                    <a:pt x="400" y="129"/>
                    <a:pt x="400" y="129"/>
                  </a:cubicBezTo>
                  <a:close/>
                  <a:moveTo>
                    <a:pt x="393" y="231"/>
                  </a:moveTo>
                  <a:cubicBezTo>
                    <a:pt x="393" y="231"/>
                    <a:pt x="392" y="233"/>
                    <a:pt x="392" y="232"/>
                  </a:cubicBezTo>
                  <a:cubicBezTo>
                    <a:pt x="392" y="231"/>
                    <a:pt x="392" y="230"/>
                    <a:pt x="392" y="230"/>
                  </a:cubicBezTo>
                  <a:cubicBezTo>
                    <a:pt x="392" y="229"/>
                    <a:pt x="392" y="229"/>
                    <a:pt x="393" y="229"/>
                  </a:cubicBezTo>
                  <a:cubicBezTo>
                    <a:pt x="393" y="230"/>
                    <a:pt x="393" y="230"/>
                    <a:pt x="393" y="231"/>
                  </a:cubicBezTo>
                  <a:close/>
                  <a:moveTo>
                    <a:pt x="406" y="127"/>
                  </a:moveTo>
                  <a:cubicBezTo>
                    <a:pt x="406" y="127"/>
                    <a:pt x="407" y="128"/>
                    <a:pt x="407" y="128"/>
                  </a:cubicBezTo>
                  <a:cubicBezTo>
                    <a:pt x="407" y="128"/>
                    <a:pt x="408" y="129"/>
                    <a:pt x="408" y="129"/>
                  </a:cubicBezTo>
                  <a:cubicBezTo>
                    <a:pt x="407" y="129"/>
                    <a:pt x="407" y="129"/>
                    <a:pt x="407" y="129"/>
                  </a:cubicBezTo>
                  <a:cubicBezTo>
                    <a:pt x="407" y="129"/>
                    <a:pt x="407" y="129"/>
                    <a:pt x="408" y="129"/>
                  </a:cubicBezTo>
                  <a:cubicBezTo>
                    <a:pt x="408" y="130"/>
                    <a:pt x="408" y="130"/>
                    <a:pt x="408" y="130"/>
                  </a:cubicBezTo>
                  <a:cubicBezTo>
                    <a:pt x="408" y="131"/>
                    <a:pt x="406" y="129"/>
                    <a:pt x="407" y="130"/>
                  </a:cubicBezTo>
                  <a:cubicBezTo>
                    <a:pt x="406" y="130"/>
                    <a:pt x="406" y="130"/>
                    <a:pt x="405" y="129"/>
                  </a:cubicBezTo>
                  <a:cubicBezTo>
                    <a:pt x="405" y="129"/>
                    <a:pt x="405" y="129"/>
                    <a:pt x="405" y="128"/>
                  </a:cubicBezTo>
                  <a:cubicBezTo>
                    <a:pt x="405" y="128"/>
                    <a:pt x="405" y="128"/>
                    <a:pt x="405" y="127"/>
                  </a:cubicBezTo>
                  <a:cubicBezTo>
                    <a:pt x="406" y="127"/>
                    <a:pt x="405" y="127"/>
                    <a:pt x="405" y="127"/>
                  </a:cubicBezTo>
                  <a:cubicBezTo>
                    <a:pt x="405" y="127"/>
                    <a:pt x="405" y="126"/>
                    <a:pt x="405" y="126"/>
                  </a:cubicBezTo>
                  <a:cubicBezTo>
                    <a:pt x="405" y="126"/>
                    <a:pt x="406" y="127"/>
                    <a:pt x="406" y="127"/>
                  </a:cubicBezTo>
                  <a:cubicBezTo>
                    <a:pt x="406" y="127"/>
                    <a:pt x="406" y="127"/>
                    <a:pt x="406" y="127"/>
                  </a:cubicBezTo>
                  <a:close/>
                  <a:moveTo>
                    <a:pt x="129" y="113"/>
                  </a:moveTo>
                  <a:cubicBezTo>
                    <a:pt x="128" y="113"/>
                    <a:pt x="128" y="112"/>
                    <a:pt x="129" y="111"/>
                  </a:cubicBezTo>
                  <a:cubicBezTo>
                    <a:pt x="130" y="111"/>
                    <a:pt x="131" y="111"/>
                    <a:pt x="131" y="111"/>
                  </a:cubicBezTo>
                  <a:cubicBezTo>
                    <a:pt x="131" y="111"/>
                    <a:pt x="131" y="113"/>
                    <a:pt x="131" y="113"/>
                  </a:cubicBezTo>
                  <a:cubicBezTo>
                    <a:pt x="130" y="113"/>
                    <a:pt x="130" y="113"/>
                    <a:pt x="129" y="113"/>
                  </a:cubicBezTo>
                  <a:close/>
                  <a:moveTo>
                    <a:pt x="131" y="103"/>
                  </a:moveTo>
                  <a:cubicBezTo>
                    <a:pt x="132" y="103"/>
                    <a:pt x="132" y="103"/>
                    <a:pt x="132" y="104"/>
                  </a:cubicBezTo>
                  <a:cubicBezTo>
                    <a:pt x="132" y="104"/>
                    <a:pt x="132" y="104"/>
                    <a:pt x="132" y="105"/>
                  </a:cubicBezTo>
                  <a:cubicBezTo>
                    <a:pt x="131" y="105"/>
                    <a:pt x="130" y="104"/>
                    <a:pt x="131" y="103"/>
                  </a:cubicBezTo>
                  <a:close/>
                  <a:moveTo>
                    <a:pt x="182" y="274"/>
                  </a:moveTo>
                  <a:cubicBezTo>
                    <a:pt x="183" y="273"/>
                    <a:pt x="185" y="272"/>
                    <a:pt x="185" y="274"/>
                  </a:cubicBezTo>
                  <a:cubicBezTo>
                    <a:pt x="185" y="275"/>
                    <a:pt x="185" y="275"/>
                    <a:pt x="185" y="275"/>
                  </a:cubicBezTo>
                  <a:cubicBezTo>
                    <a:pt x="184" y="275"/>
                    <a:pt x="183" y="274"/>
                    <a:pt x="182" y="274"/>
                  </a:cubicBezTo>
                  <a:close/>
                  <a:moveTo>
                    <a:pt x="234" y="294"/>
                  </a:moveTo>
                  <a:cubicBezTo>
                    <a:pt x="234" y="293"/>
                    <a:pt x="235" y="293"/>
                    <a:pt x="235" y="294"/>
                  </a:cubicBezTo>
                  <a:cubicBezTo>
                    <a:pt x="235" y="294"/>
                    <a:pt x="235" y="294"/>
                    <a:pt x="235" y="294"/>
                  </a:cubicBezTo>
                  <a:cubicBezTo>
                    <a:pt x="235" y="294"/>
                    <a:pt x="234" y="294"/>
                    <a:pt x="234" y="294"/>
                  </a:cubicBezTo>
                  <a:close/>
                  <a:moveTo>
                    <a:pt x="123" y="119"/>
                  </a:moveTo>
                  <a:cubicBezTo>
                    <a:pt x="123" y="119"/>
                    <a:pt x="122" y="119"/>
                    <a:pt x="122" y="120"/>
                  </a:cubicBezTo>
                  <a:cubicBezTo>
                    <a:pt x="122" y="120"/>
                    <a:pt x="121" y="121"/>
                    <a:pt x="121" y="121"/>
                  </a:cubicBezTo>
                  <a:cubicBezTo>
                    <a:pt x="120" y="122"/>
                    <a:pt x="119" y="123"/>
                    <a:pt x="118" y="123"/>
                  </a:cubicBezTo>
                  <a:cubicBezTo>
                    <a:pt x="117" y="122"/>
                    <a:pt x="119" y="120"/>
                    <a:pt x="120" y="120"/>
                  </a:cubicBezTo>
                  <a:cubicBezTo>
                    <a:pt x="120" y="119"/>
                    <a:pt x="121" y="119"/>
                    <a:pt x="121" y="119"/>
                  </a:cubicBezTo>
                  <a:cubicBezTo>
                    <a:pt x="121" y="119"/>
                    <a:pt x="121" y="119"/>
                    <a:pt x="122" y="119"/>
                  </a:cubicBezTo>
                  <a:cubicBezTo>
                    <a:pt x="122" y="119"/>
                    <a:pt x="123" y="118"/>
                    <a:pt x="123" y="119"/>
                  </a:cubicBezTo>
                  <a:close/>
                  <a:moveTo>
                    <a:pt x="154" y="111"/>
                  </a:moveTo>
                  <a:cubicBezTo>
                    <a:pt x="154" y="111"/>
                    <a:pt x="153" y="112"/>
                    <a:pt x="152" y="112"/>
                  </a:cubicBezTo>
                  <a:cubicBezTo>
                    <a:pt x="152" y="112"/>
                    <a:pt x="150" y="111"/>
                    <a:pt x="150" y="111"/>
                  </a:cubicBezTo>
                  <a:cubicBezTo>
                    <a:pt x="150" y="110"/>
                    <a:pt x="151" y="110"/>
                    <a:pt x="151" y="109"/>
                  </a:cubicBezTo>
                  <a:cubicBezTo>
                    <a:pt x="151" y="109"/>
                    <a:pt x="151" y="110"/>
                    <a:pt x="152" y="109"/>
                  </a:cubicBezTo>
                  <a:cubicBezTo>
                    <a:pt x="152" y="110"/>
                    <a:pt x="152" y="110"/>
                    <a:pt x="153" y="110"/>
                  </a:cubicBezTo>
                  <a:cubicBezTo>
                    <a:pt x="153" y="110"/>
                    <a:pt x="154" y="110"/>
                    <a:pt x="154" y="111"/>
                  </a:cubicBezTo>
                  <a:close/>
                  <a:moveTo>
                    <a:pt x="149" y="119"/>
                  </a:moveTo>
                  <a:cubicBezTo>
                    <a:pt x="149" y="118"/>
                    <a:pt x="149" y="117"/>
                    <a:pt x="150" y="117"/>
                  </a:cubicBezTo>
                  <a:cubicBezTo>
                    <a:pt x="150" y="116"/>
                    <a:pt x="151" y="116"/>
                    <a:pt x="152" y="116"/>
                  </a:cubicBezTo>
                  <a:cubicBezTo>
                    <a:pt x="152" y="117"/>
                    <a:pt x="152" y="118"/>
                    <a:pt x="151" y="119"/>
                  </a:cubicBezTo>
                  <a:cubicBezTo>
                    <a:pt x="150" y="119"/>
                    <a:pt x="149" y="119"/>
                    <a:pt x="149" y="119"/>
                  </a:cubicBezTo>
                  <a:close/>
                  <a:moveTo>
                    <a:pt x="373" y="284"/>
                  </a:moveTo>
                  <a:cubicBezTo>
                    <a:pt x="374" y="284"/>
                    <a:pt x="374" y="284"/>
                    <a:pt x="374" y="284"/>
                  </a:cubicBezTo>
                  <a:cubicBezTo>
                    <a:pt x="374" y="285"/>
                    <a:pt x="373" y="285"/>
                    <a:pt x="372" y="285"/>
                  </a:cubicBezTo>
                  <a:cubicBezTo>
                    <a:pt x="373" y="285"/>
                    <a:pt x="373" y="285"/>
                    <a:pt x="373" y="284"/>
                  </a:cubicBezTo>
                  <a:close/>
                  <a:moveTo>
                    <a:pt x="165" y="138"/>
                  </a:moveTo>
                  <a:cubicBezTo>
                    <a:pt x="165" y="139"/>
                    <a:pt x="164" y="141"/>
                    <a:pt x="163" y="141"/>
                  </a:cubicBezTo>
                  <a:cubicBezTo>
                    <a:pt x="162" y="141"/>
                    <a:pt x="162" y="141"/>
                    <a:pt x="161" y="142"/>
                  </a:cubicBezTo>
                  <a:cubicBezTo>
                    <a:pt x="161" y="142"/>
                    <a:pt x="161" y="142"/>
                    <a:pt x="161" y="143"/>
                  </a:cubicBezTo>
                  <a:cubicBezTo>
                    <a:pt x="160" y="144"/>
                    <a:pt x="159" y="144"/>
                    <a:pt x="159" y="143"/>
                  </a:cubicBezTo>
                  <a:cubicBezTo>
                    <a:pt x="158" y="143"/>
                    <a:pt x="158" y="142"/>
                    <a:pt x="157" y="141"/>
                  </a:cubicBezTo>
                  <a:cubicBezTo>
                    <a:pt x="157" y="140"/>
                    <a:pt x="156" y="140"/>
                    <a:pt x="155" y="140"/>
                  </a:cubicBezTo>
                  <a:cubicBezTo>
                    <a:pt x="154" y="139"/>
                    <a:pt x="154" y="139"/>
                    <a:pt x="154" y="138"/>
                  </a:cubicBezTo>
                  <a:cubicBezTo>
                    <a:pt x="153" y="138"/>
                    <a:pt x="153" y="138"/>
                    <a:pt x="153" y="137"/>
                  </a:cubicBezTo>
                  <a:cubicBezTo>
                    <a:pt x="152" y="137"/>
                    <a:pt x="152" y="136"/>
                    <a:pt x="152" y="135"/>
                  </a:cubicBezTo>
                  <a:cubicBezTo>
                    <a:pt x="152" y="134"/>
                    <a:pt x="153" y="133"/>
                    <a:pt x="153" y="134"/>
                  </a:cubicBezTo>
                  <a:cubicBezTo>
                    <a:pt x="154" y="134"/>
                    <a:pt x="155" y="135"/>
                    <a:pt x="156" y="135"/>
                  </a:cubicBezTo>
                  <a:cubicBezTo>
                    <a:pt x="156" y="134"/>
                    <a:pt x="157" y="133"/>
                    <a:pt x="156" y="132"/>
                  </a:cubicBezTo>
                  <a:cubicBezTo>
                    <a:pt x="156" y="132"/>
                    <a:pt x="155" y="131"/>
                    <a:pt x="156" y="130"/>
                  </a:cubicBezTo>
                  <a:cubicBezTo>
                    <a:pt x="156" y="130"/>
                    <a:pt x="156" y="130"/>
                    <a:pt x="156" y="130"/>
                  </a:cubicBezTo>
                  <a:cubicBezTo>
                    <a:pt x="155" y="129"/>
                    <a:pt x="155" y="128"/>
                    <a:pt x="156" y="128"/>
                  </a:cubicBezTo>
                  <a:cubicBezTo>
                    <a:pt x="157" y="127"/>
                    <a:pt x="158" y="127"/>
                    <a:pt x="159" y="127"/>
                  </a:cubicBezTo>
                  <a:cubicBezTo>
                    <a:pt x="159" y="127"/>
                    <a:pt x="159" y="128"/>
                    <a:pt x="160" y="128"/>
                  </a:cubicBezTo>
                  <a:cubicBezTo>
                    <a:pt x="160" y="128"/>
                    <a:pt x="162" y="128"/>
                    <a:pt x="162" y="127"/>
                  </a:cubicBezTo>
                  <a:cubicBezTo>
                    <a:pt x="163" y="127"/>
                    <a:pt x="163" y="126"/>
                    <a:pt x="165" y="126"/>
                  </a:cubicBezTo>
                  <a:cubicBezTo>
                    <a:pt x="165" y="127"/>
                    <a:pt x="166" y="127"/>
                    <a:pt x="165" y="128"/>
                  </a:cubicBezTo>
                  <a:cubicBezTo>
                    <a:pt x="165" y="129"/>
                    <a:pt x="161" y="131"/>
                    <a:pt x="163" y="132"/>
                  </a:cubicBezTo>
                  <a:cubicBezTo>
                    <a:pt x="164" y="133"/>
                    <a:pt x="165" y="130"/>
                    <a:pt x="165" y="132"/>
                  </a:cubicBezTo>
                  <a:cubicBezTo>
                    <a:pt x="165" y="133"/>
                    <a:pt x="165" y="133"/>
                    <a:pt x="165" y="134"/>
                  </a:cubicBezTo>
                  <a:cubicBezTo>
                    <a:pt x="165" y="134"/>
                    <a:pt x="165" y="135"/>
                    <a:pt x="165" y="135"/>
                  </a:cubicBezTo>
                  <a:cubicBezTo>
                    <a:pt x="166" y="136"/>
                    <a:pt x="166" y="137"/>
                    <a:pt x="165" y="138"/>
                  </a:cubicBezTo>
                  <a:close/>
                  <a:moveTo>
                    <a:pt x="157" y="102"/>
                  </a:moveTo>
                  <a:cubicBezTo>
                    <a:pt x="156" y="102"/>
                    <a:pt x="155" y="101"/>
                    <a:pt x="156" y="101"/>
                  </a:cubicBezTo>
                  <a:cubicBezTo>
                    <a:pt x="156" y="100"/>
                    <a:pt x="157" y="100"/>
                    <a:pt x="158" y="100"/>
                  </a:cubicBezTo>
                  <a:cubicBezTo>
                    <a:pt x="158" y="100"/>
                    <a:pt x="159" y="100"/>
                    <a:pt x="159" y="101"/>
                  </a:cubicBezTo>
                  <a:cubicBezTo>
                    <a:pt x="158" y="101"/>
                    <a:pt x="158" y="102"/>
                    <a:pt x="157" y="102"/>
                  </a:cubicBezTo>
                  <a:close/>
                  <a:moveTo>
                    <a:pt x="140" y="130"/>
                  </a:moveTo>
                  <a:cubicBezTo>
                    <a:pt x="141" y="130"/>
                    <a:pt x="139" y="132"/>
                    <a:pt x="139" y="132"/>
                  </a:cubicBezTo>
                  <a:cubicBezTo>
                    <a:pt x="137" y="131"/>
                    <a:pt x="140" y="130"/>
                    <a:pt x="140" y="130"/>
                  </a:cubicBezTo>
                  <a:close/>
                  <a:moveTo>
                    <a:pt x="147" y="148"/>
                  </a:moveTo>
                  <a:cubicBezTo>
                    <a:pt x="147" y="149"/>
                    <a:pt x="148" y="149"/>
                    <a:pt x="150" y="149"/>
                  </a:cubicBezTo>
                  <a:cubicBezTo>
                    <a:pt x="151" y="149"/>
                    <a:pt x="151" y="150"/>
                    <a:pt x="152" y="151"/>
                  </a:cubicBezTo>
                  <a:cubicBezTo>
                    <a:pt x="152" y="152"/>
                    <a:pt x="153" y="152"/>
                    <a:pt x="152" y="153"/>
                  </a:cubicBezTo>
                  <a:cubicBezTo>
                    <a:pt x="152" y="154"/>
                    <a:pt x="152" y="154"/>
                    <a:pt x="151" y="154"/>
                  </a:cubicBezTo>
                  <a:cubicBezTo>
                    <a:pt x="151" y="155"/>
                    <a:pt x="150" y="153"/>
                    <a:pt x="150" y="154"/>
                  </a:cubicBezTo>
                  <a:cubicBezTo>
                    <a:pt x="149" y="154"/>
                    <a:pt x="149" y="155"/>
                    <a:pt x="148" y="155"/>
                  </a:cubicBezTo>
                  <a:cubicBezTo>
                    <a:pt x="147" y="155"/>
                    <a:pt x="147" y="156"/>
                    <a:pt x="148" y="156"/>
                  </a:cubicBezTo>
                  <a:cubicBezTo>
                    <a:pt x="148" y="156"/>
                    <a:pt x="149" y="156"/>
                    <a:pt x="149" y="156"/>
                  </a:cubicBezTo>
                  <a:cubicBezTo>
                    <a:pt x="150" y="156"/>
                    <a:pt x="150" y="158"/>
                    <a:pt x="150" y="159"/>
                  </a:cubicBezTo>
                  <a:cubicBezTo>
                    <a:pt x="149" y="159"/>
                    <a:pt x="148" y="160"/>
                    <a:pt x="146" y="160"/>
                  </a:cubicBezTo>
                  <a:cubicBezTo>
                    <a:pt x="145" y="160"/>
                    <a:pt x="143" y="161"/>
                    <a:pt x="143" y="160"/>
                  </a:cubicBezTo>
                  <a:cubicBezTo>
                    <a:pt x="142" y="159"/>
                    <a:pt x="142" y="159"/>
                    <a:pt x="142" y="159"/>
                  </a:cubicBezTo>
                  <a:cubicBezTo>
                    <a:pt x="141" y="159"/>
                    <a:pt x="141" y="159"/>
                    <a:pt x="140" y="159"/>
                  </a:cubicBezTo>
                  <a:cubicBezTo>
                    <a:pt x="139" y="159"/>
                    <a:pt x="139" y="158"/>
                    <a:pt x="139" y="158"/>
                  </a:cubicBezTo>
                  <a:cubicBezTo>
                    <a:pt x="138" y="156"/>
                    <a:pt x="138" y="158"/>
                    <a:pt x="138" y="159"/>
                  </a:cubicBezTo>
                  <a:cubicBezTo>
                    <a:pt x="137" y="160"/>
                    <a:pt x="137" y="161"/>
                    <a:pt x="135" y="161"/>
                  </a:cubicBezTo>
                  <a:cubicBezTo>
                    <a:pt x="134" y="161"/>
                    <a:pt x="134" y="162"/>
                    <a:pt x="133" y="162"/>
                  </a:cubicBezTo>
                  <a:cubicBezTo>
                    <a:pt x="132" y="162"/>
                    <a:pt x="131" y="163"/>
                    <a:pt x="131" y="163"/>
                  </a:cubicBezTo>
                  <a:cubicBezTo>
                    <a:pt x="129" y="164"/>
                    <a:pt x="127" y="164"/>
                    <a:pt x="125" y="165"/>
                  </a:cubicBezTo>
                  <a:cubicBezTo>
                    <a:pt x="123" y="166"/>
                    <a:pt x="122" y="164"/>
                    <a:pt x="122" y="163"/>
                  </a:cubicBezTo>
                  <a:cubicBezTo>
                    <a:pt x="122" y="161"/>
                    <a:pt x="122" y="160"/>
                    <a:pt x="120" y="161"/>
                  </a:cubicBezTo>
                  <a:cubicBezTo>
                    <a:pt x="119" y="161"/>
                    <a:pt x="117" y="161"/>
                    <a:pt x="117" y="160"/>
                  </a:cubicBezTo>
                  <a:cubicBezTo>
                    <a:pt x="116" y="159"/>
                    <a:pt x="115" y="159"/>
                    <a:pt x="115" y="159"/>
                  </a:cubicBezTo>
                  <a:cubicBezTo>
                    <a:pt x="113" y="156"/>
                    <a:pt x="119" y="155"/>
                    <a:pt x="121" y="155"/>
                  </a:cubicBezTo>
                  <a:cubicBezTo>
                    <a:pt x="122" y="155"/>
                    <a:pt x="123" y="154"/>
                    <a:pt x="124" y="154"/>
                  </a:cubicBezTo>
                  <a:cubicBezTo>
                    <a:pt x="125" y="154"/>
                    <a:pt x="126" y="154"/>
                    <a:pt x="126" y="154"/>
                  </a:cubicBezTo>
                  <a:cubicBezTo>
                    <a:pt x="128" y="153"/>
                    <a:pt x="125" y="153"/>
                    <a:pt x="125" y="153"/>
                  </a:cubicBezTo>
                  <a:cubicBezTo>
                    <a:pt x="123" y="153"/>
                    <a:pt x="121" y="152"/>
                    <a:pt x="119" y="153"/>
                  </a:cubicBezTo>
                  <a:cubicBezTo>
                    <a:pt x="118" y="153"/>
                    <a:pt x="116" y="155"/>
                    <a:pt x="115" y="154"/>
                  </a:cubicBezTo>
                  <a:cubicBezTo>
                    <a:pt x="115" y="153"/>
                    <a:pt x="114" y="152"/>
                    <a:pt x="114" y="151"/>
                  </a:cubicBezTo>
                  <a:cubicBezTo>
                    <a:pt x="115" y="150"/>
                    <a:pt x="117" y="149"/>
                    <a:pt x="118" y="149"/>
                  </a:cubicBezTo>
                  <a:cubicBezTo>
                    <a:pt x="119" y="149"/>
                    <a:pt x="120" y="147"/>
                    <a:pt x="119" y="148"/>
                  </a:cubicBezTo>
                  <a:cubicBezTo>
                    <a:pt x="118" y="148"/>
                    <a:pt x="118" y="148"/>
                    <a:pt x="117" y="148"/>
                  </a:cubicBezTo>
                  <a:cubicBezTo>
                    <a:pt x="116" y="149"/>
                    <a:pt x="115" y="148"/>
                    <a:pt x="114" y="148"/>
                  </a:cubicBezTo>
                  <a:cubicBezTo>
                    <a:pt x="113" y="147"/>
                    <a:pt x="113" y="146"/>
                    <a:pt x="114" y="145"/>
                  </a:cubicBezTo>
                  <a:cubicBezTo>
                    <a:pt x="115" y="145"/>
                    <a:pt x="117" y="143"/>
                    <a:pt x="115" y="143"/>
                  </a:cubicBezTo>
                  <a:cubicBezTo>
                    <a:pt x="115" y="143"/>
                    <a:pt x="114" y="144"/>
                    <a:pt x="115" y="143"/>
                  </a:cubicBezTo>
                  <a:cubicBezTo>
                    <a:pt x="115" y="142"/>
                    <a:pt x="116" y="141"/>
                    <a:pt x="117" y="141"/>
                  </a:cubicBezTo>
                  <a:cubicBezTo>
                    <a:pt x="118" y="140"/>
                    <a:pt x="119" y="138"/>
                    <a:pt x="121" y="138"/>
                  </a:cubicBezTo>
                  <a:cubicBezTo>
                    <a:pt x="122" y="137"/>
                    <a:pt x="123" y="137"/>
                    <a:pt x="124" y="136"/>
                  </a:cubicBezTo>
                  <a:cubicBezTo>
                    <a:pt x="124" y="136"/>
                    <a:pt x="125" y="135"/>
                    <a:pt x="125" y="135"/>
                  </a:cubicBezTo>
                  <a:cubicBezTo>
                    <a:pt x="126" y="135"/>
                    <a:pt x="126" y="135"/>
                    <a:pt x="126" y="136"/>
                  </a:cubicBezTo>
                  <a:cubicBezTo>
                    <a:pt x="126" y="136"/>
                    <a:pt x="126" y="137"/>
                    <a:pt x="126" y="137"/>
                  </a:cubicBezTo>
                  <a:cubicBezTo>
                    <a:pt x="125" y="138"/>
                    <a:pt x="122" y="140"/>
                    <a:pt x="124" y="140"/>
                  </a:cubicBezTo>
                  <a:cubicBezTo>
                    <a:pt x="125" y="140"/>
                    <a:pt x="125" y="139"/>
                    <a:pt x="126" y="139"/>
                  </a:cubicBezTo>
                  <a:cubicBezTo>
                    <a:pt x="126" y="138"/>
                    <a:pt x="126" y="138"/>
                    <a:pt x="127" y="138"/>
                  </a:cubicBezTo>
                  <a:cubicBezTo>
                    <a:pt x="127" y="136"/>
                    <a:pt x="129" y="137"/>
                    <a:pt x="130" y="137"/>
                  </a:cubicBezTo>
                  <a:cubicBezTo>
                    <a:pt x="131" y="137"/>
                    <a:pt x="131" y="138"/>
                    <a:pt x="131" y="139"/>
                  </a:cubicBezTo>
                  <a:cubicBezTo>
                    <a:pt x="130" y="140"/>
                    <a:pt x="130" y="141"/>
                    <a:pt x="131" y="140"/>
                  </a:cubicBezTo>
                  <a:cubicBezTo>
                    <a:pt x="131" y="139"/>
                    <a:pt x="132" y="139"/>
                    <a:pt x="132" y="139"/>
                  </a:cubicBezTo>
                  <a:cubicBezTo>
                    <a:pt x="133" y="139"/>
                    <a:pt x="134" y="138"/>
                    <a:pt x="134" y="138"/>
                  </a:cubicBezTo>
                  <a:cubicBezTo>
                    <a:pt x="134" y="137"/>
                    <a:pt x="133" y="137"/>
                    <a:pt x="133" y="136"/>
                  </a:cubicBezTo>
                  <a:cubicBezTo>
                    <a:pt x="133" y="135"/>
                    <a:pt x="135" y="136"/>
                    <a:pt x="135" y="136"/>
                  </a:cubicBezTo>
                  <a:cubicBezTo>
                    <a:pt x="136" y="136"/>
                    <a:pt x="137" y="138"/>
                    <a:pt x="137" y="139"/>
                  </a:cubicBezTo>
                  <a:cubicBezTo>
                    <a:pt x="137" y="140"/>
                    <a:pt x="137" y="141"/>
                    <a:pt x="137" y="142"/>
                  </a:cubicBezTo>
                  <a:cubicBezTo>
                    <a:pt x="137" y="142"/>
                    <a:pt x="137" y="142"/>
                    <a:pt x="137" y="143"/>
                  </a:cubicBezTo>
                  <a:cubicBezTo>
                    <a:pt x="137" y="143"/>
                    <a:pt x="137" y="143"/>
                    <a:pt x="137" y="144"/>
                  </a:cubicBezTo>
                  <a:cubicBezTo>
                    <a:pt x="138" y="144"/>
                    <a:pt x="138" y="143"/>
                    <a:pt x="138" y="143"/>
                  </a:cubicBezTo>
                  <a:cubicBezTo>
                    <a:pt x="139" y="142"/>
                    <a:pt x="139" y="141"/>
                    <a:pt x="139" y="141"/>
                  </a:cubicBezTo>
                  <a:cubicBezTo>
                    <a:pt x="138" y="140"/>
                    <a:pt x="139" y="139"/>
                    <a:pt x="138" y="138"/>
                  </a:cubicBezTo>
                  <a:cubicBezTo>
                    <a:pt x="138" y="138"/>
                    <a:pt x="138" y="136"/>
                    <a:pt x="138" y="135"/>
                  </a:cubicBezTo>
                  <a:cubicBezTo>
                    <a:pt x="138" y="135"/>
                    <a:pt x="138" y="134"/>
                    <a:pt x="139" y="134"/>
                  </a:cubicBezTo>
                  <a:cubicBezTo>
                    <a:pt x="140" y="133"/>
                    <a:pt x="140" y="134"/>
                    <a:pt x="141" y="134"/>
                  </a:cubicBezTo>
                  <a:cubicBezTo>
                    <a:pt x="141" y="134"/>
                    <a:pt x="142" y="134"/>
                    <a:pt x="143" y="134"/>
                  </a:cubicBezTo>
                  <a:cubicBezTo>
                    <a:pt x="143" y="135"/>
                    <a:pt x="143" y="135"/>
                    <a:pt x="144" y="135"/>
                  </a:cubicBezTo>
                  <a:cubicBezTo>
                    <a:pt x="145" y="135"/>
                    <a:pt x="144" y="134"/>
                    <a:pt x="144" y="134"/>
                  </a:cubicBezTo>
                  <a:cubicBezTo>
                    <a:pt x="144" y="133"/>
                    <a:pt x="143" y="133"/>
                    <a:pt x="143" y="132"/>
                  </a:cubicBezTo>
                  <a:cubicBezTo>
                    <a:pt x="142" y="132"/>
                    <a:pt x="141" y="132"/>
                    <a:pt x="142" y="132"/>
                  </a:cubicBezTo>
                  <a:cubicBezTo>
                    <a:pt x="142" y="131"/>
                    <a:pt x="142" y="130"/>
                    <a:pt x="143" y="130"/>
                  </a:cubicBezTo>
                  <a:cubicBezTo>
                    <a:pt x="144" y="130"/>
                    <a:pt x="146" y="130"/>
                    <a:pt x="147" y="130"/>
                  </a:cubicBezTo>
                  <a:cubicBezTo>
                    <a:pt x="147" y="130"/>
                    <a:pt x="147" y="132"/>
                    <a:pt x="147" y="133"/>
                  </a:cubicBezTo>
                  <a:cubicBezTo>
                    <a:pt x="147" y="133"/>
                    <a:pt x="146" y="133"/>
                    <a:pt x="146" y="134"/>
                  </a:cubicBezTo>
                  <a:cubicBezTo>
                    <a:pt x="146" y="134"/>
                    <a:pt x="146" y="134"/>
                    <a:pt x="145" y="135"/>
                  </a:cubicBezTo>
                  <a:cubicBezTo>
                    <a:pt x="145" y="135"/>
                    <a:pt x="145" y="135"/>
                    <a:pt x="145" y="135"/>
                  </a:cubicBezTo>
                  <a:cubicBezTo>
                    <a:pt x="144" y="136"/>
                    <a:pt x="145" y="136"/>
                    <a:pt x="145" y="137"/>
                  </a:cubicBezTo>
                  <a:cubicBezTo>
                    <a:pt x="145" y="138"/>
                    <a:pt x="145" y="138"/>
                    <a:pt x="145" y="139"/>
                  </a:cubicBezTo>
                  <a:cubicBezTo>
                    <a:pt x="145" y="140"/>
                    <a:pt x="145" y="140"/>
                    <a:pt x="145" y="141"/>
                  </a:cubicBezTo>
                  <a:cubicBezTo>
                    <a:pt x="145" y="141"/>
                    <a:pt x="145" y="141"/>
                    <a:pt x="145" y="142"/>
                  </a:cubicBezTo>
                  <a:cubicBezTo>
                    <a:pt x="145" y="143"/>
                    <a:pt x="146" y="143"/>
                    <a:pt x="146" y="144"/>
                  </a:cubicBezTo>
                  <a:cubicBezTo>
                    <a:pt x="146" y="144"/>
                    <a:pt x="145" y="145"/>
                    <a:pt x="146" y="146"/>
                  </a:cubicBezTo>
                  <a:cubicBezTo>
                    <a:pt x="146" y="147"/>
                    <a:pt x="146" y="147"/>
                    <a:pt x="147" y="148"/>
                  </a:cubicBezTo>
                  <a:close/>
                  <a:moveTo>
                    <a:pt x="380" y="281"/>
                  </a:moveTo>
                  <a:cubicBezTo>
                    <a:pt x="380" y="280"/>
                    <a:pt x="380" y="280"/>
                    <a:pt x="380" y="280"/>
                  </a:cubicBezTo>
                  <a:cubicBezTo>
                    <a:pt x="380" y="280"/>
                    <a:pt x="380" y="280"/>
                    <a:pt x="380" y="280"/>
                  </a:cubicBezTo>
                  <a:cubicBezTo>
                    <a:pt x="380" y="281"/>
                    <a:pt x="379" y="281"/>
                    <a:pt x="379" y="281"/>
                  </a:cubicBezTo>
                  <a:cubicBezTo>
                    <a:pt x="379" y="281"/>
                    <a:pt x="379" y="281"/>
                    <a:pt x="379" y="281"/>
                  </a:cubicBezTo>
                  <a:cubicBezTo>
                    <a:pt x="379" y="281"/>
                    <a:pt x="379" y="281"/>
                    <a:pt x="380" y="281"/>
                  </a:cubicBezTo>
                  <a:close/>
                  <a:moveTo>
                    <a:pt x="381" y="130"/>
                  </a:moveTo>
                  <a:cubicBezTo>
                    <a:pt x="381" y="131"/>
                    <a:pt x="381" y="131"/>
                    <a:pt x="381" y="131"/>
                  </a:cubicBezTo>
                  <a:cubicBezTo>
                    <a:pt x="380" y="130"/>
                    <a:pt x="380" y="130"/>
                    <a:pt x="380" y="130"/>
                  </a:cubicBezTo>
                  <a:cubicBezTo>
                    <a:pt x="380" y="130"/>
                    <a:pt x="381" y="130"/>
                    <a:pt x="381" y="130"/>
                  </a:cubicBezTo>
                  <a:close/>
                  <a:moveTo>
                    <a:pt x="378" y="134"/>
                  </a:moveTo>
                  <a:cubicBezTo>
                    <a:pt x="378" y="134"/>
                    <a:pt x="380" y="135"/>
                    <a:pt x="380" y="136"/>
                  </a:cubicBezTo>
                  <a:cubicBezTo>
                    <a:pt x="380" y="136"/>
                    <a:pt x="380" y="136"/>
                    <a:pt x="380" y="137"/>
                  </a:cubicBezTo>
                  <a:cubicBezTo>
                    <a:pt x="379" y="137"/>
                    <a:pt x="380" y="137"/>
                    <a:pt x="380" y="138"/>
                  </a:cubicBezTo>
                  <a:cubicBezTo>
                    <a:pt x="380" y="138"/>
                    <a:pt x="380" y="138"/>
                    <a:pt x="380" y="138"/>
                  </a:cubicBezTo>
                  <a:cubicBezTo>
                    <a:pt x="380" y="139"/>
                    <a:pt x="379" y="139"/>
                    <a:pt x="379" y="138"/>
                  </a:cubicBezTo>
                  <a:cubicBezTo>
                    <a:pt x="379" y="138"/>
                    <a:pt x="379" y="137"/>
                    <a:pt x="378" y="136"/>
                  </a:cubicBezTo>
                  <a:cubicBezTo>
                    <a:pt x="378" y="136"/>
                    <a:pt x="378" y="136"/>
                    <a:pt x="377" y="136"/>
                  </a:cubicBezTo>
                  <a:cubicBezTo>
                    <a:pt x="377" y="136"/>
                    <a:pt x="377" y="135"/>
                    <a:pt x="377" y="134"/>
                  </a:cubicBezTo>
                  <a:cubicBezTo>
                    <a:pt x="377" y="134"/>
                    <a:pt x="377" y="133"/>
                    <a:pt x="376" y="132"/>
                  </a:cubicBezTo>
                  <a:cubicBezTo>
                    <a:pt x="376" y="132"/>
                    <a:pt x="376" y="132"/>
                    <a:pt x="376" y="131"/>
                  </a:cubicBezTo>
                  <a:cubicBezTo>
                    <a:pt x="376" y="131"/>
                    <a:pt x="376" y="131"/>
                    <a:pt x="376" y="131"/>
                  </a:cubicBezTo>
                  <a:cubicBezTo>
                    <a:pt x="376" y="130"/>
                    <a:pt x="375" y="130"/>
                    <a:pt x="375" y="130"/>
                  </a:cubicBezTo>
                  <a:cubicBezTo>
                    <a:pt x="375" y="129"/>
                    <a:pt x="376" y="129"/>
                    <a:pt x="376" y="129"/>
                  </a:cubicBezTo>
                  <a:cubicBezTo>
                    <a:pt x="376" y="128"/>
                    <a:pt x="376" y="129"/>
                    <a:pt x="376" y="129"/>
                  </a:cubicBezTo>
                  <a:cubicBezTo>
                    <a:pt x="377" y="130"/>
                    <a:pt x="377" y="130"/>
                    <a:pt x="377" y="131"/>
                  </a:cubicBezTo>
                  <a:cubicBezTo>
                    <a:pt x="377" y="131"/>
                    <a:pt x="377" y="131"/>
                    <a:pt x="377" y="132"/>
                  </a:cubicBezTo>
                  <a:cubicBezTo>
                    <a:pt x="377" y="132"/>
                    <a:pt x="378" y="132"/>
                    <a:pt x="378" y="132"/>
                  </a:cubicBezTo>
                  <a:cubicBezTo>
                    <a:pt x="378" y="133"/>
                    <a:pt x="378" y="133"/>
                    <a:pt x="378" y="134"/>
                  </a:cubicBezTo>
                  <a:close/>
                  <a:moveTo>
                    <a:pt x="367" y="113"/>
                  </a:moveTo>
                  <a:cubicBezTo>
                    <a:pt x="367" y="113"/>
                    <a:pt x="368" y="113"/>
                    <a:pt x="368" y="114"/>
                  </a:cubicBezTo>
                  <a:cubicBezTo>
                    <a:pt x="369" y="114"/>
                    <a:pt x="369" y="114"/>
                    <a:pt x="369" y="114"/>
                  </a:cubicBezTo>
                  <a:cubicBezTo>
                    <a:pt x="369" y="114"/>
                    <a:pt x="368" y="114"/>
                    <a:pt x="368" y="114"/>
                  </a:cubicBezTo>
                  <a:cubicBezTo>
                    <a:pt x="367" y="114"/>
                    <a:pt x="367" y="113"/>
                    <a:pt x="367" y="113"/>
                  </a:cubicBezTo>
                  <a:close/>
                  <a:moveTo>
                    <a:pt x="368" y="224"/>
                  </a:moveTo>
                  <a:cubicBezTo>
                    <a:pt x="368" y="225"/>
                    <a:pt x="367" y="223"/>
                    <a:pt x="368" y="223"/>
                  </a:cubicBezTo>
                  <a:cubicBezTo>
                    <a:pt x="368" y="222"/>
                    <a:pt x="368" y="222"/>
                    <a:pt x="368" y="223"/>
                  </a:cubicBezTo>
                  <a:cubicBezTo>
                    <a:pt x="369" y="223"/>
                    <a:pt x="369" y="224"/>
                    <a:pt x="368" y="224"/>
                  </a:cubicBezTo>
                  <a:close/>
                  <a:moveTo>
                    <a:pt x="366" y="256"/>
                  </a:moveTo>
                  <a:cubicBezTo>
                    <a:pt x="365" y="255"/>
                    <a:pt x="367" y="254"/>
                    <a:pt x="368" y="253"/>
                  </a:cubicBezTo>
                  <a:cubicBezTo>
                    <a:pt x="368" y="253"/>
                    <a:pt x="369" y="252"/>
                    <a:pt x="368" y="251"/>
                  </a:cubicBezTo>
                  <a:cubicBezTo>
                    <a:pt x="368" y="251"/>
                    <a:pt x="368" y="251"/>
                    <a:pt x="368" y="251"/>
                  </a:cubicBezTo>
                  <a:cubicBezTo>
                    <a:pt x="368" y="250"/>
                    <a:pt x="368" y="250"/>
                    <a:pt x="368" y="250"/>
                  </a:cubicBezTo>
                  <a:cubicBezTo>
                    <a:pt x="367" y="249"/>
                    <a:pt x="367" y="249"/>
                    <a:pt x="367" y="249"/>
                  </a:cubicBezTo>
                  <a:cubicBezTo>
                    <a:pt x="367" y="248"/>
                    <a:pt x="367" y="248"/>
                    <a:pt x="367" y="247"/>
                  </a:cubicBezTo>
                  <a:cubicBezTo>
                    <a:pt x="367" y="246"/>
                    <a:pt x="367" y="245"/>
                    <a:pt x="367" y="245"/>
                  </a:cubicBezTo>
                  <a:cubicBezTo>
                    <a:pt x="367" y="245"/>
                    <a:pt x="368" y="247"/>
                    <a:pt x="368" y="246"/>
                  </a:cubicBezTo>
                  <a:cubicBezTo>
                    <a:pt x="369" y="245"/>
                    <a:pt x="368" y="245"/>
                    <a:pt x="368" y="244"/>
                  </a:cubicBezTo>
                  <a:cubicBezTo>
                    <a:pt x="369" y="243"/>
                    <a:pt x="369" y="243"/>
                    <a:pt x="368" y="243"/>
                  </a:cubicBezTo>
                  <a:cubicBezTo>
                    <a:pt x="368" y="242"/>
                    <a:pt x="368" y="242"/>
                    <a:pt x="368" y="241"/>
                  </a:cubicBezTo>
                  <a:cubicBezTo>
                    <a:pt x="368" y="241"/>
                    <a:pt x="368" y="240"/>
                    <a:pt x="367" y="240"/>
                  </a:cubicBezTo>
                  <a:cubicBezTo>
                    <a:pt x="367" y="240"/>
                    <a:pt x="367" y="241"/>
                    <a:pt x="367" y="240"/>
                  </a:cubicBezTo>
                  <a:cubicBezTo>
                    <a:pt x="366" y="240"/>
                    <a:pt x="366" y="240"/>
                    <a:pt x="366" y="239"/>
                  </a:cubicBezTo>
                  <a:cubicBezTo>
                    <a:pt x="367" y="239"/>
                    <a:pt x="367" y="239"/>
                    <a:pt x="367" y="238"/>
                  </a:cubicBezTo>
                  <a:cubicBezTo>
                    <a:pt x="367" y="238"/>
                    <a:pt x="367" y="237"/>
                    <a:pt x="367" y="237"/>
                  </a:cubicBezTo>
                  <a:cubicBezTo>
                    <a:pt x="367" y="236"/>
                    <a:pt x="366" y="237"/>
                    <a:pt x="366" y="235"/>
                  </a:cubicBezTo>
                  <a:cubicBezTo>
                    <a:pt x="366" y="235"/>
                    <a:pt x="366" y="234"/>
                    <a:pt x="366" y="234"/>
                  </a:cubicBezTo>
                  <a:cubicBezTo>
                    <a:pt x="366" y="234"/>
                    <a:pt x="365" y="234"/>
                    <a:pt x="365" y="234"/>
                  </a:cubicBezTo>
                  <a:cubicBezTo>
                    <a:pt x="365" y="233"/>
                    <a:pt x="365" y="232"/>
                    <a:pt x="365" y="232"/>
                  </a:cubicBezTo>
                  <a:cubicBezTo>
                    <a:pt x="365" y="231"/>
                    <a:pt x="365" y="231"/>
                    <a:pt x="365" y="231"/>
                  </a:cubicBezTo>
                  <a:cubicBezTo>
                    <a:pt x="365" y="231"/>
                    <a:pt x="365" y="230"/>
                    <a:pt x="365" y="229"/>
                  </a:cubicBezTo>
                  <a:cubicBezTo>
                    <a:pt x="365" y="229"/>
                    <a:pt x="366" y="228"/>
                    <a:pt x="366" y="227"/>
                  </a:cubicBezTo>
                  <a:cubicBezTo>
                    <a:pt x="366" y="227"/>
                    <a:pt x="366" y="225"/>
                    <a:pt x="366" y="225"/>
                  </a:cubicBezTo>
                  <a:cubicBezTo>
                    <a:pt x="367" y="227"/>
                    <a:pt x="368" y="224"/>
                    <a:pt x="368" y="225"/>
                  </a:cubicBezTo>
                  <a:cubicBezTo>
                    <a:pt x="369" y="226"/>
                    <a:pt x="367" y="228"/>
                    <a:pt x="368" y="229"/>
                  </a:cubicBezTo>
                  <a:cubicBezTo>
                    <a:pt x="368" y="229"/>
                    <a:pt x="368" y="229"/>
                    <a:pt x="369" y="229"/>
                  </a:cubicBezTo>
                  <a:cubicBezTo>
                    <a:pt x="369" y="229"/>
                    <a:pt x="369" y="229"/>
                    <a:pt x="369" y="229"/>
                  </a:cubicBezTo>
                  <a:cubicBezTo>
                    <a:pt x="370" y="229"/>
                    <a:pt x="370" y="230"/>
                    <a:pt x="370" y="230"/>
                  </a:cubicBezTo>
                  <a:cubicBezTo>
                    <a:pt x="370" y="231"/>
                    <a:pt x="370" y="231"/>
                    <a:pt x="369" y="232"/>
                  </a:cubicBezTo>
                  <a:cubicBezTo>
                    <a:pt x="369" y="232"/>
                    <a:pt x="369" y="233"/>
                    <a:pt x="369" y="234"/>
                  </a:cubicBezTo>
                  <a:cubicBezTo>
                    <a:pt x="369" y="235"/>
                    <a:pt x="369" y="235"/>
                    <a:pt x="369" y="235"/>
                  </a:cubicBezTo>
                  <a:cubicBezTo>
                    <a:pt x="369" y="236"/>
                    <a:pt x="369" y="236"/>
                    <a:pt x="370" y="236"/>
                  </a:cubicBezTo>
                  <a:cubicBezTo>
                    <a:pt x="370" y="236"/>
                    <a:pt x="370" y="236"/>
                    <a:pt x="370" y="237"/>
                  </a:cubicBezTo>
                  <a:cubicBezTo>
                    <a:pt x="370" y="238"/>
                    <a:pt x="370" y="238"/>
                    <a:pt x="370" y="239"/>
                  </a:cubicBezTo>
                  <a:cubicBezTo>
                    <a:pt x="371" y="239"/>
                    <a:pt x="370" y="240"/>
                    <a:pt x="371" y="240"/>
                  </a:cubicBezTo>
                  <a:cubicBezTo>
                    <a:pt x="371" y="241"/>
                    <a:pt x="371" y="241"/>
                    <a:pt x="371" y="241"/>
                  </a:cubicBezTo>
                  <a:cubicBezTo>
                    <a:pt x="371" y="242"/>
                    <a:pt x="371" y="243"/>
                    <a:pt x="372" y="243"/>
                  </a:cubicBezTo>
                  <a:cubicBezTo>
                    <a:pt x="372" y="244"/>
                    <a:pt x="372" y="245"/>
                    <a:pt x="372" y="246"/>
                  </a:cubicBezTo>
                  <a:cubicBezTo>
                    <a:pt x="373" y="246"/>
                    <a:pt x="373" y="247"/>
                    <a:pt x="373" y="247"/>
                  </a:cubicBezTo>
                  <a:cubicBezTo>
                    <a:pt x="374" y="248"/>
                    <a:pt x="374" y="249"/>
                    <a:pt x="373" y="251"/>
                  </a:cubicBezTo>
                  <a:cubicBezTo>
                    <a:pt x="373" y="251"/>
                    <a:pt x="373" y="252"/>
                    <a:pt x="373" y="253"/>
                  </a:cubicBezTo>
                  <a:cubicBezTo>
                    <a:pt x="373" y="254"/>
                    <a:pt x="373" y="254"/>
                    <a:pt x="372" y="254"/>
                  </a:cubicBezTo>
                  <a:cubicBezTo>
                    <a:pt x="372" y="255"/>
                    <a:pt x="372" y="254"/>
                    <a:pt x="371" y="254"/>
                  </a:cubicBezTo>
                  <a:cubicBezTo>
                    <a:pt x="371" y="254"/>
                    <a:pt x="371" y="254"/>
                    <a:pt x="371" y="254"/>
                  </a:cubicBezTo>
                  <a:cubicBezTo>
                    <a:pt x="371" y="254"/>
                    <a:pt x="371" y="254"/>
                    <a:pt x="371" y="254"/>
                  </a:cubicBezTo>
                  <a:cubicBezTo>
                    <a:pt x="370" y="255"/>
                    <a:pt x="370" y="255"/>
                    <a:pt x="369" y="255"/>
                  </a:cubicBezTo>
                  <a:cubicBezTo>
                    <a:pt x="369" y="255"/>
                    <a:pt x="369" y="255"/>
                    <a:pt x="368" y="256"/>
                  </a:cubicBezTo>
                  <a:cubicBezTo>
                    <a:pt x="368" y="256"/>
                    <a:pt x="367" y="257"/>
                    <a:pt x="366" y="256"/>
                  </a:cubicBezTo>
                  <a:close/>
                  <a:moveTo>
                    <a:pt x="369" y="116"/>
                  </a:moveTo>
                  <a:cubicBezTo>
                    <a:pt x="369" y="117"/>
                    <a:pt x="369" y="116"/>
                    <a:pt x="369" y="116"/>
                  </a:cubicBezTo>
                  <a:cubicBezTo>
                    <a:pt x="369" y="116"/>
                    <a:pt x="369" y="116"/>
                    <a:pt x="369" y="115"/>
                  </a:cubicBezTo>
                  <a:cubicBezTo>
                    <a:pt x="369" y="114"/>
                    <a:pt x="369" y="115"/>
                    <a:pt x="370" y="116"/>
                  </a:cubicBezTo>
                  <a:cubicBezTo>
                    <a:pt x="370" y="116"/>
                    <a:pt x="370" y="116"/>
                    <a:pt x="371" y="117"/>
                  </a:cubicBezTo>
                  <a:cubicBezTo>
                    <a:pt x="372" y="118"/>
                    <a:pt x="371" y="116"/>
                    <a:pt x="372" y="117"/>
                  </a:cubicBezTo>
                  <a:cubicBezTo>
                    <a:pt x="372" y="117"/>
                    <a:pt x="372" y="117"/>
                    <a:pt x="372" y="117"/>
                  </a:cubicBezTo>
                  <a:cubicBezTo>
                    <a:pt x="372" y="117"/>
                    <a:pt x="372" y="117"/>
                    <a:pt x="372" y="117"/>
                  </a:cubicBezTo>
                  <a:cubicBezTo>
                    <a:pt x="372" y="116"/>
                    <a:pt x="372" y="116"/>
                    <a:pt x="372" y="116"/>
                  </a:cubicBezTo>
                  <a:cubicBezTo>
                    <a:pt x="372" y="116"/>
                    <a:pt x="373" y="116"/>
                    <a:pt x="373" y="117"/>
                  </a:cubicBezTo>
                  <a:cubicBezTo>
                    <a:pt x="373" y="117"/>
                    <a:pt x="373" y="118"/>
                    <a:pt x="373" y="118"/>
                  </a:cubicBezTo>
                  <a:cubicBezTo>
                    <a:pt x="373" y="118"/>
                    <a:pt x="373" y="119"/>
                    <a:pt x="374" y="119"/>
                  </a:cubicBezTo>
                  <a:cubicBezTo>
                    <a:pt x="374" y="119"/>
                    <a:pt x="374" y="118"/>
                    <a:pt x="374" y="118"/>
                  </a:cubicBezTo>
                  <a:cubicBezTo>
                    <a:pt x="374" y="118"/>
                    <a:pt x="374" y="118"/>
                    <a:pt x="374" y="118"/>
                  </a:cubicBezTo>
                  <a:cubicBezTo>
                    <a:pt x="375" y="118"/>
                    <a:pt x="375" y="118"/>
                    <a:pt x="375" y="119"/>
                  </a:cubicBezTo>
                  <a:cubicBezTo>
                    <a:pt x="376" y="119"/>
                    <a:pt x="376" y="119"/>
                    <a:pt x="376" y="120"/>
                  </a:cubicBezTo>
                  <a:cubicBezTo>
                    <a:pt x="377" y="120"/>
                    <a:pt x="378" y="120"/>
                    <a:pt x="378" y="120"/>
                  </a:cubicBezTo>
                  <a:cubicBezTo>
                    <a:pt x="379" y="121"/>
                    <a:pt x="379" y="121"/>
                    <a:pt x="378" y="121"/>
                  </a:cubicBezTo>
                  <a:cubicBezTo>
                    <a:pt x="378" y="122"/>
                    <a:pt x="378" y="122"/>
                    <a:pt x="379" y="122"/>
                  </a:cubicBezTo>
                  <a:cubicBezTo>
                    <a:pt x="379" y="123"/>
                    <a:pt x="379" y="123"/>
                    <a:pt x="379" y="123"/>
                  </a:cubicBezTo>
                  <a:cubicBezTo>
                    <a:pt x="378" y="123"/>
                    <a:pt x="378" y="124"/>
                    <a:pt x="378" y="124"/>
                  </a:cubicBezTo>
                  <a:cubicBezTo>
                    <a:pt x="378" y="125"/>
                    <a:pt x="378" y="126"/>
                    <a:pt x="377" y="126"/>
                  </a:cubicBezTo>
                  <a:cubicBezTo>
                    <a:pt x="377" y="126"/>
                    <a:pt x="376" y="125"/>
                    <a:pt x="376" y="125"/>
                  </a:cubicBezTo>
                  <a:cubicBezTo>
                    <a:pt x="376" y="124"/>
                    <a:pt x="375" y="124"/>
                    <a:pt x="375" y="124"/>
                  </a:cubicBezTo>
                  <a:cubicBezTo>
                    <a:pt x="374" y="123"/>
                    <a:pt x="373" y="124"/>
                    <a:pt x="372" y="123"/>
                  </a:cubicBezTo>
                  <a:cubicBezTo>
                    <a:pt x="372" y="122"/>
                    <a:pt x="371" y="122"/>
                    <a:pt x="372" y="121"/>
                  </a:cubicBezTo>
                  <a:cubicBezTo>
                    <a:pt x="372" y="122"/>
                    <a:pt x="372" y="122"/>
                    <a:pt x="372" y="122"/>
                  </a:cubicBezTo>
                  <a:cubicBezTo>
                    <a:pt x="372" y="122"/>
                    <a:pt x="372" y="121"/>
                    <a:pt x="372" y="121"/>
                  </a:cubicBezTo>
                  <a:cubicBezTo>
                    <a:pt x="372" y="121"/>
                    <a:pt x="373" y="121"/>
                    <a:pt x="372" y="121"/>
                  </a:cubicBezTo>
                  <a:cubicBezTo>
                    <a:pt x="372" y="120"/>
                    <a:pt x="372" y="120"/>
                    <a:pt x="371" y="120"/>
                  </a:cubicBezTo>
                  <a:cubicBezTo>
                    <a:pt x="371" y="120"/>
                    <a:pt x="371" y="120"/>
                    <a:pt x="370" y="120"/>
                  </a:cubicBezTo>
                  <a:cubicBezTo>
                    <a:pt x="370" y="120"/>
                    <a:pt x="370" y="120"/>
                    <a:pt x="370" y="120"/>
                  </a:cubicBezTo>
                  <a:cubicBezTo>
                    <a:pt x="369" y="119"/>
                    <a:pt x="369" y="119"/>
                    <a:pt x="369" y="119"/>
                  </a:cubicBezTo>
                  <a:cubicBezTo>
                    <a:pt x="369" y="118"/>
                    <a:pt x="369" y="118"/>
                    <a:pt x="369" y="118"/>
                  </a:cubicBezTo>
                  <a:cubicBezTo>
                    <a:pt x="369" y="118"/>
                    <a:pt x="369" y="117"/>
                    <a:pt x="368" y="117"/>
                  </a:cubicBezTo>
                  <a:cubicBezTo>
                    <a:pt x="368" y="117"/>
                    <a:pt x="367" y="116"/>
                    <a:pt x="368" y="116"/>
                  </a:cubicBezTo>
                  <a:cubicBezTo>
                    <a:pt x="368" y="116"/>
                    <a:pt x="368" y="116"/>
                    <a:pt x="369" y="116"/>
                  </a:cubicBezTo>
                  <a:close/>
                  <a:moveTo>
                    <a:pt x="381" y="278"/>
                  </a:moveTo>
                  <a:cubicBezTo>
                    <a:pt x="380" y="278"/>
                    <a:pt x="380" y="278"/>
                    <a:pt x="380" y="277"/>
                  </a:cubicBezTo>
                  <a:cubicBezTo>
                    <a:pt x="380" y="277"/>
                    <a:pt x="380" y="277"/>
                    <a:pt x="380" y="277"/>
                  </a:cubicBezTo>
                  <a:cubicBezTo>
                    <a:pt x="380" y="276"/>
                    <a:pt x="381" y="276"/>
                    <a:pt x="381" y="275"/>
                  </a:cubicBezTo>
                  <a:cubicBezTo>
                    <a:pt x="381" y="275"/>
                    <a:pt x="381" y="277"/>
                    <a:pt x="381" y="277"/>
                  </a:cubicBezTo>
                  <a:cubicBezTo>
                    <a:pt x="381" y="278"/>
                    <a:pt x="381" y="279"/>
                    <a:pt x="381" y="278"/>
                  </a:cubicBezTo>
                  <a:close/>
                  <a:moveTo>
                    <a:pt x="371" y="219"/>
                  </a:moveTo>
                  <a:cubicBezTo>
                    <a:pt x="370" y="220"/>
                    <a:pt x="370" y="217"/>
                    <a:pt x="370" y="217"/>
                  </a:cubicBezTo>
                  <a:cubicBezTo>
                    <a:pt x="371" y="217"/>
                    <a:pt x="371" y="217"/>
                    <a:pt x="371" y="218"/>
                  </a:cubicBezTo>
                  <a:cubicBezTo>
                    <a:pt x="371" y="218"/>
                    <a:pt x="371" y="219"/>
                    <a:pt x="371" y="219"/>
                  </a:cubicBezTo>
                  <a:close/>
                  <a:moveTo>
                    <a:pt x="360" y="248"/>
                  </a:moveTo>
                  <a:cubicBezTo>
                    <a:pt x="361" y="248"/>
                    <a:pt x="361" y="247"/>
                    <a:pt x="361" y="246"/>
                  </a:cubicBezTo>
                  <a:cubicBezTo>
                    <a:pt x="361" y="246"/>
                    <a:pt x="361" y="245"/>
                    <a:pt x="361" y="245"/>
                  </a:cubicBezTo>
                  <a:cubicBezTo>
                    <a:pt x="361" y="245"/>
                    <a:pt x="360" y="244"/>
                    <a:pt x="360" y="243"/>
                  </a:cubicBezTo>
                  <a:cubicBezTo>
                    <a:pt x="360" y="243"/>
                    <a:pt x="360" y="241"/>
                    <a:pt x="361" y="241"/>
                  </a:cubicBezTo>
                  <a:cubicBezTo>
                    <a:pt x="361" y="241"/>
                    <a:pt x="362" y="240"/>
                    <a:pt x="362" y="241"/>
                  </a:cubicBezTo>
                  <a:cubicBezTo>
                    <a:pt x="362" y="241"/>
                    <a:pt x="363" y="242"/>
                    <a:pt x="363" y="242"/>
                  </a:cubicBezTo>
                  <a:cubicBezTo>
                    <a:pt x="363" y="243"/>
                    <a:pt x="363" y="241"/>
                    <a:pt x="363" y="241"/>
                  </a:cubicBezTo>
                  <a:cubicBezTo>
                    <a:pt x="363" y="241"/>
                    <a:pt x="363" y="241"/>
                    <a:pt x="363" y="240"/>
                  </a:cubicBezTo>
                  <a:cubicBezTo>
                    <a:pt x="363" y="240"/>
                    <a:pt x="363" y="239"/>
                    <a:pt x="362" y="239"/>
                  </a:cubicBezTo>
                  <a:cubicBezTo>
                    <a:pt x="362" y="239"/>
                    <a:pt x="363" y="238"/>
                    <a:pt x="363" y="238"/>
                  </a:cubicBezTo>
                  <a:cubicBezTo>
                    <a:pt x="363" y="238"/>
                    <a:pt x="363" y="238"/>
                    <a:pt x="364" y="238"/>
                  </a:cubicBezTo>
                  <a:cubicBezTo>
                    <a:pt x="364" y="238"/>
                    <a:pt x="364" y="238"/>
                    <a:pt x="364" y="238"/>
                  </a:cubicBezTo>
                  <a:cubicBezTo>
                    <a:pt x="365" y="238"/>
                    <a:pt x="365" y="240"/>
                    <a:pt x="365" y="241"/>
                  </a:cubicBezTo>
                  <a:cubicBezTo>
                    <a:pt x="366" y="242"/>
                    <a:pt x="365" y="243"/>
                    <a:pt x="365" y="244"/>
                  </a:cubicBezTo>
                  <a:cubicBezTo>
                    <a:pt x="365" y="245"/>
                    <a:pt x="365" y="245"/>
                    <a:pt x="365" y="247"/>
                  </a:cubicBezTo>
                  <a:cubicBezTo>
                    <a:pt x="365" y="247"/>
                    <a:pt x="365" y="248"/>
                    <a:pt x="364" y="248"/>
                  </a:cubicBezTo>
                  <a:cubicBezTo>
                    <a:pt x="364" y="250"/>
                    <a:pt x="364" y="253"/>
                    <a:pt x="363" y="252"/>
                  </a:cubicBezTo>
                  <a:cubicBezTo>
                    <a:pt x="362" y="251"/>
                    <a:pt x="362" y="250"/>
                    <a:pt x="362" y="251"/>
                  </a:cubicBezTo>
                  <a:cubicBezTo>
                    <a:pt x="362" y="251"/>
                    <a:pt x="361" y="252"/>
                    <a:pt x="361" y="251"/>
                  </a:cubicBezTo>
                  <a:cubicBezTo>
                    <a:pt x="360" y="251"/>
                    <a:pt x="360" y="249"/>
                    <a:pt x="360" y="248"/>
                  </a:cubicBezTo>
                  <a:close/>
                  <a:moveTo>
                    <a:pt x="438" y="169"/>
                  </a:moveTo>
                  <a:cubicBezTo>
                    <a:pt x="437" y="169"/>
                    <a:pt x="437" y="169"/>
                    <a:pt x="437" y="169"/>
                  </a:cubicBezTo>
                  <a:cubicBezTo>
                    <a:pt x="437" y="169"/>
                    <a:pt x="437" y="169"/>
                    <a:pt x="436" y="170"/>
                  </a:cubicBezTo>
                  <a:cubicBezTo>
                    <a:pt x="436" y="170"/>
                    <a:pt x="436" y="170"/>
                    <a:pt x="436" y="171"/>
                  </a:cubicBezTo>
                  <a:cubicBezTo>
                    <a:pt x="435" y="171"/>
                    <a:pt x="435" y="171"/>
                    <a:pt x="435" y="172"/>
                  </a:cubicBezTo>
                  <a:cubicBezTo>
                    <a:pt x="435" y="172"/>
                    <a:pt x="435" y="172"/>
                    <a:pt x="435" y="173"/>
                  </a:cubicBezTo>
                  <a:cubicBezTo>
                    <a:pt x="435" y="173"/>
                    <a:pt x="436" y="173"/>
                    <a:pt x="435" y="173"/>
                  </a:cubicBezTo>
                  <a:cubicBezTo>
                    <a:pt x="435" y="174"/>
                    <a:pt x="436" y="175"/>
                    <a:pt x="436" y="176"/>
                  </a:cubicBezTo>
                  <a:cubicBezTo>
                    <a:pt x="436" y="177"/>
                    <a:pt x="434" y="177"/>
                    <a:pt x="433" y="176"/>
                  </a:cubicBezTo>
                  <a:cubicBezTo>
                    <a:pt x="433" y="176"/>
                    <a:pt x="433" y="176"/>
                    <a:pt x="432" y="177"/>
                  </a:cubicBezTo>
                  <a:cubicBezTo>
                    <a:pt x="432" y="177"/>
                    <a:pt x="432" y="177"/>
                    <a:pt x="432" y="178"/>
                  </a:cubicBezTo>
                  <a:cubicBezTo>
                    <a:pt x="432" y="179"/>
                    <a:pt x="433" y="179"/>
                    <a:pt x="433" y="180"/>
                  </a:cubicBezTo>
                  <a:cubicBezTo>
                    <a:pt x="433" y="181"/>
                    <a:pt x="433" y="182"/>
                    <a:pt x="433" y="183"/>
                  </a:cubicBezTo>
                  <a:cubicBezTo>
                    <a:pt x="433" y="183"/>
                    <a:pt x="433" y="183"/>
                    <a:pt x="434" y="183"/>
                  </a:cubicBezTo>
                  <a:cubicBezTo>
                    <a:pt x="434" y="183"/>
                    <a:pt x="434" y="184"/>
                    <a:pt x="434" y="184"/>
                  </a:cubicBezTo>
                  <a:cubicBezTo>
                    <a:pt x="435" y="184"/>
                    <a:pt x="435" y="185"/>
                    <a:pt x="435" y="185"/>
                  </a:cubicBezTo>
                  <a:cubicBezTo>
                    <a:pt x="435" y="186"/>
                    <a:pt x="435" y="186"/>
                    <a:pt x="435" y="187"/>
                  </a:cubicBezTo>
                  <a:cubicBezTo>
                    <a:pt x="435" y="187"/>
                    <a:pt x="435" y="188"/>
                    <a:pt x="435" y="188"/>
                  </a:cubicBezTo>
                  <a:cubicBezTo>
                    <a:pt x="436" y="189"/>
                    <a:pt x="436" y="190"/>
                    <a:pt x="436" y="191"/>
                  </a:cubicBezTo>
                  <a:cubicBezTo>
                    <a:pt x="436" y="191"/>
                    <a:pt x="436" y="191"/>
                    <a:pt x="436" y="192"/>
                  </a:cubicBezTo>
                  <a:cubicBezTo>
                    <a:pt x="436" y="192"/>
                    <a:pt x="436" y="192"/>
                    <a:pt x="436" y="192"/>
                  </a:cubicBezTo>
                  <a:cubicBezTo>
                    <a:pt x="436" y="192"/>
                    <a:pt x="436" y="192"/>
                    <a:pt x="436" y="192"/>
                  </a:cubicBezTo>
                  <a:cubicBezTo>
                    <a:pt x="435" y="192"/>
                    <a:pt x="435" y="193"/>
                    <a:pt x="435" y="192"/>
                  </a:cubicBezTo>
                  <a:cubicBezTo>
                    <a:pt x="435" y="191"/>
                    <a:pt x="435" y="191"/>
                    <a:pt x="435" y="190"/>
                  </a:cubicBezTo>
                  <a:cubicBezTo>
                    <a:pt x="435" y="190"/>
                    <a:pt x="435" y="189"/>
                    <a:pt x="435" y="189"/>
                  </a:cubicBezTo>
                  <a:cubicBezTo>
                    <a:pt x="435" y="188"/>
                    <a:pt x="435" y="188"/>
                    <a:pt x="435" y="187"/>
                  </a:cubicBezTo>
                  <a:cubicBezTo>
                    <a:pt x="435" y="187"/>
                    <a:pt x="435" y="186"/>
                    <a:pt x="434" y="186"/>
                  </a:cubicBezTo>
                  <a:cubicBezTo>
                    <a:pt x="434" y="186"/>
                    <a:pt x="434" y="185"/>
                    <a:pt x="434" y="185"/>
                  </a:cubicBezTo>
                  <a:cubicBezTo>
                    <a:pt x="433" y="185"/>
                    <a:pt x="433" y="184"/>
                    <a:pt x="433" y="184"/>
                  </a:cubicBezTo>
                  <a:cubicBezTo>
                    <a:pt x="433" y="183"/>
                    <a:pt x="433" y="183"/>
                    <a:pt x="432" y="183"/>
                  </a:cubicBezTo>
                  <a:cubicBezTo>
                    <a:pt x="432" y="182"/>
                    <a:pt x="432" y="182"/>
                    <a:pt x="431" y="182"/>
                  </a:cubicBezTo>
                  <a:cubicBezTo>
                    <a:pt x="431" y="182"/>
                    <a:pt x="431" y="182"/>
                    <a:pt x="431" y="182"/>
                  </a:cubicBezTo>
                  <a:cubicBezTo>
                    <a:pt x="431" y="181"/>
                    <a:pt x="431" y="181"/>
                    <a:pt x="431" y="181"/>
                  </a:cubicBezTo>
                  <a:cubicBezTo>
                    <a:pt x="430" y="181"/>
                    <a:pt x="430" y="181"/>
                    <a:pt x="430" y="182"/>
                  </a:cubicBezTo>
                  <a:cubicBezTo>
                    <a:pt x="430" y="182"/>
                    <a:pt x="431" y="182"/>
                    <a:pt x="431" y="183"/>
                  </a:cubicBezTo>
                  <a:cubicBezTo>
                    <a:pt x="431" y="183"/>
                    <a:pt x="431" y="183"/>
                    <a:pt x="431" y="183"/>
                  </a:cubicBezTo>
                  <a:cubicBezTo>
                    <a:pt x="432" y="184"/>
                    <a:pt x="431" y="185"/>
                    <a:pt x="431" y="184"/>
                  </a:cubicBezTo>
                  <a:cubicBezTo>
                    <a:pt x="430" y="184"/>
                    <a:pt x="430" y="183"/>
                    <a:pt x="430" y="183"/>
                  </a:cubicBezTo>
                  <a:cubicBezTo>
                    <a:pt x="430" y="183"/>
                    <a:pt x="430" y="183"/>
                    <a:pt x="430" y="183"/>
                  </a:cubicBezTo>
                  <a:cubicBezTo>
                    <a:pt x="430" y="184"/>
                    <a:pt x="431" y="186"/>
                    <a:pt x="431" y="186"/>
                  </a:cubicBezTo>
                  <a:cubicBezTo>
                    <a:pt x="431" y="187"/>
                    <a:pt x="432" y="186"/>
                    <a:pt x="432" y="187"/>
                  </a:cubicBezTo>
                  <a:cubicBezTo>
                    <a:pt x="433" y="188"/>
                    <a:pt x="431" y="187"/>
                    <a:pt x="431" y="187"/>
                  </a:cubicBezTo>
                  <a:cubicBezTo>
                    <a:pt x="430" y="187"/>
                    <a:pt x="430" y="187"/>
                    <a:pt x="430" y="186"/>
                  </a:cubicBezTo>
                  <a:cubicBezTo>
                    <a:pt x="430" y="185"/>
                    <a:pt x="429" y="184"/>
                    <a:pt x="429" y="184"/>
                  </a:cubicBezTo>
                  <a:cubicBezTo>
                    <a:pt x="429" y="183"/>
                    <a:pt x="429" y="183"/>
                    <a:pt x="429" y="182"/>
                  </a:cubicBezTo>
                  <a:cubicBezTo>
                    <a:pt x="429" y="181"/>
                    <a:pt x="429" y="181"/>
                    <a:pt x="429" y="180"/>
                  </a:cubicBezTo>
                  <a:cubicBezTo>
                    <a:pt x="429" y="180"/>
                    <a:pt x="429" y="179"/>
                    <a:pt x="429" y="179"/>
                  </a:cubicBezTo>
                  <a:cubicBezTo>
                    <a:pt x="429" y="179"/>
                    <a:pt x="428" y="178"/>
                    <a:pt x="428" y="178"/>
                  </a:cubicBezTo>
                  <a:cubicBezTo>
                    <a:pt x="428" y="178"/>
                    <a:pt x="428" y="179"/>
                    <a:pt x="429" y="179"/>
                  </a:cubicBezTo>
                  <a:cubicBezTo>
                    <a:pt x="429" y="180"/>
                    <a:pt x="429" y="180"/>
                    <a:pt x="429" y="181"/>
                  </a:cubicBezTo>
                  <a:cubicBezTo>
                    <a:pt x="429" y="181"/>
                    <a:pt x="429" y="182"/>
                    <a:pt x="429" y="182"/>
                  </a:cubicBezTo>
                  <a:cubicBezTo>
                    <a:pt x="429" y="183"/>
                    <a:pt x="428" y="182"/>
                    <a:pt x="428" y="182"/>
                  </a:cubicBezTo>
                  <a:cubicBezTo>
                    <a:pt x="428" y="183"/>
                    <a:pt x="428" y="184"/>
                    <a:pt x="428" y="185"/>
                  </a:cubicBezTo>
                  <a:cubicBezTo>
                    <a:pt x="429" y="186"/>
                    <a:pt x="429" y="187"/>
                    <a:pt x="429" y="189"/>
                  </a:cubicBezTo>
                  <a:cubicBezTo>
                    <a:pt x="430" y="190"/>
                    <a:pt x="429" y="190"/>
                    <a:pt x="429" y="192"/>
                  </a:cubicBezTo>
                  <a:cubicBezTo>
                    <a:pt x="429" y="192"/>
                    <a:pt x="429" y="193"/>
                    <a:pt x="430" y="193"/>
                  </a:cubicBezTo>
                  <a:cubicBezTo>
                    <a:pt x="430" y="194"/>
                    <a:pt x="430" y="194"/>
                    <a:pt x="430" y="195"/>
                  </a:cubicBezTo>
                  <a:cubicBezTo>
                    <a:pt x="430" y="195"/>
                    <a:pt x="431" y="194"/>
                    <a:pt x="431" y="194"/>
                  </a:cubicBezTo>
                  <a:cubicBezTo>
                    <a:pt x="432" y="194"/>
                    <a:pt x="432" y="195"/>
                    <a:pt x="432" y="196"/>
                  </a:cubicBezTo>
                  <a:cubicBezTo>
                    <a:pt x="433" y="196"/>
                    <a:pt x="433" y="197"/>
                    <a:pt x="433" y="198"/>
                  </a:cubicBezTo>
                  <a:cubicBezTo>
                    <a:pt x="433" y="199"/>
                    <a:pt x="433" y="198"/>
                    <a:pt x="433" y="199"/>
                  </a:cubicBezTo>
                  <a:cubicBezTo>
                    <a:pt x="433" y="200"/>
                    <a:pt x="433" y="201"/>
                    <a:pt x="433" y="201"/>
                  </a:cubicBezTo>
                  <a:cubicBezTo>
                    <a:pt x="434" y="201"/>
                    <a:pt x="434" y="201"/>
                    <a:pt x="433" y="201"/>
                  </a:cubicBezTo>
                  <a:cubicBezTo>
                    <a:pt x="433" y="201"/>
                    <a:pt x="433" y="201"/>
                    <a:pt x="433" y="201"/>
                  </a:cubicBezTo>
                  <a:cubicBezTo>
                    <a:pt x="433" y="200"/>
                    <a:pt x="433" y="200"/>
                    <a:pt x="433" y="199"/>
                  </a:cubicBezTo>
                  <a:cubicBezTo>
                    <a:pt x="433" y="198"/>
                    <a:pt x="432" y="197"/>
                    <a:pt x="432" y="196"/>
                  </a:cubicBezTo>
                  <a:cubicBezTo>
                    <a:pt x="432" y="195"/>
                    <a:pt x="431" y="196"/>
                    <a:pt x="431" y="196"/>
                  </a:cubicBezTo>
                  <a:cubicBezTo>
                    <a:pt x="430" y="196"/>
                    <a:pt x="430" y="197"/>
                    <a:pt x="431" y="198"/>
                  </a:cubicBezTo>
                  <a:cubicBezTo>
                    <a:pt x="431" y="199"/>
                    <a:pt x="431" y="200"/>
                    <a:pt x="431" y="200"/>
                  </a:cubicBezTo>
                  <a:cubicBezTo>
                    <a:pt x="431" y="201"/>
                    <a:pt x="431" y="203"/>
                    <a:pt x="431" y="203"/>
                  </a:cubicBezTo>
                  <a:cubicBezTo>
                    <a:pt x="431" y="204"/>
                    <a:pt x="430" y="204"/>
                    <a:pt x="430" y="204"/>
                  </a:cubicBezTo>
                  <a:cubicBezTo>
                    <a:pt x="430" y="206"/>
                    <a:pt x="429" y="204"/>
                    <a:pt x="429" y="204"/>
                  </a:cubicBezTo>
                  <a:cubicBezTo>
                    <a:pt x="429" y="204"/>
                    <a:pt x="429" y="203"/>
                    <a:pt x="429" y="203"/>
                  </a:cubicBezTo>
                  <a:cubicBezTo>
                    <a:pt x="429" y="203"/>
                    <a:pt x="430" y="202"/>
                    <a:pt x="430" y="202"/>
                  </a:cubicBezTo>
                  <a:cubicBezTo>
                    <a:pt x="430" y="201"/>
                    <a:pt x="430" y="201"/>
                    <a:pt x="430" y="201"/>
                  </a:cubicBezTo>
                  <a:cubicBezTo>
                    <a:pt x="430" y="200"/>
                    <a:pt x="430" y="200"/>
                    <a:pt x="430" y="199"/>
                  </a:cubicBezTo>
                  <a:cubicBezTo>
                    <a:pt x="430" y="199"/>
                    <a:pt x="430" y="198"/>
                    <a:pt x="430" y="198"/>
                  </a:cubicBezTo>
                  <a:cubicBezTo>
                    <a:pt x="430" y="197"/>
                    <a:pt x="429" y="197"/>
                    <a:pt x="429" y="196"/>
                  </a:cubicBezTo>
                  <a:cubicBezTo>
                    <a:pt x="429" y="195"/>
                    <a:pt x="429" y="194"/>
                    <a:pt x="429" y="193"/>
                  </a:cubicBezTo>
                  <a:cubicBezTo>
                    <a:pt x="429" y="192"/>
                    <a:pt x="429" y="191"/>
                    <a:pt x="429" y="190"/>
                  </a:cubicBezTo>
                  <a:cubicBezTo>
                    <a:pt x="428" y="189"/>
                    <a:pt x="429" y="189"/>
                    <a:pt x="429" y="188"/>
                  </a:cubicBezTo>
                  <a:cubicBezTo>
                    <a:pt x="429" y="188"/>
                    <a:pt x="428" y="187"/>
                    <a:pt x="428" y="187"/>
                  </a:cubicBezTo>
                  <a:cubicBezTo>
                    <a:pt x="428" y="186"/>
                    <a:pt x="427" y="185"/>
                    <a:pt x="427" y="184"/>
                  </a:cubicBezTo>
                  <a:cubicBezTo>
                    <a:pt x="427" y="183"/>
                    <a:pt x="427" y="182"/>
                    <a:pt x="427" y="181"/>
                  </a:cubicBezTo>
                  <a:cubicBezTo>
                    <a:pt x="427" y="180"/>
                    <a:pt x="427" y="179"/>
                    <a:pt x="426" y="178"/>
                  </a:cubicBezTo>
                  <a:cubicBezTo>
                    <a:pt x="426" y="178"/>
                    <a:pt x="426" y="178"/>
                    <a:pt x="426" y="178"/>
                  </a:cubicBezTo>
                  <a:cubicBezTo>
                    <a:pt x="426" y="178"/>
                    <a:pt x="426" y="178"/>
                    <a:pt x="425" y="178"/>
                  </a:cubicBezTo>
                  <a:cubicBezTo>
                    <a:pt x="425" y="177"/>
                    <a:pt x="425" y="177"/>
                    <a:pt x="425" y="178"/>
                  </a:cubicBezTo>
                  <a:cubicBezTo>
                    <a:pt x="425" y="178"/>
                    <a:pt x="425" y="178"/>
                    <a:pt x="425" y="179"/>
                  </a:cubicBezTo>
                  <a:cubicBezTo>
                    <a:pt x="425" y="179"/>
                    <a:pt x="425" y="179"/>
                    <a:pt x="425" y="180"/>
                  </a:cubicBezTo>
                  <a:cubicBezTo>
                    <a:pt x="424" y="180"/>
                    <a:pt x="425" y="181"/>
                    <a:pt x="425" y="181"/>
                  </a:cubicBezTo>
                  <a:cubicBezTo>
                    <a:pt x="425" y="182"/>
                    <a:pt x="425" y="182"/>
                    <a:pt x="425" y="183"/>
                  </a:cubicBezTo>
                  <a:cubicBezTo>
                    <a:pt x="425" y="183"/>
                    <a:pt x="425" y="183"/>
                    <a:pt x="424" y="184"/>
                  </a:cubicBezTo>
                  <a:cubicBezTo>
                    <a:pt x="424" y="184"/>
                    <a:pt x="424" y="184"/>
                    <a:pt x="424" y="184"/>
                  </a:cubicBezTo>
                  <a:cubicBezTo>
                    <a:pt x="424" y="184"/>
                    <a:pt x="424" y="184"/>
                    <a:pt x="424" y="185"/>
                  </a:cubicBezTo>
                  <a:cubicBezTo>
                    <a:pt x="424" y="185"/>
                    <a:pt x="424" y="186"/>
                    <a:pt x="424" y="186"/>
                  </a:cubicBezTo>
                  <a:cubicBezTo>
                    <a:pt x="424" y="186"/>
                    <a:pt x="425" y="187"/>
                    <a:pt x="425" y="187"/>
                  </a:cubicBezTo>
                  <a:cubicBezTo>
                    <a:pt x="425" y="188"/>
                    <a:pt x="425" y="188"/>
                    <a:pt x="425" y="189"/>
                  </a:cubicBezTo>
                  <a:cubicBezTo>
                    <a:pt x="425" y="189"/>
                    <a:pt x="425" y="190"/>
                    <a:pt x="425" y="190"/>
                  </a:cubicBezTo>
                  <a:cubicBezTo>
                    <a:pt x="425" y="190"/>
                    <a:pt x="425" y="191"/>
                    <a:pt x="425" y="191"/>
                  </a:cubicBezTo>
                  <a:cubicBezTo>
                    <a:pt x="425" y="192"/>
                    <a:pt x="426" y="191"/>
                    <a:pt x="426" y="193"/>
                  </a:cubicBezTo>
                  <a:cubicBezTo>
                    <a:pt x="426" y="193"/>
                    <a:pt x="426" y="194"/>
                    <a:pt x="426" y="194"/>
                  </a:cubicBezTo>
                  <a:cubicBezTo>
                    <a:pt x="427" y="195"/>
                    <a:pt x="427" y="195"/>
                    <a:pt x="427" y="196"/>
                  </a:cubicBezTo>
                  <a:cubicBezTo>
                    <a:pt x="427" y="197"/>
                    <a:pt x="426" y="196"/>
                    <a:pt x="426" y="196"/>
                  </a:cubicBezTo>
                  <a:cubicBezTo>
                    <a:pt x="426" y="195"/>
                    <a:pt x="425" y="194"/>
                    <a:pt x="424" y="193"/>
                  </a:cubicBezTo>
                  <a:cubicBezTo>
                    <a:pt x="424" y="192"/>
                    <a:pt x="423" y="191"/>
                    <a:pt x="423" y="190"/>
                  </a:cubicBezTo>
                  <a:cubicBezTo>
                    <a:pt x="422" y="190"/>
                    <a:pt x="421" y="190"/>
                    <a:pt x="421" y="190"/>
                  </a:cubicBezTo>
                  <a:cubicBezTo>
                    <a:pt x="421" y="190"/>
                    <a:pt x="421" y="190"/>
                    <a:pt x="421" y="189"/>
                  </a:cubicBezTo>
                  <a:cubicBezTo>
                    <a:pt x="420" y="189"/>
                    <a:pt x="420" y="188"/>
                    <a:pt x="420" y="188"/>
                  </a:cubicBezTo>
                  <a:cubicBezTo>
                    <a:pt x="420" y="188"/>
                    <a:pt x="419" y="186"/>
                    <a:pt x="419" y="187"/>
                  </a:cubicBezTo>
                  <a:cubicBezTo>
                    <a:pt x="419" y="187"/>
                    <a:pt x="419" y="188"/>
                    <a:pt x="419" y="189"/>
                  </a:cubicBezTo>
                  <a:cubicBezTo>
                    <a:pt x="420" y="189"/>
                    <a:pt x="420" y="190"/>
                    <a:pt x="420" y="190"/>
                  </a:cubicBezTo>
                  <a:cubicBezTo>
                    <a:pt x="420" y="190"/>
                    <a:pt x="421" y="190"/>
                    <a:pt x="421" y="190"/>
                  </a:cubicBezTo>
                  <a:cubicBezTo>
                    <a:pt x="421" y="191"/>
                    <a:pt x="421" y="192"/>
                    <a:pt x="421" y="193"/>
                  </a:cubicBezTo>
                  <a:cubicBezTo>
                    <a:pt x="422" y="194"/>
                    <a:pt x="421" y="193"/>
                    <a:pt x="421" y="194"/>
                  </a:cubicBezTo>
                  <a:cubicBezTo>
                    <a:pt x="421" y="195"/>
                    <a:pt x="421" y="196"/>
                    <a:pt x="420" y="195"/>
                  </a:cubicBezTo>
                  <a:cubicBezTo>
                    <a:pt x="420" y="194"/>
                    <a:pt x="420" y="193"/>
                    <a:pt x="420" y="192"/>
                  </a:cubicBezTo>
                  <a:cubicBezTo>
                    <a:pt x="420" y="191"/>
                    <a:pt x="419" y="193"/>
                    <a:pt x="419" y="193"/>
                  </a:cubicBezTo>
                  <a:cubicBezTo>
                    <a:pt x="419" y="194"/>
                    <a:pt x="419" y="194"/>
                    <a:pt x="419" y="194"/>
                  </a:cubicBezTo>
                  <a:cubicBezTo>
                    <a:pt x="419" y="193"/>
                    <a:pt x="418" y="193"/>
                    <a:pt x="418" y="193"/>
                  </a:cubicBezTo>
                  <a:cubicBezTo>
                    <a:pt x="418" y="193"/>
                    <a:pt x="418" y="194"/>
                    <a:pt x="418" y="194"/>
                  </a:cubicBezTo>
                  <a:cubicBezTo>
                    <a:pt x="418" y="194"/>
                    <a:pt x="418" y="194"/>
                    <a:pt x="418" y="195"/>
                  </a:cubicBezTo>
                  <a:cubicBezTo>
                    <a:pt x="417" y="195"/>
                    <a:pt x="417" y="195"/>
                    <a:pt x="417" y="194"/>
                  </a:cubicBezTo>
                  <a:cubicBezTo>
                    <a:pt x="417" y="194"/>
                    <a:pt x="417" y="193"/>
                    <a:pt x="417" y="193"/>
                  </a:cubicBezTo>
                  <a:cubicBezTo>
                    <a:pt x="417" y="193"/>
                    <a:pt x="417" y="192"/>
                    <a:pt x="416" y="192"/>
                  </a:cubicBezTo>
                  <a:cubicBezTo>
                    <a:pt x="416" y="192"/>
                    <a:pt x="416" y="193"/>
                    <a:pt x="415" y="193"/>
                  </a:cubicBezTo>
                  <a:cubicBezTo>
                    <a:pt x="415" y="194"/>
                    <a:pt x="414" y="194"/>
                    <a:pt x="414" y="195"/>
                  </a:cubicBezTo>
                  <a:cubicBezTo>
                    <a:pt x="414" y="195"/>
                    <a:pt x="413" y="196"/>
                    <a:pt x="413" y="196"/>
                  </a:cubicBezTo>
                  <a:cubicBezTo>
                    <a:pt x="413" y="197"/>
                    <a:pt x="413" y="198"/>
                    <a:pt x="413" y="199"/>
                  </a:cubicBezTo>
                  <a:cubicBezTo>
                    <a:pt x="413" y="199"/>
                    <a:pt x="412" y="200"/>
                    <a:pt x="412" y="199"/>
                  </a:cubicBezTo>
                  <a:cubicBezTo>
                    <a:pt x="412" y="198"/>
                    <a:pt x="411" y="197"/>
                    <a:pt x="411" y="196"/>
                  </a:cubicBezTo>
                  <a:cubicBezTo>
                    <a:pt x="411" y="195"/>
                    <a:pt x="412" y="196"/>
                    <a:pt x="412" y="194"/>
                  </a:cubicBezTo>
                  <a:cubicBezTo>
                    <a:pt x="412" y="194"/>
                    <a:pt x="411" y="193"/>
                    <a:pt x="411" y="193"/>
                  </a:cubicBezTo>
                  <a:cubicBezTo>
                    <a:pt x="411" y="192"/>
                    <a:pt x="411" y="192"/>
                    <a:pt x="410" y="192"/>
                  </a:cubicBezTo>
                  <a:cubicBezTo>
                    <a:pt x="410" y="192"/>
                    <a:pt x="410" y="192"/>
                    <a:pt x="409" y="191"/>
                  </a:cubicBezTo>
                  <a:cubicBezTo>
                    <a:pt x="409" y="191"/>
                    <a:pt x="409" y="191"/>
                    <a:pt x="409" y="191"/>
                  </a:cubicBezTo>
                  <a:cubicBezTo>
                    <a:pt x="409" y="192"/>
                    <a:pt x="409" y="192"/>
                    <a:pt x="409" y="192"/>
                  </a:cubicBezTo>
                  <a:cubicBezTo>
                    <a:pt x="410" y="192"/>
                    <a:pt x="410" y="193"/>
                    <a:pt x="410" y="193"/>
                  </a:cubicBezTo>
                  <a:cubicBezTo>
                    <a:pt x="410" y="194"/>
                    <a:pt x="410" y="194"/>
                    <a:pt x="410" y="195"/>
                  </a:cubicBezTo>
                  <a:cubicBezTo>
                    <a:pt x="410" y="196"/>
                    <a:pt x="410" y="197"/>
                    <a:pt x="410" y="197"/>
                  </a:cubicBezTo>
                  <a:cubicBezTo>
                    <a:pt x="410" y="198"/>
                    <a:pt x="411" y="199"/>
                    <a:pt x="411" y="200"/>
                  </a:cubicBezTo>
                  <a:cubicBezTo>
                    <a:pt x="411" y="200"/>
                    <a:pt x="411" y="200"/>
                    <a:pt x="411" y="201"/>
                  </a:cubicBezTo>
                  <a:cubicBezTo>
                    <a:pt x="411" y="201"/>
                    <a:pt x="411" y="201"/>
                    <a:pt x="411" y="201"/>
                  </a:cubicBezTo>
                  <a:cubicBezTo>
                    <a:pt x="410" y="201"/>
                    <a:pt x="410" y="201"/>
                    <a:pt x="410" y="200"/>
                  </a:cubicBezTo>
                  <a:cubicBezTo>
                    <a:pt x="410" y="200"/>
                    <a:pt x="409" y="200"/>
                    <a:pt x="409" y="199"/>
                  </a:cubicBezTo>
                  <a:cubicBezTo>
                    <a:pt x="409" y="199"/>
                    <a:pt x="409" y="199"/>
                    <a:pt x="409" y="200"/>
                  </a:cubicBezTo>
                  <a:cubicBezTo>
                    <a:pt x="409" y="200"/>
                    <a:pt x="409" y="200"/>
                    <a:pt x="409" y="201"/>
                  </a:cubicBezTo>
                  <a:cubicBezTo>
                    <a:pt x="409" y="201"/>
                    <a:pt x="409" y="202"/>
                    <a:pt x="409" y="202"/>
                  </a:cubicBezTo>
                  <a:cubicBezTo>
                    <a:pt x="408" y="202"/>
                    <a:pt x="408" y="202"/>
                    <a:pt x="408" y="203"/>
                  </a:cubicBezTo>
                  <a:cubicBezTo>
                    <a:pt x="408" y="203"/>
                    <a:pt x="408" y="204"/>
                    <a:pt x="409" y="205"/>
                  </a:cubicBezTo>
                  <a:cubicBezTo>
                    <a:pt x="409" y="206"/>
                    <a:pt x="409" y="206"/>
                    <a:pt x="409" y="207"/>
                  </a:cubicBezTo>
                  <a:cubicBezTo>
                    <a:pt x="409" y="208"/>
                    <a:pt x="408" y="207"/>
                    <a:pt x="408" y="207"/>
                  </a:cubicBezTo>
                  <a:cubicBezTo>
                    <a:pt x="407" y="206"/>
                    <a:pt x="407" y="206"/>
                    <a:pt x="407" y="205"/>
                  </a:cubicBezTo>
                  <a:cubicBezTo>
                    <a:pt x="406" y="204"/>
                    <a:pt x="405" y="204"/>
                    <a:pt x="405" y="205"/>
                  </a:cubicBezTo>
                  <a:cubicBezTo>
                    <a:pt x="405" y="205"/>
                    <a:pt x="406" y="206"/>
                    <a:pt x="406" y="206"/>
                  </a:cubicBezTo>
                  <a:cubicBezTo>
                    <a:pt x="406" y="207"/>
                    <a:pt x="406" y="207"/>
                    <a:pt x="406" y="207"/>
                  </a:cubicBezTo>
                  <a:cubicBezTo>
                    <a:pt x="407" y="207"/>
                    <a:pt x="407" y="207"/>
                    <a:pt x="407" y="208"/>
                  </a:cubicBezTo>
                  <a:cubicBezTo>
                    <a:pt x="407" y="208"/>
                    <a:pt x="407" y="209"/>
                    <a:pt x="407" y="209"/>
                  </a:cubicBezTo>
                  <a:cubicBezTo>
                    <a:pt x="407" y="210"/>
                    <a:pt x="406" y="209"/>
                    <a:pt x="406" y="208"/>
                  </a:cubicBezTo>
                  <a:cubicBezTo>
                    <a:pt x="406" y="208"/>
                    <a:pt x="405" y="208"/>
                    <a:pt x="405" y="207"/>
                  </a:cubicBezTo>
                  <a:cubicBezTo>
                    <a:pt x="405" y="207"/>
                    <a:pt x="405" y="207"/>
                    <a:pt x="405" y="207"/>
                  </a:cubicBezTo>
                  <a:cubicBezTo>
                    <a:pt x="405" y="205"/>
                    <a:pt x="404" y="204"/>
                    <a:pt x="404" y="203"/>
                  </a:cubicBezTo>
                  <a:cubicBezTo>
                    <a:pt x="404" y="202"/>
                    <a:pt x="404" y="201"/>
                    <a:pt x="404" y="201"/>
                  </a:cubicBezTo>
                  <a:cubicBezTo>
                    <a:pt x="403" y="200"/>
                    <a:pt x="403" y="200"/>
                    <a:pt x="403" y="199"/>
                  </a:cubicBezTo>
                  <a:cubicBezTo>
                    <a:pt x="403" y="199"/>
                    <a:pt x="402" y="199"/>
                    <a:pt x="402" y="198"/>
                  </a:cubicBezTo>
                  <a:cubicBezTo>
                    <a:pt x="402" y="198"/>
                    <a:pt x="402" y="197"/>
                    <a:pt x="402" y="197"/>
                  </a:cubicBezTo>
                  <a:cubicBezTo>
                    <a:pt x="402" y="197"/>
                    <a:pt x="402" y="197"/>
                    <a:pt x="401" y="196"/>
                  </a:cubicBezTo>
                  <a:cubicBezTo>
                    <a:pt x="401" y="196"/>
                    <a:pt x="401" y="195"/>
                    <a:pt x="402" y="196"/>
                  </a:cubicBezTo>
                  <a:cubicBezTo>
                    <a:pt x="402" y="196"/>
                    <a:pt x="403" y="197"/>
                    <a:pt x="403" y="198"/>
                  </a:cubicBezTo>
                  <a:cubicBezTo>
                    <a:pt x="404" y="198"/>
                    <a:pt x="404" y="199"/>
                    <a:pt x="404" y="199"/>
                  </a:cubicBezTo>
                  <a:cubicBezTo>
                    <a:pt x="405" y="199"/>
                    <a:pt x="405" y="200"/>
                    <a:pt x="405" y="200"/>
                  </a:cubicBezTo>
                  <a:cubicBezTo>
                    <a:pt x="406" y="200"/>
                    <a:pt x="406" y="200"/>
                    <a:pt x="406" y="200"/>
                  </a:cubicBezTo>
                  <a:cubicBezTo>
                    <a:pt x="407" y="201"/>
                    <a:pt x="407" y="200"/>
                    <a:pt x="407" y="200"/>
                  </a:cubicBezTo>
                  <a:cubicBezTo>
                    <a:pt x="407" y="200"/>
                    <a:pt x="408" y="200"/>
                    <a:pt x="408" y="200"/>
                  </a:cubicBezTo>
                  <a:cubicBezTo>
                    <a:pt x="408" y="200"/>
                    <a:pt x="408" y="199"/>
                    <a:pt x="408" y="199"/>
                  </a:cubicBezTo>
                  <a:cubicBezTo>
                    <a:pt x="409" y="197"/>
                    <a:pt x="407" y="194"/>
                    <a:pt x="406" y="193"/>
                  </a:cubicBezTo>
                  <a:cubicBezTo>
                    <a:pt x="406" y="192"/>
                    <a:pt x="406" y="192"/>
                    <a:pt x="405" y="191"/>
                  </a:cubicBezTo>
                  <a:cubicBezTo>
                    <a:pt x="405" y="191"/>
                    <a:pt x="405" y="190"/>
                    <a:pt x="405" y="190"/>
                  </a:cubicBezTo>
                  <a:cubicBezTo>
                    <a:pt x="404" y="189"/>
                    <a:pt x="404" y="188"/>
                    <a:pt x="403" y="187"/>
                  </a:cubicBezTo>
                  <a:cubicBezTo>
                    <a:pt x="403" y="187"/>
                    <a:pt x="403" y="187"/>
                    <a:pt x="403" y="187"/>
                  </a:cubicBezTo>
                  <a:cubicBezTo>
                    <a:pt x="403" y="186"/>
                    <a:pt x="402" y="187"/>
                    <a:pt x="402" y="187"/>
                  </a:cubicBezTo>
                  <a:cubicBezTo>
                    <a:pt x="402" y="186"/>
                    <a:pt x="402" y="186"/>
                    <a:pt x="401" y="186"/>
                  </a:cubicBezTo>
                  <a:cubicBezTo>
                    <a:pt x="401" y="186"/>
                    <a:pt x="401" y="186"/>
                    <a:pt x="401" y="186"/>
                  </a:cubicBezTo>
                  <a:cubicBezTo>
                    <a:pt x="401" y="185"/>
                    <a:pt x="401" y="185"/>
                    <a:pt x="400" y="185"/>
                  </a:cubicBezTo>
                  <a:cubicBezTo>
                    <a:pt x="400" y="185"/>
                    <a:pt x="400" y="186"/>
                    <a:pt x="400" y="186"/>
                  </a:cubicBezTo>
                  <a:cubicBezTo>
                    <a:pt x="400" y="186"/>
                    <a:pt x="400" y="185"/>
                    <a:pt x="399" y="185"/>
                  </a:cubicBezTo>
                  <a:cubicBezTo>
                    <a:pt x="399" y="184"/>
                    <a:pt x="399" y="184"/>
                    <a:pt x="399" y="184"/>
                  </a:cubicBezTo>
                  <a:cubicBezTo>
                    <a:pt x="399" y="184"/>
                    <a:pt x="398" y="184"/>
                    <a:pt x="398" y="183"/>
                  </a:cubicBezTo>
                  <a:cubicBezTo>
                    <a:pt x="398" y="183"/>
                    <a:pt x="397" y="181"/>
                    <a:pt x="397" y="181"/>
                  </a:cubicBezTo>
                  <a:cubicBezTo>
                    <a:pt x="398" y="181"/>
                    <a:pt x="398" y="181"/>
                    <a:pt x="398" y="181"/>
                  </a:cubicBezTo>
                  <a:cubicBezTo>
                    <a:pt x="398" y="181"/>
                    <a:pt x="398" y="180"/>
                    <a:pt x="398" y="180"/>
                  </a:cubicBezTo>
                  <a:cubicBezTo>
                    <a:pt x="398" y="180"/>
                    <a:pt x="397" y="179"/>
                    <a:pt x="397" y="179"/>
                  </a:cubicBezTo>
                  <a:cubicBezTo>
                    <a:pt x="397" y="179"/>
                    <a:pt x="397" y="179"/>
                    <a:pt x="396" y="178"/>
                  </a:cubicBezTo>
                  <a:cubicBezTo>
                    <a:pt x="396" y="178"/>
                    <a:pt x="396" y="178"/>
                    <a:pt x="396" y="178"/>
                  </a:cubicBezTo>
                  <a:cubicBezTo>
                    <a:pt x="396" y="177"/>
                    <a:pt x="396" y="177"/>
                    <a:pt x="395" y="177"/>
                  </a:cubicBezTo>
                  <a:cubicBezTo>
                    <a:pt x="395" y="177"/>
                    <a:pt x="395" y="177"/>
                    <a:pt x="395" y="176"/>
                  </a:cubicBezTo>
                  <a:cubicBezTo>
                    <a:pt x="395" y="176"/>
                    <a:pt x="395" y="176"/>
                    <a:pt x="394" y="176"/>
                  </a:cubicBezTo>
                  <a:cubicBezTo>
                    <a:pt x="394" y="176"/>
                    <a:pt x="395" y="176"/>
                    <a:pt x="394" y="176"/>
                  </a:cubicBezTo>
                  <a:cubicBezTo>
                    <a:pt x="394" y="176"/>
                    <a:pt x="394" y="176"/>
                    <a:pt x="394" y="176"/>
                  </a:cubicBezTo>
                  <a:cubicBezTo>
                    <a:pt x="394" y="176"/>
                    <a:pt x="394" y="176"/>
                    <a:pt x="394" y="176"/>
                  </a:cubicBezTo>
                  <a:cubicBezTo>
                    <a:pt x="394" y="176"/>
                    <a:pt x="393" y="176"/>
                    <a:pt x="393" y="176"/>
                  </a:cubicBezTo>
                  <a:cubicBezTo>
                    <a:pt x="393" y="176"/>
                    <a:pt x="393" y="176"/>
                    <a:pt x="393" y="176"/>
                  </a:cubicBezTo>
                  <a:cubicBezTo>
                    <a:pt x="392" y="176"/>
                    <a:pt x="392" y="176"/>
                    <a:pt x="392" y="176"/>
                  </a:cubicBezTo>
                  <a:cubicBezTo>
                    <a:pt x="392" y="177"/>
                    <a:pt x="392" y="176"/>
                    <a:pt x="392" y="176"/>
                  </a:cubicBezTo>
                  <a:cubicBezTo>
                    <a:pt x="392" y="175"/>
                    <a:pt x="392" y="176"/>
                    <a:pt x="392" y="176"/>
                  </a:cubicBezTo>
                  <a:cubicBezTo>
                    <a:pt x="392" y="176"/>
                    <a:pt x="392" y="176"/>
                    <a:pt x="392" y="177"/>
                  </a:cubicBezTo>
                  <a:cubicBezTo>
                    <a:pt x="392" y="178"/>
                    <a:pt x="391" y="178"/>
                    <a:pt x="391" y="177"/>
                  </a:cubicBezTo>
                  <a:cubicBezTo>
                    <a:pt x="391" y="177"/>
                    <a:pt x="391" y="177"/>
                    <a:pt x="391" y="177"/>
                  </a:cubicBezTo>
                  <a:cubicBezTo>
                    <a:pt x="391" y="178"/>
                    <a:pt x="391" y="178"/>
                    <a:pt x="391" y="178"/>
                  </a:cubicBezTo>
                  <a:cubicBezTo>
                    <a:pt x="390" y="178"/>
                    <a:pt x="391" y="179"/>
                    <a:pt x="390" y="179"/>
                  </a:cubicBezTo>
                  <a:cubicBezTo>
                    <a:pt x="390" y="179"/>
                    <a:pt x="390" y="179"/>
                    <a:pt x="390" y="178"/>
                  </a:cubicBezTo>
                  <a:cubicBezTo>
                    <a:pt x="389" y="178"/>
                    <a:pt x="389" y="178"/>
                    <a:pt x="389" y="179"/>
                  </a:cubicBezTo>
                  <a:cubicBezTo>
                    <a:pt x="389" y="179"/>
                    <a:pt x="389" y="178"/>
                    <a:pt x="389" y="178"/>
                  </a:cubicBezTo>
                  <a:cubicBezTo>
                    <a:pt x="388" y="178"/>
                    <a:pt x="389" y="180"/>
                    <a:pt x="388" y="179"/>
                  </a:cubicBezTo>
                  <a:cubicBezTo>
                    <a:pt x="388" y="179"/>
                    <a:pt x="388" y="178"/>
                    <a:pt x="388" y="179"/>
                  </a:cubicBezTo>
                  <a:cubicBezTo>
                    <a:pt x="388" y="179"/>
                    <a:pt x="388" y="180"/>
                    <a:pt x="387" y="179"/>
                  </a:cubicBezTo>
                  <a:cubicBezTo>
                    <a:pt x="387" y="179"/>
                    <a:pt x="387" y="178"/>
                    <a:pt x="387" y="178"/>
                  </a:cubicBezTo>
                  <a:cubicBezTo>
                    <a:pt x="387" y="179"/>
                    <a:pt x="387" y="179"/>
                    <a:pt x="387" y="180"/>
                  </a:cubicBezTo>
                  <a:cubicBezTo>
                    <a:pt x="387" y="180"/>
                    <a:pt x="387" y="181"/>
                    <a:pt x="387" y="181"/>
                  </a:cubicBezTo>
                  <a:cubicBezTo>
                    <a:pt x="387" y="182"/>
                    <a:pt x="387" y="181"/>
                    <a:pt x="387" y="181"/>
                  </a:cubicBezTo>
                  <a:cubicBezTo>
                    <a:pt x="386" y="181"/>
                    <a:pt x="387" y="182"/>
                    <a:pt x="387" y="182"/>
                  </a:cubicBezTo>
                  <a:cubicBezTo>
                    <a:pt x="387" y="183"/>
                    <a:pt x="386" y="182"/>
                    <a:pt x="386" y="182"/>
                  </a:cubicBezTo>
                  <a:cubicBezTo>
                    <a:pt x="386" y="182"/>
                    <a:pt x="386" y="184"/>
                    <a:pt x="386" y="184"/>
                  </a:cubicBezTo>
                  <a:cubicBezTo>
                    <a:pt x="386" y="184"/>
                    <a:pt x="386" y="183"/>
                    <a:pt x="386" y="184"/>
                  </a:cubicBezTo>
                  <a:cubicBezTo>
                    <a:pt x="386" y="184"/>
                    <a:pt x="386" y="185"/>
                    <a:pt x="386" y="185"/>
                  </a:cubicBezTo>
                  <a:cubicBezTo>
                    <a:pt x="386" y="185"/>
                    <a:pt x="385" y="185"/>
                    <a:pt x="385" y="185"/>
                  </a:cubicBezTo>
                  <a:cubicBezTo>
                    <a:pt x="385" y="184"/>
                    <a:pt x="385" y="183"/>
                    <a:pt x="385" y="184"/>
                  </a:cubicBezTo>
                  <a:cubicBezTo>
                    <a:pt x="385" y="185"/>
                    <a:pt x="385" y="184"/>
                    <a:pt x="385" y="184"/>
                  </a:cubicBezTo>
                  <a:cubicBezTo>
                    <a:pt x="385" y="185"/>
                    <a:pt x="385" y="186"/>
                    <a:pt x="385" y="187"/>
                  </a:cubicBezTo>
                  <a:cubicBezTo>
                    <a:pt x="385" y="187"/>
                    <a:pt x="385" y="187"/>
                    <a:pt x="385" y="187"/>
                  </a:cubicBezTo>
                  <a:cubicBezTo>
                    <a:pt x="385" y="188"/>
                    <a:pt x="385" y="188"/>
                    <a:pt x="385" y="188"/>
                  </a:cubicBezTo>
                  <a:cubicBezTo>
                    <a:pt x="385" y="189"/>
                    <a:pt x="385" y="189"/>
                    <a:pt x="385" y="190"/>
                  </a:cubicBezTo>
                  <a:cubicBezTo>
                    <a:pt x="385" y="190"/>
                    <a:pt x="385" y="190"/>
                    <a:pt x="385" y="191"/>
                  </a:cubicBezTo>
                  <a:cubicBezTo>
                    <a:pt x="385" y="191"/>
                    <a:pt x="385" y="191"/>
                    <a:pt x="385" y="191"/>
                  </a:cubicBezTo>
                  <a:cubicBezTo>
                    <a:pt x="385" y="192"/>
                    <a:pt x="385" y="192"/>
                    <a:pt x="385" y="193"/>
                  </a:cubicBezTo>
                  <a:cubicBezTo>
                    <a:pt x="385" y="193"/>
                    <a:pt x="384" y="193"/>
                    <a:pt x="384" y="193"/>
                  </a:cubicBezTo>
                  <a:cubicBezTo>
                    <a:pt x="384" y="193"/>
                    <a:pt x="384" y="193"/>
                    <a:pt x="384" y="194"/>
                  </a:cubicBezTo>
                  <a:cubicBezTo>
                    <a:pt x="384" y="194"/>
                    <a:pt x="384" y="194"/>
                    <a:pt x="384" y="195"/>
                  </a:cubicBezTo>
                  <a:cubicBezTo>
                    <a:pt x="384" y="195"/>
                    <a:pt x="385" y="196"/>
                    <a:pt x="384" y="196"/>
                  </a:cubicBezTo>
                  <a:cubicBezTo>
                    <a:pt x="384" y="197"/>
                    <a:pt x="384" y="197"/>
                    <a:pt x="384" y="197"/>
                  </a:cubicBezTo>
                  <a:cubicBezTo>
                    <a:pt x="384" y="198"/>
                    <a:pt x="384" y="198"/>
                    <a:pt x="384" y="199"/>
                  </a:cubicBezTo>
                  <a:cubicBezTo>
                    <a:pt x="384" y="200"/>
                    <a:pt x="384" y="201"/>
                    <a:pt x="383" y="202"/>
                  </a:cubicBezTo>
                  <a:cubicBezTo>
                    <a:pt x="383" y="202"/>
                    <a:pt x="383" y="202"/>
                    <a:pt x="383" y="203"/>
                  </a:cubicBezTo>
                  <a:cubicBezTo>
                    <a:pt x="382" y="203"/>
                    <a:pt x="382" y="204"/>
                    <a:pt x="382" y="204"/>
                  </a:cubicBezTo>
                  <a:cubicBezTo>
                    <a:pt x="382" y="205"/>
                    <a:pt x="382" y="205"/>
                    <a:pt x="382" y="206"/>
                  </a:cubicBezTo>
                  <a:cubicBezTo>
                    <a:pt x="381" y="207"/>
                    <a:pt x="381" y="207"/>
                    <a:pt x="381" y="207"/>
                  </a:cubicBezTo>
                  <a:cubicBezTo>
                    <a:pt x="381" y="207"/>
                    <a:pt x="381" y="207"/>
                    <a:pt x="380" y="207"/>
                  </a:cubicBezTo>
                  <a:cubicBezTo>
                    <a:pt x="380" y="208"/>
                    <a:pt x="379" y="209"/>
                    <a:pt x="379" y="210"/>
                  </a:cubicBezTo>
                  <a:cubicBezTo>
                    <a:pt x="379" y="210"/>
                    <a:pt x="379" y="211"/>
                    <a:pt x="378" y="211"/>
                  </a:cubicBezTo>
                  <a:cubicBezTo>
                    <a:pt x="378" y="211"/>
                    <a:pt x="378" y="211"/>
                    <a:pt x="378" y="211"/>
                  </a:cubicBezTo>
                  <a:cubicBezTo>
                    <a:pt x="378" y="212"/>
                    <a:pt x="378" y="212"/>
                    <a:pt x="378" y="213"/>
                  </a:cubicBezTo>
                  <a:cubicBezTo>
                    <a:pt x="378" y="214"/>
                    <a:pt x="378" y="214"/>
                    <a:pt x="378" y="215"/>
                  </a:cubicBezTo>
                  <a:cubicBezTo>
                    <a:pt x="378" y="216"/>
                    <a:pt x="379" y="217"/>
                    <a:pt x="378" y="217"/>
                  </a:cubicBezTo>
                  <a:cubicBezTo>
                    <a:pt x="378" y="218"/>
                    <a:pt x="377" y="217"/>
                    <a:pt x="377" y="217"/>
                  </a:cubicBezTo>
                  <a:cubicBezTo>
                    <a:pt x="377" y="218"/>
                    <a:pt x="378" y="218"/>
                    <a:pt x="378" y="219"/>
                  </a:cubicBezTo>
                  <a:cubicBezTo>
                    <a:pt x="378" y="219"/>
                    <a:pt x="378" y="218"/>
                    <a:pt x="379" y="219"/>
                  </a:cubicBezTo>
                  <a:cubicBezTo>
                    <a:pt x="379" y="219"/>
                    <a:pt x="379" y="220"/>
                    <a:pt x="379" y="221"/>
                  </a:cubicBezTo>
                  <a:cubicBezTo>
                    <a:pt x="379" y="222"/>
                    <a:pt x="380" y="222"/>
                    <a:pt x="380" y="223"/>
                  </a:cubicBezTo>
                  <a:cubicBezTo>
                    <a:pt x="380" y="224"/>
                    <a:pt x="379" y="225"/>
                    <a:pt x="379" y="226"/>
                  </a:cubicBezTo>
                  <a:cubicBezTo>
                    <a:pt x="380" y="227"/>
                    <a:pt x="380" y="227"/>
                    <a:pt x="380" y="227"/>
                  </a:cubicBezTo>
                  <a:cubicBezTo>
                    <a:pt x="380" y="227"/>
                    <a:pt x="381" y="227"/>
                    <a:pt x="381" y="228"/>
                  </a:cubicBezTo>
                  <a:cubicBezTo>
                    <a:pt x="382" y="228"/>
                    <a:pt x="382" y="228"/>
                    <a:pt x="382" y="228"/>
                  </a:cubicBezTo>
                  <a:cubicBezTo>
                    <a:pt x="382" y="227"/>
                    <a:pt x="382" y="227"/>
                    <a:pt x="382" y="227"/>
                  </a:cubicBezTo>
                  <a:cubicBezTo>
                    <a:pt x="383" y="227"/>
                    <a:pt x="383" y="227"/>
                    <a:pt x="383" y="227"/>
                  </a:cubicBezTo>
                  <a:cubicBezTo>
                    <a:pt x="383" y="227"/>
                    <a:pt x="384" y="226"/>
                    <a:pt x="384" y="225"/>
                  </a:cubicBezTo>
                  <a:cubicBezTo>
                    <a:pt x="384" y="225"/>
                    <a:pt x="384" y="224"/>
                    <a:pt x="384" y="224"/>
                  </a:cubicBezTo>
                  <a:cubicBezTo>
                    <a:pt x="385" y="224"/>
                    <a:pt x="385" y="224"/>
                    <a:pt x="385" y="223"/>
                  </a:cubicBezTo>
                  <a:cubicBezTo>
                    <a:pt x="385" y="223"/>
                    <a:pt x="384" y="222"/>
                    <a:pt x="385" y="222"/>
                  </a:cubicBezTo>
                  <a:cubicBezTo>
                    <a:pt x="385" y="222"/>
                    <a:pt x="385" y="224"/>
                    <a:pt x="385" y="225"/>
                  </a:cubicBezTo>
                  <a:cubicBezTo>
                    <a:pt x="385" y="226"/>
                    <a:pt x="385" y="227"/>
                    <a:pt x="385" y="227"/>
                  </a:cubicBezTo>
                  <a:cubicBezTo>
                    <a:pt x="385" y="228"/>
                    <a:pt x="386" y="228"/>
                    <a:pt x="386" y="227"/>
                  </a:cubicBezTo>
                  <a:cubicBezTo>
                    <a:pt x="386" y="227"/>
                    <a:pt x="387" y="226"/>
                    <a:pt x="387" y="225"/>
                  </a:cubicBezTo>
                  <a:cubicBezTo>
                    <a:pt x="387" y="225"/>
                    <a:pt x="387" y="225"/>
                    <a:pt x="387" y="225"/>
                  </a:cubicBezTo>
                  <a:cubicBezTo>
                    <a:pt x="388" y="225"/>
                    <a:pt x="388" y="225"/>
                    <a:pt x="388" y="226"/>
                  </a:cubicBezTo>
                  <a:cubicBezTo>
                    <a:pt x="387" y="227"/>
                    <a:pt x="387" y="227"/>
                    <a:pt x="386" y="228"/>
                  </a:cubicBezTo>
                  <a:cubicBezTo>
                    <a:pt x="386" y="228"/>
                    <a:pt x="386" y="229"/>
                    <a:pt x="386" y="229"/>
                  </a:cubicBezTo>
                  <a:cubicBezTo>
                    <a:pt x="386" y="230"/>
                    <a:pt x="386" y="231"/>
                    <a:pt x="386" y="231"/>
                  </a:cubicBezTo>
                  <a:cubicBezTo>
                    <a:pt x="387" y="231"/>
                    <a:pt x="387" y="234"/>
                    <a:pt x="387" y="234"/>
                  </a:cubicBezTo>
                  <a:cubicBezTo>
                    <a:pt x="387" y="234"/>
                    <a:pt x="387" y="235"/>
                    <a:pt x="386" y="235"/>
                  </a:cubicBezTo>
                  <a:cubicBezTo>
                    <a:pt x="386" y="235"/>
                    <a:pt x="386" y="235"/>
                    <a:pt x="386" y="236"/>
                  </a:cubicBezTo>
                  <a:cubicBezTo>
                    <a:pt x="386" y="236"/>
                    <a:pt x="386" y="237"/>
                    <a:pt x="386" y="237"/>
                  </a:cubicBezTo>
                  <a:cubicBezTo>
                    <a:pt x="386" y="238"/>
                    <a:pt x="385" y="238"/>
                    <a:pt x="385" y="238"/>
                  </a:cubicBezTo>
                  <a:cubicBezTo>
                    <a:pt x="385" y="240"/>
                    <a:pt x="386" y="240"/>
                    <a:pt x="387" y="240"/>
                  </a:cubicBezTo>
                  <a:cubicBezTo>
                    <a:pt x="387" y="239"/>
                    <a:pt x="387" y="238"/>
                    <a:pt x="388" y="237"/>
                  </a:cubicBezTo>
                  <a:cubicBezTo>
                    <a:pt x="388" y="237"/>
                    <a:pt x="388" y="237"/>
                    <a:pt x="388" y="237"/>
                  </a:cubicBezTo>
                  <a:cubicBezTo>
                    <a:pt x="389" y="237"/>
                    <a:pt x="389" y="236"/>
                    <a:pt x="389" y="235"/>
                  </a:cubicBezTo>
                  <a:cubicBezTo>
                    <a:pt x="389" y="235"/>
                    <a:pt x="390" y="236"/>
                    <a:pt x="390" y="235"/>
                  </a:cubicBezTo>
                  <a:cubicBezTo>
                    <a:pt x="391" y="234"/>
                    <a:pt x="391" y="234"/>
                    <a:pt x="391" y="233"/>
                  </a:cubicBezTo>
                  <a:cubicBezTo>
                    <a:pt x="391" y="233"/>
                    <a:pt x="391" y="232"/>
                    <a:pt x="391" y="231"/>
                  </a:cubicBezTo>
                  <a:cubicBezTo>
                    <a:pt x="391" y="231"/>
                    <a:pt x="391" y="231"/>
                    <a:pt x="391" y="230"/>
                  </a:cubicBezTo>
                  <a:cubicBezTo>
                    <a:pt x="391" y="230"/>
                    <a:pt x="391" y="229"/>
                    <a:pt x="391" y="228"/>
                  </a:cubicBezTo>
                  <a:cubicBezTo>
                    <a:pt x="390" y="227"/>
                    <a:pt x="391" y="226"/>
                    <a:pt x="392" y="225"/>
                  </a:cubicBezTo>
                  <a:cubicBezTo>
                    <a:pt x="392" y="225"/>
                    <a:pt x="392" y="223"/>
                    <a:pt x="392" y="222"/>
                  </a:cubicBezTo>
                  <a:cubicBezTo>
                    <a:pt x="392" y="222"/>
                    <a:pt x="392" y="221"/>
                    <a:pt x="392" y="221"/>
                  </a:cubicBezTo>
                  <a:cubicBezTo>
                    <a:pt x="392" y="220"/>
                    <a:pt x="392" y="220"/>
                    <a:pt x="392" y="220"/>
                  </a:cubicBezTo>
                  <a:cubicBezTo>
                    <a:pt x="391" y="220"/>
                    <a:pt x="391" y="220"/>
                    <a:pt x="391" y="219"/>
                  </a:cubicBezTo>
                  <a:cubicBezTo>
                    <a:pt x="391" y="219"/>
                    <a:pt x="391" y="219"/>
                    <a:pt x="391" y="218"/>
                  </a:cubicBezTo>
                  <a:cubicBezTo>
                    <a:pt x="390" y="217"/>
                    <a:pt x="390" y="217"/>
                    <a:pt x="390" y="216"/>
                  </a:cubicBezTo>
                  <a:cubicBezTo>
                    <a:pt x="390" y="216"/>
                    <a:pt x="390" y="215"/>
                    <a:pt x="390" y="215"/>
                  </a:cubicBezTo>
                  <a:cubicBezTo>
                    <a:pt x="391" y="214"/>
                    <a:pt x="390" y="213"/>
                    <a:pt x="390" y="212"/>
                  </a:cubicBezTo>
                  <a:cubicBezTo>
                    <a:pt x="390" y="211"/>
                    <a:pt x="391" y="210"/>
                    <a:pt x="391" y="209"/>
                  </a:cubicBezTo>
                  <a:cubicBezTo>
                    <a:pt x="391" y="209"/>
                    <a:pt x="392" y="208"/>
                    <a:pt x="392" y="208"/>
                  </a:cubicBezTo>
                  <a:cubicBezTo>
                    <a:pt x="392" y="208"/>
                    <a:pt x="392" y="207"/>
                    <a:pt x="392" y="207"/>
                  </a:cubicBezTo>
                  <a:cubicBezTo>
                    <a:pt x="393" y="206"/>
                    <a:pt x="393" y="205"/>
                    <a:pt x="393" y="204"/>
                  </a:cubicBezTo>
                  <a:cubicBezTo>
                    <a:pt x="393" y="203"/>
                    <a:pt x="392" y="201"/>
                    <a:pt x="393" y="200"/>
                  </a:cubicBezTo>
                  <a:cubicBezTo>
                    <a:pt x="393" y="200"/>
                    <a:pt x="393" y="200"/>
                    <a:pt x="393" y="200"/>
                  </a:cubicBezTo>
                  <a:cubicBezTo>
                    <a:pt x="393" y="199"/>
                    <a:pt x="393" y="198"/>
                    <a:pt x="394" y="199"/>
                  </a:cubicBezTo>
                  <a:cubicBezTo>
                    <a:pt x="394" y="199"/>
                    <a:pt x="394" y="198"/>
                    <a:pt x="395" y="199"/>
                  </a:cubicBezTo>
                  <a:cubicBezTo>
                    <a:pt x="395" y="199"/>
                    <a:pt x="395" y="199"/>
                    <a:pt x="395" y="199"/>
                  </a:cubicBezTo>
                  <a:cubicBezTo>
                    <a:pt x="396" y="200"/>
                    <a:pt x="397" y="201"/>
                    <a:pt x="396" y="203"/>
                  </a:cubicBezTo>
                  <a:cubicBezTo>
                    <a:pt x="396" y="203"/>
                    <a:pt x="396" y="203"/>
                    <a:pt x="396" y="204"/>
                  </a:cubicBezTo>
                  <a:cubicBezTo>
                    <a:pt x="396" y="204"/>
                    <a:pt x="396" y="205"/>
                    <a:pt x="395" y="205"/>
                  </a:cubicBezTo>
                  <a:cubicBezTo>
                    <a:pt x="395" y="206"/>
                    <a:pt x="395" y="207"/>
                    <a:pt x="395" y="207"/>
                  </a:cubicBezTo>
                  <a:cubicBezTo>
                    <a:pt x="395" y="208"/>
                    <a:pt x="395" y="209"/>
                    <a:pt x="395" y="209"/>
                  </a:cubicBezTo>
                  <a:cubicBezTo>
                    <a:pt x="394" y="209"/>
                    <a:pt x="394" y="210"/>
                    <a:pt x="394" y="210"/>
                  </a:cubicBezTo>
                  <a:cubicBezTo>
                    <a:pt x="394" y="211"/>
                    <a:pt x="394" y="212"/>
                    <a:pt x="394" y="213"/>
                  </a:cubicBezTo>
                  <a:cubicBezTo>
                    <a:pt x="394" y="214"/>
                    <a:pt x="394" y="214"/>
                    <a:pt x="394" y="215"/>
                  </a:cubicBezTo>
                  <a:cubicBezTo>
                    <a:pt x="394" y="216"/>
                    <a:pt x="394" y="217"/>
                    <a:pt x="394" y="217"/>
                  </a:cubicBezTo>
                  <a:cubicBezTo>
                    <a:pt x="394" y="218"/>
                    <a:pt x="394" y="218"/>
                    <a:pt x="394" y="219"/>
                  </a:cubicBezTo>
                  <a:cubicBezTo>
                    <a:pt x="394" y="219"/>
                    <a:pt x="395" y="220"/>
                    <a:pt x="395" y="220"/>
                  </a:cubicBezTo>
                  <a:cubicBezTo>
                    <a:pt x="395" y="220"/>
                    <a:pt x="395" y="220"/>
                    <a:pt x="395" y="220"/>
                  </a:cubicBezTo>
                  <a:cubicBezTo>
                    <a:pt x="395" y="220"/>
                    <a:pt x="395" y="221"/>
                    <a:pt x="395" y="221"/>
                  </a:cubicBezTo>
                  <a:cubicBezTo>
                    <a:pt x="396" y="222"/>
                    <a:pt x="396" y="222"/>
                    <a:pt x="395" y="222"/>
                  </a:cubicBezTo>
                  <a:cubicBezTo>
                    <a:pt x="395" y="223"/>
                    <a:pt x="395" y="223"/>
                    <a:pt x="395" y="223"/>
                  </a:cubicBezTo>
                  <a:cubicBezTo>
                    <a:pt x="395" y="223"/>
                    <a:pt x="395" y="223"/>
                    <a:pt x="395" y="223"/>
                  </a:cubicBezTo>
                  <a:cubicBezTo>
                    <a:pt x="395" y="223"/>
                    <a:pt x="396" y="223"/>
                    <a:pt x="396" y="223"/>
                  </a:cubicBezTo>
                  <a:cubicBezTo>
                    <a:pt x="396" y="223"/>
                    <a:pt x="396" y="223"/>
                    <a:pt x="397" y="222"/>
                  </a:cubicBezTo>
                  <a:cubicBezTo>
                    <a:pt x="397" y="222"/>
                    <a:pt x="397" y="221"/>
                    <a:pt x="397" y="221"/>
                  </a:cubicBezTo>
                  <a:cubicBezTo>
                    <a:pt x="398" y="221"/>
                    <a:pt x="398" y="222"/>
                    <a:pt x="398" y="222"/>
                  </a:cubicBezTo>
                  <a:cubicBezTo>
                    <a:pt x="398" y="222"/>
                    <a:pt x="399" y="222"/>
                    <a:pt x="399" y="222"/>
                  </a:cubicBezTo>
                  <a:cubicBezTo>
                    <a:pt x="399" y="222"/>
                    <a:pt x="400" y="222"/>
                    <a:pt x="400" y="222"/>
                  </a:cubicBezTo>
                  <a:cubicBezTo>
                    <a:pt x="400" y="222"/>
                    <a:pt x="400" y="222"/>
                    <a:pt x="401" y="222"/>
                  </a:cubicBezTo>
                  <a:cubicBezTo>
                    <a:pt x="401" y="221"/>
                    <a:pt x="401" y="221"/>
                    <a:pt x="401" y="221"/>
                  </a:cubicBezTo>
                  <a:cubicBezTo>
                    <a:pt x="401" y="221"/>
                    <a:pt x="401" y="222"/>
                    <a:pt x="402" y="222"/>
                  </a:cubicBezTo>
                  <a:cubicBezTo>
                    <a:pt x="402" y="222"/>
                    <a:pt x="402" y="222"/>
                    <a:pt x="402" y="222"/>
                  </a:cubicBezTo>
                  <a:cubicBezTo>
                    <a:pt x="402" y="223"/>
                    <a:pt x="402" y="223"/>
                    <a:pt x="402" y="223"/>
                  </a:cubicBezTo>
                  <a:cubicBezTo>
                    <a:pt x="401" y="223"/>
                    <a:pt x="401" y="222"/>
                    <a:pt x="401" y="223"/>
                  </a:cubicBezTo>
                  <a:cubicBezTo>
                    <a:pt x="400" y="223"/>
                    <a:pt x="400" y="223"/>
                    <a:pt x="400" y="224"/>
                  </a:cubicBezTo>
                  <a:cubicBezTo>
                    <a:pt x="400" y="224"/>
                    <a:pt x="400" y="224"/>
                    <a:pt x="399" y="224"/>
                  </a:cubicBezTo>
                  <a:cubicBezTo>
                    <a:pt x="399" y="224"/>
                    <a:pt x="399" y="224"/>
                    <a:pt x="399" y="223"/>
                  </a:cubicBezTo>
                  <a:cubicBezTo>
                    <a:pt x="399" y="223"/>
                    <a:pt x="398" y="224"/>
                    <a:pt x="398" y="224"/>
                  </a:cubicBezTo>
                  <a:cubicBezTo>
                    <a:pt x="397" y="224"/>
                    <a:pt x="397" y="224"/>
                    <a:pt x="397" y="224"/>
                  </a:cubicBezTo>
                  <a:cubicBezTo>
                    <a:pt x="397" y="224"/>
                    <a:pt x="397" y="225"/>
                    <a:pt x="396" y="225"/>
                  </a:cubicBezTo>
                  <a:cubicBezTo>
                    <a:pt x="396" y="224"/>
                    <a:pt x="396" y="224"/>
                    <a:pt x="396" y="225"/>
                  </a:cubicBezTo>
                  <a:cubicBezTo>
                    <a:pt x="395" y="225"/>
                    <a:pt x="396" y="226"/>
                    <a:pt x="396" y="226"/>
                  </a:cubicBezTo>
                  <a:cubicBezTo>
                    <a:pt x="395" y="227"/>
                    <a:pt x="395" y="228"/>
                    <a:pt x="396" y="228"/>
                  </a:cubicBezTo>
                  <a:cubicBezTo>
                    <a:pt x="396" y="229"/>
                    <a:pt x="397" y="229"/>
                    <a:pt x="397" y="228"/>
                  </a:cubicBezTo>
                  <a:cubicBezTo>
                    <a:pt x="397" y="228"/>
                    <a:pt x="397" y="228"/>
                    <a:pt x="398" y="228"/>
                  </a:cubicBezTo>
                  <a:cubicBezTo>
                    <a:pt x="398" y="230"/>
                    <a:pt x="398" y="231"/>
                    <a:pt x="398" y="231"/>
                  </a:cubicBezTo>
                  <a:cubicBezTo>
                    <a:pt x="398" y="233"/>
                    <a:pt x="397" y="232"/>
                    <a:pt x="397" y="231"/>
                  </a:cubicBezTo>
                  <a:cubicBezTo>
                    <a:pt x="396" y="231"/>
                    <a:pt x="396" y="230"/>
                    <a:pt x="395" y="230"/>
                  </a:cubicBezTo>
                  <a:cubicBezTo>
                    <a:pt x="395" y="231"/>
                    <a:pt x="395" y="231"/>
                    <a:pt x="395" y="231"/>
                  </a:cubicBezTo>
                  <a:cubicBezTo>
                    <a:pt x="395" y="232"/>
                    <a:pt x="395" y="233"/>
                    <a:pt x="395" y="233"/>
                  </a:cubicBezTo>
                  <a:cubicBezTo>
                    <a:pt x="395" y="234"/>
                    <a:pt x="395" y="234"/>
                    <a:pt x="395" y="235"/>
                  </a:cubicBezTo>
                  <a:cubicBezTo>
                    <a:pt x="395" y="236"/>
                    <a:pt x="395" y="236"/>
                    <a:pt x="395" y="237"/>
                  </a:cubicBezTo>
                  <a:cubicBezTo>
                    <a:pt x="395" y="238"/>
                    <a:pt x="395" y="239"/>
                    <a:pt x="394" y="239"/>
                  </a:cubicBezTo>
                  <a:cubicBezTo>
                    <a:pt x="394" y="239"/>
                    <a:pt x="394" y="241"/>
                    <a:pt x="393" y="241"/>
                  </a:cubicBezTo>
                  <a:cubicBezTo>
                    <a:pt x="393" y="241"/>
                    <a:pt x="393" y="240"/>
                    <a:pt x="393" y="240"/>
                  </a:cubicBezTo>
                  <a:cubicBezTo>
                    <a:pt x="393" y="240"/>
                    <a:pt x="392" y="239"/>
                    <a:pt x="392" y="239"/>
                  </a:cubicBezTo>
                  <a:cubicBezTo>
                    <a:pt x="392" y="239"/>
                    <a:pt x="392" y="239"/>
                    <a:pt x="392" y="239"/>
                  </a:cubicBezTo>
                  <a:cubicBezTo>
                    <a:pt x="392" y="239"/>
                    <a:pt x="392" y="240"/>
                    <a:pt x="391" y="240"/>
                  </a:cubicBezTo>
                  <a:cubicBezTo>
                    <a:pt x="391" y="241"/>
                    <a:pt x="391" y="241"/>
                    <a:pt x="391" y="241"/>
                  </a:cubicBezTo>
                  <a:cubicBezTo>
                    <a:pt x="390" y="241"/>
                    <a:pt x="390" y="241"/>
                    <a:pt x="390" y="242"/>
                  </a:cubicBezTo>
                  <a:cubicBezTo>
                    <a:pt x="390" y="243"/>
                    <a:pt x="389" y="242"/>
                    <a:pt x="389" y="242"/>
                  </a:cubicBezTo>
                  <a:cubicBezTo>
                    <a:pt x="389" y="242"/>
                    <a:pt x="389" y="244"/>
                    <a:pt x="388" y="243"/>
                  </a:cubicBezTo>
                  <a:cubicBezTo>
                    <a:pt x="388" y="242"/>
                    <a:pt x="388" y="242"/>
                    <a:pt x="388" y="241"/>
                  </a:cubicBezTo>
                  <a:cubicBezTo>
                    <a:pt x="388" y="241"/>
                    <a:pt x="388" y="241"/>
                    <a:pt x="388" y="241"/>
                  </a:cubicBezTo>
                  <a:cubicBezTo>
                    <a:pt x="388" y="240"/>
                    <a:pt x="388" y="241"/>
                    <a:pt x="388" y="241"/>
                  </a:cubicBezTo>
                  <a:cubicBezTo>
                    <a:pt x="387" y="241"/>
                    <a:pt x="387" y="241"/>
                    <a:pt x="387" y="241"/>
                  </a:cubicBezTo>
                  <a:cubicBezTo>
                    <a:pt x="387" y="242"/>
                    <a:pt x="386" y="242"/>
                    <a:pt x="386" y="242"/>
                  </a:cubicBezTo>
                  <a:cubicBezTo>
                    <a:pt x="385" y="243"/>
                    <a:pt x="385" y="242"/>
                    <a:pt x="385" y="241"/>
                  </a:cubicBezTo>
                  <a:cubicBezTo>
                    <a:pt x="385" y="240"/>
                    <a:pt x="385" y="240"/>
                    <a:pt x="385" y="239"/>
                  </a:cubicBezTo>
                  <a:cubicBezTo>
                    <a:pt x="384" y="238"/>
                    <a:pt x="385" y="238"/>
                    <a:pt x="385" y="237"/>
                  </a:cubicBezTo>
                  <a:cubicBezTo>
                    <a:pt x="385" y="236"/>
                    <a:pt x="385" y="236"/>
                    <a:pt x="385" y="235"/>
                  </a:cubicBezTo>
                  <a:cubicBezTo>
                    <a:pt x="385" y="235"/>
                    <a:pt x="385" y="234"/>
                    <a:pt x="385" y="234"/>
                  </a:cubicBezTo>
                  <a:cubicBezTo>
                    <a:pt x="385" y="234"/>
                    <a:pt x="385" y="234"/>
                    <a:pt x="385" y="233"/>
                  </a:cubicBezTo>
                  <a:cubicBezTo>
                    <a:pt x="385" y="232"/>
                    <a:pt x="385" y="231"/>
                    <a:pt x="385" y="231"/>
                  </a:cubicBezTo>
                  <a:cubicBezTo>
                    <a:pt x="385" y="231"/>
                    <a:pt x="385" y="229"/>
                    <a:pt x="385" y="230"/>
                  </a:cubicBezTo>
                  <a:cubicBezTo>
                    <a:pt x="384" y="230"/>
                    <a:pt x="384" y="230"/>
                    <a:pt x="384" y="231"/>
                  </a:cubicBezTo>
                  <a:cubicBezTo>
                    <a:pt x="384" y="231"/>
                    <a:pt x="383" y="230"/>
                    <a:pt x="383" y="231"/>
                  </a:cubicBezTo>
                  <a:cubicBezTo>
                    <a:pt x="383" y="232"/>
                    <a:pt x="382" y="233"/>
                    <a:pt x="382" y="234"/>
                  </a:cubicBezTo>
                  <a:cubicBezTo>
                    <a:pt x="382" y="234"/>
                    <a:pt x="382" y="235"/>
                    <a:pt x="383" y="235"/>
                  </a:cubicBezTo>
                  <a:cubicBezTo>
                    <a:pt x="383" y="236"/>
                    <a:pt x="383" y="236"/>
                    <a:pt x="383" y="236"/>
                  </a:cubicBezTo>
                  <a:cubicBezTo>
                    <a:pt x="383" y="237"/>
                    <a:pt x="383" y="238"/>
                    <a:pt x="383" y="238"/>
                  </a:cubicBezTo>
                  <a:cubicBezTo>
                    <a:pt x="383" y="238"/>
                    <a:pt x="383" y="239"/>
                    <a:pt x="383" y="239"/>
                  </a:cubicBezTo>
                  <a:cubicBezTo>
                    <a:pt x="383" y="240"/>
                    <a:pt x="383" y="240"/>
                    <a:pt x="383" y="241"/>
                  </a:cubicBezTo>
                  <a:cubicBezTo>
                    <a:pt x="383" y="242"/>
                    <a:pt x="383" y="242"/>
                    <a:pt x="383" y="243"/>
                  </a:cubicBezTo>
                  <a:cubicBezTo>
                    <a:pt x="383" y="244"/>
                    <a:pt x="383" y="243"/>
                    <a:pt x="382" y="243"/>
                  </a:cubicBezTo>
                  <a:cubicBezTo>
                    <a:pt x="382" y="243"/>
                    <a:pt x="382" y="243"/>
                    <a:pt x="382" y="244"/>
                  </a:cubicBezTo>
                  <a:cubicBezTo>
                    <a:pt x="381" y="245"/>
                    <a:pt x="381" y="244"/>
                    <a:pt x="381" y="245"/>
                  </a:cubicBezTo>
                  <a:cubicBezTo>
                    <a:pt x="380" y="245"/>
                    <a:pt x="380" y="245"/>
                    <a:pt x="379" y="245"/>
                  </a:cubicBezTo>
                  <a:cubicBezTo>
                    <a:pt x="379" y="246"/>
                    <a:pt x="379" y="246"/>
                    <a:pt x="379" y="247"/>
                  </a:cubicBezTo>
                  <a:cubicBezTo>
                    <a:pt x="379" y="248"/>
                    <a:pt x="379" y="248"/>
                    <a:pt x="378" y="249"/>
                  </a:cubicBezTo>
                  <a:cubicBezTo>
                    <a:pt x="378" y="249"/>
                    <a:pt x="379" y="250"/>
                    <a:pt x="378" y="250"/>
                  </a:cubicBezTo>
                  <a:cubicBezTo>
                    <a:pt x="378" y="251"/>
                    <a:pt x="378" y="251"/>
                    <a:pt x="378" y="251"/>
                  </a:cubicBezTo>
                  <a:cubicBezTo>
                    <a:pt x="378" y="251"/>
                    <a:pt x="377" y="252"/>
                    <a:pt x="377" y="252"/>
                  </a:cubicBezTo>
                  <a:cubicBezTo>
                    <a:pt x="377" y="252"/>
                    <a:pt x="377" y="252"/>
                    <a:pt x="377" y="252"/>
                  </a:cubicBezTo>
                  <a:cubicBezTo>
                    <a:pt x="376" y="252"/>
                    <a:pt x="376" y="251"/>
                    <a:pt x="376" y="252"/>
                  </a:cubicBezTo>
                  <a:cubicBezTo>
                    <a:pt x="376" y="253"/>
                    <a:pt x="376" y="253"/>
                    <a:pt x="376" y="254"/>
                  </a:cubicBezTo>
                  <a:cubicBezTo>
                    <a:pt x="375" y="254"/>
                    <a:pt x="376" y="255"/>
                    <a:pt x="375" y="255"/>
                  </a:cubicBezTo>
                  <a:cubicBezTo>
                    <a:pt x="375" y="255"/>
                    <a:pt x="375" y="256"/>
                    <a:pt x="375" y="257"/>
                  </a:cubicBezTo>
                  <a:cubicBezTo>
                    <a:pt x="375" y="257"/>
                    <a:pt x="374" y="257"/>
                    <a:pt x="374" y="258"/>
                  </a:cubicBezTo>
                  <a:cubicBezTo>
                    <a:pt x="374" y="258"/>
                    <a:pt x="373" y="258"/>
                    <a:pt x="373" y="257"/>
                  </a:cubicBezTo>
                  <a:cubicBezTo>
                    <a:pt x="373" y="257"/>
                    <a:pt x="373" y="257"/>
                    <a:pt x="373" y="257"/>
                  </a:cubicBezTo>
                  <a:cubicBezTo>
                    <a:pt x="372" y="257"/>
                    <a:pt x="372" y="256"/>
                    <a:pt x="372" y="257"/>
                  </a:cubicBezTo>
                  <a:cubicBezTo>
                    <a:pt x="371" y="258"/>
                    <a:pt x="372" y="258"/>
                    <a:pt x="372" y="259"/>
                  </a:cubicBezTo>
                  <a:cubicBezTo>
                    <a:pt x="372" y="262"/>
                    <a:pt x="370" y="260"/>
                    <a:pt x="370" y="260"/>
                  </a:cubicBezTo>
                  <a:cubicBezTo>
                    <a:pt x="369" y="260"/>
                    <a:pt x="369" y="260"/>
                    <a:pt x="369" y="261"/>
                  </a:cubicBezTo>
                  <a:cubicBezTo>
                    <a:pt x="368" y="261"/>
                    <a:pt x="368" y="261"/>
                    <a:pt x="368" y="262"/>
                  </a:cubicBezTo>
                  <a:cubicBezTo>
                    <a:pt x="368" y="263"/>
                    <a:pt x="369" y="263"/>
                    <a:pt x="370" y="264"/>
                  </a:cubicBezTo>
                  <a:cubicBezTo>
                    <a:pt x="370" y="264"/>
                    <a:pt x="371" y="264"/>
                    <a:pt x="371" y="265"/>
                  </a:cubicBezTo>
                  <a:cubicBezTo>
                    <a:pt x="371" y="265"/>
                    <a:pt x="371" y="265"/>
                    <a:pt x="371" y="266"/>
                  </a:cubicBezTo>
                  <a:cubicBezTo>
                    <a:pt x="371" y="266"/>
                    <a:pt x="371" y="267"/>
                    <a:pt x="371" y="267"/>
                  </a:cubicBezTo>
                  <a:cubicBezTo>
                    <a:pt x="372" y="267"/>
                    <a:pt x="372" y="268"/>
                    <a:pt x="372" y="269"/>
                  </a:cubicBezTo>
                  <a:cubicBezTo>
                    <a:pt x="372" y="270"/>
                    <a:pt x="372" y="271"/>
                    <a:pt x="372" y="272"/>
                  </a:cubicBezTo>
                  <a:cubicBezTo>
                    <a:pt x="372" y="272"/>
                    <a:pt x="371" y="273"/>
                    <a:pt x="371" y="273"/>
                  </a:cubicBezTo>
                  <a:cubicBezTo>
                    <a:pt x="371" y="273"/>
                    <a:pt x="371" y="274"/>
                    <a:pt x="371" y="274"/>
                  </a:cubicBezTo>
                  <a:cubicBezTo>
                    <a:pt x="371" y="275"/>
                    <a:pt x="371" y="275"/>
                    <a:pt x="371" y="276"/>
                  </a:cubicBezTo>
                  <a:cubicBezTo>
                    <a:pt x="370" y="277"/>
                    <a:pt x="369" y="276"/>
                    <a:pt x="368" y="276"/>
                  </a:cubicBezTo>
                  <a:cubicBezTo>
                    <a:pt x="368" y="276"/>
                    <a:pt x="367" y="276"/>
                    <a:pt x="367" y="276"/>
                  </a:cubicBezTo>
                  <a:cubicBezTo>
                    <a:pt x="366" y="276"/>
                    <a:pt x="366" y="276"/>
                    <a:pt x="365" y="276"/>
                  </a:cubicBezTo>
                  <a:cubicBezTo>
                    <a:pt x="364" y="277"/>
                    <a:pt x="364" y="277"/>
                    <a:pt x="364" y="277"/>
                  </a:cubicBezTo>
                  <a:cubicBezTo>
                    <a:pt x="363" y="277"/>
                    <a:pt x="363" y="276"/>
                    <a:pt x="362" y="276"/>
                  </a:cubicBezTo>
                  <a:cubicBezTo>
                    <a:pt x="362" y="276"/>
                    <a:pt x="361" y="279"/>
                    <a:pt x="361" y="279"/>
                  </a:cubicBezTo>
                  <a:cubicBezTo>
                    <a:pt x="361" y="280"/>
                    <a:pt x="362" y="281"/>
                    <a:pt x="362" y="281"/>
                  </a:cubicBezTo>
                  <a:cubicBezTo>
                    <a:pt x="362" y="282"/>
                    <a:pt x="361" y="283"/>
                    <a:pt x="361" y="284"/>
                  </a:cubicBezTo>
                  <a:cubicBezTo>
                    <a:pt x="361" y="286"/>
                    <a:pt x="361" y="288"/>
                    <a:pt x="360" y="289"/>
                  </a:cubicBezTo>
                  <a:cubicBezTo>
                    <a:pt x="360" y="290"/>
                    <a:pt x="360" y="291"/>
                    <a:pt x="360" y="291"/>
                  </a:cubicBezTo>
                  <a:cubicBezTo>
                    <a:pt x="360" y="291"/>
                    <a:pt x="360" y="291"/>
                    <a:pt x="360" y="292"/>
                  </a:cubicBezTo>
                  <a:cubicBezTo>
                    <a:pt x="364" y="290"/>
                    <a:pt x="368" y="288"/>
                    <a:pt x="371" y="286"/>
                  </a:cubicBezTo>
                  <a:cubicBezTo>
                    <a:pt x="371" y="286"/>
                    <a:pt x="371" y="286"/>
                    <a:pt x="371" y="286"/>
                  </a:cubicBezTo>
                  <a:cubicBezTo>
                    <a:pt x="371" y="285"/>
                    <a:pt x="372" y="285"/>
                    <a:pt x="372" y="284"/>
                  </a:cubicBezTo>
                  <a:cubicBezTo>
                    <a:pt x="372" y="282"/>
                    <a:pt x="374" y="282"/>
                    <a:pt x="374" y="281"/>
                  </a:cubicBezTo>
                  <a:cubicBezTo>
                    <a:pt x="375" y="281"/>
                    <a:pt x="375" y="281"/>
                    <a:pt x="375" y="281"/>
                  </a:cubicBezTo>
                  <a:cubicBezTo>
                    <a:pt x="375" y="280"/>
                    <a:pt x="376" y="280"/>
                    <a:pt x="376" y="279"/>
                  </a:cubicBezTo>
                  <a:cubicBezTo>
                    <a:pt x="376" y="278"/>
                    <a:pt x="375" y="277"/>
                    <a:pt x="376" y="276"/>
                  </a:cubicBezTo>
                  <a:cubicBezTo>
                    <a:pt x="377" y="275"/>
                    <a:pt x="378" y="275"/>
                    <a:pt x="378" y="275"/>
                  </a:cubicBezTo>
                  <a:cubicBezTo>
                    <a:pt x="378" y="275"/>
                    <a:pt x="378" y="276"/>
                    <a:pt x="379" y="276"/>
                  </a:cubicBezTo>
                  <a:cubicBezTo>
                    <a:pt x="379" y="275"/>
                    <a:pt x="380" y="275"/>
                    <a:pt x="380" y="275"/>
                  </a:cubicBezTo>
                  <a:cubicBezTo>
                    <a:pt x="380" y="274"/>
                    <a:pt x="381" y="273"/>
                    <a:pt x="381" y="273"/>
                  </a:cubicBezTo>
                  <a:cubicBezTo>
                    <a:pt x="381" y="272"/>
                    <a:pt x="382" y="272"/>
                    <a:pt x="382" y="272"/>
                  </a:cubicBezTo>
                  <a:cubicBezTo>
                    <a:pt x="382" y="271"/>
                    <a:pt x="383" y="271"/>
                    <a:pt x="384" y="272"/>
                  </a:cubicBezTo>
                  <a:cubicBezTo>
                    <a:pt x="384" y="273"/>
                    <a:pt x="384" y="275"/>
                    <a:pt x="384" y="276"/>
                  </a:cubicBezTo>
                  <a:cubicBezTo>
                    <a:pt x="384" y="277"/>
                    <a:pt x="385" y="278"/>
                    <a:pt x="385" y="278"/>
                  </a:cubicBezTo>
                  <a:cubicBezTo>
                    <a:pt x="386" y="278"/>
                    <a:pt x="387" y="277"/>
                    <a:pt x="388" y="277"/>
                  </a:cubicBezTo>
                  <a:cubicBezTo>
                    <a:pt x="387" y="276"/>
                    <a:pt x="387" y="276"/>
                    <a:pt x="387" y="275"/>
                  </a:cubicBezTo>
                  <a:cubicBezTo>
                    <a:pt x="387" y="273"/>
                    <a:pt x="386" y="272"/>
                    <a:pt x="386" y="271"/>
                  </a:cubicBezTo>
                  <a:cubicBezTo>
                    <a:pt x="386" y="271"/>
                    <a:pt x="386" y="270"/>
                    <a:pt x="385" y="270"/>
                  </a:cubicBezTo>
                  <a:cubicBezTo>
                    <a:pt x="385" y="270"/>
                    <a:pt x="385" y="269"/>
                    <a:pt x="386" y="269"/>
                  </a:cubicBezTo>
                  <a:cubicBezTo>
                    <a:pt x="386" y="269"/>
                    <a:pt x="386" y="269"/>
                    <a:pt x="386" y="269"/>
                  </a:cubicBezTo>
                  <a:cubicBezTo>
                    <a:pt x="387" y="270"/>
                    <a:pt x="387" y="270"/>
                    <a:pt x="387" y="270"/>
                  </a:cubicBezTo>
                  <a:cubicBezTo>
                    <a:pt x="388" y="270"/>
                    <a:pt x="388" y="269"/>
                    <a:pt x="389" y="270"/>
                  </a:cubicBezTo>
                  <a:cubicBezTo>
                    <a:pt x="389" y="271"/>
                    <a:pt x="389" y="271"/>
                    <a:pt x="389" y="272"/>
                  </a:cubicBezTo>
                  <a:cubicBezTo>
                    <a:pt x="389" y="272"/>
                    <a:pt x="390" y="272"/>
                    <a:pt x="390" y="272"/>
                  </a:cubicBezTo>
                  <a:cubicBezTo>
                    <a:pt x="390" y="273"/>
                    <a:pt x="390" y="273"/>
                    <a:pt x="390" y="274"/>
                  </a:cubicBezTo>
                  <a:cubicBezTo>
                    <a:pt x="391" y="274"/>
                    <a:pt x="391" y="274"/>
                    <a:pt x="391" y="275"/>
                  </a:cubicBezTo>
                  <a:cubicBezTo>
                    <a:pt x="394" y="272"/>
                    <a:pt x="398" y="270"/>
                    <a:pt x="401" y="267"/>
                  </a:cubicBezTo>
                  <a:cubicBezTo>
                    <a:pt x="401" y="267"/>
                    <a:pt x="401" y="266"/>
                    <a:pt x="402" y="265"/>
                  </a:cubicBezTo>
                  <a:cubicBezTo>
                    <a:pt x="402" y="264"/>
                    <a:pt x="402" y="263"/>
                    <a:pt x="403" y="263"/>
                  </a:cubicBezTo>
                  <a:cubicBezTo>
                    <a:pt x="403" y="262"/>
                    <a:pt x="403" y="263"/>
                    <a:pt x="404" y="264"/>
                  </a:cubicBezTo>
                  <a:cubicBezTo>
                    <a:pt x="404" y="264"/>
                    <a:pt x="404" y="265"/>
                    <a:pt x="404" y="265"/>
                  </a:cubicBezTo>
                  <a:cubicBezTo>
                    <a:pt x="404" y="265"/>
                    <a:pt x="404" y="265"/>
                    <a:pt x="404" y="265"/>
                  </a:cubicBezTo>
                  <a:cubicBezTo>
                    <a:pt x="404" y="265"/>
                    <a:pt x="405" y="264"/>
                    <a:pt x="406" y="264"/>
                  </a:cubicBezTo>
                  <a:cubicBezTo>
                    <a:pt x="406" y="263"/>
                    <a:pt x="406" y="263"/>
                    <a:pt x="406" y="263"/>
                  </a:cubicBezTo>
                  <a:cubicBezTo>
                    <a:pt x="407" y="262"/>
                    <a:pt x="407" y="262"/>
                    <a:pt x="408" y="261"/>
                  </a:cubicBezTo>
                  <a:cubicBezTo>
                    <a:pt x="408" y="261"/>
                    <a:pt x="409" y="260"/>
                    <a:pt x="409" y="261"/>
                  </a:cubicBezTo>
                  <a:cubicBezTo>
                    <a:pt x="409" y="261"/>
                    <a:pt x="408" y="261"/>
                    <a:pt x="408" y="261"/>
                  </a:cubicBezTo>
                  <a:cubicBezTo>
                    <a:pt x="408" y="262"/>
                    <a:pt x="408" y="262"/>
                    <a:pt x="408" y="262"/>
                  </a:cubicBezTo>
                  <a:cubicBezTo>
                    <a:pt x="422" y="251"/>
                    <a:pt x="434" y="239"/>
                    <a:pt x="446" y="232"/>
                  </a:cubicBezTo>
                  <a:cubicBezTo>
                    <a:pt x="447" y="231"/>
                    <a:pt x="448" y="230"/>
                    <a:pt x="450" y="230"/>
                  </a:cubicBezTo>
                  <a:cubicBezTo>
                    <a:pt x="449" y="208"/>
                    <a:pt x="445" y="188"/>
                    <a:pt x="438" y="168"/>
                  </a:cubicBezTo>
                  <a:cubicBezTo>
                    <a:pt x="438" y="168"/>
                    <a:pt x="438" y="169"/>
                    <a:pt x="438" y="169"/>
                  </a:cubicBezTo>
                  <a:close/>
                  <a:moveTo>
                    <a:pt x="404" y="220"/>
                  </a:moveTo>
                  <a:cubicBezTo>
                    <a:pt x="404" y="220"/>
                    <a:pt x="404" y="221"/>
                    <a:pt x="404" y="221"/>
                  </a:cubicBezTo>
                  <a:cubicBezTo>
                    <a:pt x="404" y="221"/>
                    <a:pt x="404" y="222"/>
                    <a:pt x="404" y="222"/>
                  </a:cubicBezTo>
                  <a:cubicBezTo>
                    <a:pt x="404" y="222"/>
                    <a:pt x="403" y="223"/>
                    <a:pt x="403" y="222"/>
                  </a:cubicBezTo>
                  <a:cubicBezTo>
                    <a:pt x="402" y="222"/>
                    <a:pt x="403" y="221"/>
                    <a:pt x="402" y="221"/>
                  </a:cubicBezTo>
                  <a:cubicBezTo>
                    <a:pt x="402" y="220"/>
                    <a:pt x="402" y="219"/>
                    <a:pt x="402" y="219"/>
                  </a:cubicBezTo>
                  <a:cubicBezTo>
                    <a:pt x="402" y="218"/>
                    <a:pt x="401" y="216"/>
                    <a:pt x="402" y="216"/>
                  </a:cubicBezTo>
                  <a:cubicBezTo>
                    <a:pt x="402" y="216"/>
                    <a:pt x="402" y="216"/>
                    <a:pt x="403" y="216"/>
                  </a:cubicBezTo>
                  <a:cubicBezTo>
                    <a:pt x="403" y="217"/>
                    <a:pt x="403" y="217"/>
                    <a:pt x="403" y="217"/>
                  </a:cubicBezTo>
                  <a:cubicBezTo>
                    <a:pt x="403" y="218"/>
                    <a:pt x="404" y="218"/>
                    <a:pt x="404" y="218"/>
                  </a:cubicBezTo>
                  <a:cubicBezTo>
                    <a:pt x="404" y="219"/>
                    <a:pt x="404" y="220"/>
                    <a:pt x="404" y="220"/>
                  </a:cubicBezTo>
                  <a:close/>
                  <a:moveTo>
                    <a:pt x="407" y="219"/>
                  </a:moveTo>
                  <a:cubicBezTo>
                    <a:pt x="406" y="219"/>
                    <a:pt x="406" y="219"/>
                    <a:pt x="406" y="219"/>
                  </a:cubicBezTo>
                  <a:cubicBezTo>
                    <a:pt x="406" y="219"/>
                    <a:pt x="406" y="218"/>
                    <a:pt x="406" y="218"/>
                  </a:cubicBezTo>
                  <a:cubicBezTo>
                    <a:pt x="405" y="217"/>
                    <a:pt x="405" y="217"/>
                    <a:pt x="405" y="216"/>
                  </a:cubicBezTo>
                  <a:cubicBezTo>
                    <a:pt x="405" y="216"/>
                    <a:pt x="405" y="215"/>
                    <a:pt x="405" y="215"/>
                  </a:cubicBezTo>
                  <a:cubicBezTo>
                    <a:pt x="405" y="214"/>
                    <a:pt x="405" y="214"/>
                    <a:pt x="405" y="213"/>
                  </a:cubicBezTo>
                  <a:cubicBezTo>
                    <a:pt x="405" y="212"/>
                    <a:pt x="406" y="215"/>
                    <a:pt x="406" y="215"/>
                  </a:cubicBezTo>
                  <a:cubicBezTo>
                    <a:pt x="406" y="216"/>
                    <a:pt x="406" y="217"/>
                    <a:pt x="406" y="217"/>
                  </a:cubicBezTo>
                  <a:cubicBezTo>
                    <a:pt x="406" y="218"/>
                    <a:pt x="407" y="218"/>
                    <a:pt x="407" y="219"/>
                  </a:cubicBezTo>
                  <a:close/>
                  <a:moveTo>
                    <a:pt x="409" y="229"/>
                  </a:moveTo>
                  <a:cubicBezTo>
                    <a:pt x="409" y="229"/>
                    <a:pt x="409" y="229"/>
                    <a:pt x="409" y="229"/>
                  </a:cubicBezTo>
                  <a:cubicBezTo>
                    <a:pt x="409" y="228"/>
                    <a:pt x="409" y="228"/>
                    <a:pt x="408" y="228"/>
                  </a:cubicBezTo>
                  <a:cubicBezTo>
                    <a:pt x="408" y="228"/>
                    <a:pt x="408" y="228"/>
                    <a:pt x="408" y="227"/>
                  </a:cubicBezTo>
                  <a:cubicBezTo>
                    <a:pt x="408" y="226"/>
                    <a:pt x="408" y="227"/>
                    <a:pt x="409" y="227"/>
                  </a:cubicBezTo>
                  <a:cubicBezTo>
                    <a:pt x="409" y="227"/>
                    <a:pt x="409" y="227"/>
                    <a:pt x="409" y="228"/>
                  </a:cubicBezTo>
                  <a:cubicBezTo>
                    <a:pt x="409" y="228"/>
                    <a:pt x="409" y="228"/>
                    <a:pt x="409" y="229"/>
                  </a:cubicBezTo>
                  <a:close/>
                  <a:moveTo>
                    <a:pt x="364" y="117"/>
                  </a:moveTo>
                  <a:cubicBezTo>
                    <a:pt x="364" y="116"/>
                    <a:pt x="365" y="117"/>
                    <a:pt x="365" y="117"/>
                  </a:cubicBezTo>
                  <a:cubicBezTo>
                    <a:pt x="365" y="118"/>
                    <a:pt x="365" y="118"/>
                    <a:pt x="365" y="118"/>
                  </a:cubicBezTo>
                  <a:cubicBezTo>
                    <a:pt x="365" y="119"/>
                    <a:pt x="366" y="119"/>
                    <a:pt x="366" y="119"/>
                  </a:cubicBezTo>
                  <a:cubicBezTo>
                    <a:pt x="366" y="119"/>
                    <a:pt x="366" y="118"/>
                    <a:pt x="366" y="118"/>
                  </a:cubicBezTo>
                  <a:cubicBezTo>
                    <a:pt x="366" y="118"/>
                    <a:pt x="368" y="121"/>
                    <a:pt x="368" y="120"/>
                  </a:cubicBezTo>
                  <a:cubicBezTo>
                    <a:pt x="368" y="119"/>
                    <a:pt x="368" y="118"/>
                    <a:pt x="367" y="117"/>
                  </a:cubicBezTo>
                  <a:cubicBezTo>
                    <a:pt x="367" y="117"/>
                    <a:pt x="367" y="117"/>
                    <a:pt x="367" y="117"/>
                  </a:cubicBezTo>
                  <a:cubicBezTo>
                    <a:pt x="368" y="117"/>
                    <a:pt x="368" y="117"/>
                    <a:pt x="368" y="118"/>
                  </a:cubicBezTo>
                  <a:cubicBezTo>
                    <a:pt x="369" y="118"/>
                    <a:pt x="369" y="119"/>
                    <a:pt x="369" y="119"/>
                  </a:cubicBezTo>
                  <a:cubicBezTo>
                    <a:pt x="369" y="119"/>
                    <a:pt x="369" y="119"/>
                    <a:pt x="369" y="120"/>
                  </a:cubicBezTo>
                  <a:cubicBezTo>
                    <a:pt x="369" y="120"/>
                    <a:pt x="370" y="120"/>
                    <a:pt x="370" y="121"/>
                  </a:cubicBezTo>
                  <a:cubicBezTo>
                    <a:pt x="370" y="121"/>
                    <a:pt x="370" y="121"/>
                    <a:pt x="370" y="120"/>
                  </a:cubicBezTo>
                  <a:cubicBezTo>
                    <a:pt x="371" y="121"/>
                    <a:pt x="371" y="122"/>
                    <a:pt x="371" y="122"/>
                  </a:cubicBezTo>
                  <a:cubicBezTo>
                    <a:pt x="371" y="123"/>
                    <a:pt x="371" y="123"/>
                    <a:pt x="372" y="123"/>
                  </a:cubicBezTo>
                  <a:cubicBezTo>
                    <a:pt x="372" y="124"/>
                    <a:pt x="372" y="124"/>
                    <a:pt x="373" y="124"/>
                  </a:cubicBezTo>
                  <a:cubicBezTo>
                    <a:pt x="373" y="124"/>
                    <a:pt x="373" y="124"/>
                    <a:pt x="373" y="125"/>
                  </a:cubicBezTo>
                  <a:cubicBezTo>
                    <a:pt x="373" y="125"/>
                    <a:pt x="373" y="125"/>
                    <a:pt x="374" y="125"/>
                  </a:cubicBezTo>
                  <a:cubicBezTo>
                    <a:pt x="374" y="126"/>
                    <a:pt x="374" y="126"/>
                    <a:pt x="374" y="126"/>
                  </a:cubicBezTo>
                  <a:cubicBezTo>
                    <a:pt x="374" y="127"/>
                    <a:pt x="375" y="127"/>
                    <a:pt x="375" y="127"/>
                  </a:cubicBezTo>
                  <a:cubicBezTo>
                    <a:pt x="375" y="128"/>
                    <a:pt x="374" y="128"/>
                    <a:pt x="374" y="128"/>
                  </a:cubicBezTo>
                  <a:cubicBezTo>
                    <a:pt x="374" y="127"/>
                    <a:pt x="374" y="128"/>
                    <a:pt x="374" y="128"/>
                  </a:cubicBezTo>
                  <a:cubicBezTo>
                    <a:pt x="373" y="129"/>
                    <a:pt x="373" y="129"/>
                    <a:pt x="374" y="130"/>
                  </a:cubicBezTo>
                  <a:cubicBezTo>
                    <a:pt x="374" y="130"/>
                    <a:pt x="374" y="131"/>
                    <a:pt x="374" y="131"/>
                  </a:cubicBezTo>
                  <a:cubicBezTo>
                    <a:pt x="374" y="131"/>
                    <a:pt x="374" y="132"/>
                    <a:pt x="374" y="132"/>
                  </a:cubicBezTo>
                  <a:cubicBezTo>
                    <a:pt x="374" y="133"/>
                    <a:pt x="374" y="134"/>
                    <a:pt x="374" y="134"/>
                  </a:cubicBezTo>
                  <a:cubicBezTo>
                    <a:pt x="374" y="135"/>
                    <a:pt x="374" y="135"/>
                    <a:pt x="374" y="136"/>
                  </a:cubicBezTo>
                  <a:cubicBezTo>
                    <a:pt x="374" y="137"/>
                    <a:pt x="374" y="139"/>
                    <a:pt x="374" y="140"/>
                  </a:cubicBezTo>
                  <a:cubicBezTo>
                    <a:pt x="374" y="139"/>
                    <a:pt x="373" y="138"/>
                    <a:pt x="373" y="138"/>
                  </a:cubicBezTo>
                  <a:cubicBezTo>
                    <a:pt x="373" y="137"/>
                    <a:pt x="373" y="137"/>
                    <a:pt x="373" y="137"/>
                  </a:cubicBezTo>
                  <a:cubicBezTo>
                    <a:pt x="373" y="137"/>
                    <a:pt x="373" y="137"/>
                    <a:pt x="373" y="137"/>
                  </a:cubicBezTo>
                  <a:cubicBezTo>
                    <a:pt x="372" y="136"/>
                    <a:pt x="372" y="136"/>
                    <a:pt x="372" y="136"/>
                  </a:cubicBezTo>
                  <a:cubicBezTo>
                    <a:pt x="371" y="135"/>
                    <a:pt x="371" y="135"/>
                    <a:pt x="371" y="134"/>
                  </a:cubicBezTo>
                  <a:cubicBezTo>
                    <a:pt x="371" y="134"/>
                    <a:pt x="370" y="134"/>
                    <a:pt x="370" y="133"/>
                  </a:cubicBezTo>
                  <a:cubicBezTo>
                    <a:pt x="370" y="133"/>
                    <a:pt x="371" y="133"/>
                    <a:pt x="371" y="133"/>
                  </a:cubicBezTo>
                  <a:cubicBezTo>
                    <a:pt x="371" y="133"/>
                    <a:pt x="371" y="133"/>
                    <a:pt x="371" y="133"/>
                  </a:cubicBezTo>
                  <a:cubicBezTo>
                    <a:pt x="371" y="132"/>
                    <a:pt x="371" y="132"/>
                    <a:pt x="370" y="132"/>
                  </a:cubicBezTo>
                  <a:cubicBezTo>
                    <a:pt x="370" y="132"/>
                    <a:pt x="370" y="132"/>
                    <a:pt x="369" y="131"/>
                  </a:cubicBezTo>
                  <a:cubicBezTo>
                    <a:pt x="369" y="131"/>
                    <a:pt x="369" y="130"/>
                    <a:pt x="369" y="130"/>
                  </a:cubicBezTo>
                  <a:cubicBezTo>
                    <a:pt x="368" y="129"/>
                    <a:pt x="369" y="129"/>
                    <a:pt x="369" y="129"/>
                  </a:cubicBezTo>
                  <a:cubicBezTo>
                    <a:pt x="369" y="129"/>
                    <a:pt x="369" y="128"/>
                    <a:pt x="369" y="128"/>
                  </a:cubicBezTo>
                  <a:cubicBezTo>
                    <a:pt x="370" y="128"/>
                    <a:pt x="370" y="128"/>
                    <a:pt x="370" y="128"/>
                  </a:cubicBezTo>
                  <a:cubicBezTo>
                    <a:pt x="371" y="128"/>
                    <a:pt x="371" y="127"/>
                    <a:pt x="371" y="126"/>
                  </a:cubicBezTo>
                  <a:cubicBezTo>
                    <a:pt x="370" y="126"/>
                    <a:pt x="370" y="126"/>
                    <a:pt x="370" y="126"/>
                  </a:cubicBezTo>
                  <a:cubicBezTo>
                    <a:pt x="370" y="126"/>
                    <a:pt x="370" y="127"/>
                    <a:pt x="370" y="127"/>
                  </a:cubicBezTo>
                  <a:cubicBezTo>
                    <a:pt x="369" y="127"/>
                    <a:pt x="369" y="126"/>
                    <a:pt x="369" y="126"/>
                  </a:cubicBezTo>
                  <a:cubicBezTo>
                    <a:pt x="369" y="126"/>
                    <a:pt x="369" y="126"/>
                    <a:pt x="369" y="126"/>
                  </a:cubicBezTo>
                  <a:cubicBezTo>
                    <a:pt x="369" y="127"/>
                    <a:pt x="369" y="127"/>
                    <a:pt x="369" y="127"/>
                  </a:cubicBezTo>
                  <a:cubicBezTo>
                    <a:pt x="369" y="128"/>
                    <a:pt x="369" y="128"/>
                    <a:pt x="368" y="128"/>
                  </a:cubicBezTo>
                  <a:cubicBezTo>
                    <a:pt x="368" y="128"/>
                    <a:pt x="368" y="128"/>
                    <a:pt x="368" y="127"/>
                  </a:cubicBezTo>
                  <a:cubicBezTo>
                    <a:pt x="367" y="127"/>
                    <a:pt x="367" y="127"/>
                    <a:pt x="367" y="126"/>
                  </a:cubicBezTo>
                  <a:cubicBezTo>
                    <a:pt x="366" y="125"/>
                    <a:pt x="366" y="124"/>
                    <a:pt x="365" y="123"/>
                  </a:cubicBezTo>
                  <a:cubicBezTo>
                    <a:pt x="364" y="123"/>
                    <a:pt x="365" y="122"/>
                    <a:pt x="365" y="121"/>
                  </a:cubicBezTo>
                  <a:cubicBezTo>
                    <a:pt x="364" y="121"/>
                    <a:pt x="364" y="121"/>
                    <a:pt x="364" y="120"/>
                  </a:cubicBezTo>
                  <a:cubicBezTo>
                    <a:pt x="363" y="120"/>
                    <a:pt x="363" y="119"/>
                    <a:pt x="363" y="119"/>
                  </a:cubicBezTo>
                  <a:cubicBezTo>
                    <a:pt x="363" y="118"/>
                    <a:pt x="362" y="117"/>
                    <a:pt x="362" y="117"/>
                  </a:cubicBezTo>
                  <a:cubicBezTo>
                    <a:pt x="362" y="116"/>
                    <a:pt x="362" y="116"/>
                    <a:pt x="363" y="116"/>
                  </a:cubicBezTo>
                  <a:cubicBezTo>
                    <a:pt x="363" y="116"/>
                    <a:pt x="363" y="116"/>
                    <a:pt x="363" y="117"/>
                  </a:cubicBezTo>
                  <a:cubicBezTo>
                    <a:pt x="364" y="117"/>
                    <a:pt x="364" y="117"/>
                    <a:pt x="364" y="117"/>
                  </a:cubicBezTo>
                  <a:close/>
                  <a:moveTo>
                    <a:pt x="181" y="390"/>
                  </a:moveTo>
                  <a:cubicBezTo>
                    <a:pt x="180" y="390"/>
                    <a:pt x="180" y="388"/>
                    <a:pt x="181" y="388"/>
                  </a:cubicBezTo>
                  <a:cubicBezTo>
                    <a:pt x="183" y="388"/>
                    <a:pt x="183" y="390"/>
                    <a:pt x="184" y="390"/>
                  </a:cubicBezTo>
                  <a:cubicBezTo>
                    <a:pt x="185" y="390"/>
                    <a:pt x="187" y="390"/>
                    <a:pt x="187" y="391"/>
                  </a:cubicBezTo>
                  <a:cubicBezTo>
                    <a:pt x="188" y="392"/>
                    <a:pt x="186" y="392"/>
                    <a:pt x="186" y="392"/>
                  </a:cubicBezTo>
                  <a:cubicBezTo>
                    <a:pt x="185" y="392"/>
                    <a:pt x="184" y="391"/>
                    <a:pt x="183" y="391"/>
                  </a:cubicBezTo>
                  <a:cubicBezTo>
                    <a:pt x="182" y="391"/>
                    <a:pt x="181" y="391"/>
                    <a:pt x="181" y="390"/>
                  </a:cubicBezTo>
                  <a:close/>
                  <a:moveTo>
                    <a:pt x="188" y="383"/>
                  </a:moveTo>
                  <a:cubicBezTo>
                    <a:pt x="187" y="384"/>
                    <a:pt x="186" y="383"/>
                    <a:pt x="186" y="383"/>
                  </a:cubicBezTo>
                  <a:cubicBezTo>
                    <a:pt x="185" y="381"/>
                    <a:pt x="186" y="381"/>
                    <a:pt x="188" y="382"/>
                  </a:cubicBezTo>
                  <a:cubicBezTo>
                    <a:pt x="188" y="383"/>
                    <a:pt x="188" y="383"/>
                    <a:pt x="188" y="383"/>
                  </a:cubicBezTo>
                  <a:close/>
                  <a:moveTo>
                    <a:pt x="183" y="387"/>
                  </a:moveTo>
                  <a:cubicBezTo>
                    <a:pt x="182" y="387"/>
                    <a:pt x="186" y="387"/>
                    <a:pt x="186" y="388"/>
                  </a:cubicBezTo>
                  <a:cubicBezTo>
                    <a:pt x="185" y="389"/>
                    <a:pt x="183" y="388"/>
                    <a:pt x="183" y="387"/>
                  </a:cubicBezTo>
                  <a:close/>
                  <a:moveTo>
                    <a:pt x="229" y="443"/>
                  </a:moveTo>
                  <a:cubicBezTo>
                    <a:pt x="229" y="443"/>
                    <a:pt x="229" y="444"/>
                    <a:pt x="229" y="444"/>
                  </a:cubicBezTo>
                  <a:cubicBezTo>
                    <a:pt x="230" y="444"/>
                    <a:pt x="230" y="444"/>
                    <a:pt x="230" y="444"/>
                  </a:cubicBezTo>
                  <a:cubicBezTo>
                    <a:pt x="230" y="444"/>
                    <a:pt x="229" y="444"/>
                    <a:pt x="229" y="444"/>
                  </a:cubicBezTo>
                  <a:cubicBezTo>
                    <a:pt x="229" y="444"/>
                    <a:pt x="229" y="444"/>
                    <a:pt x="229" y="443"/>
                  </a:cubicBezTo>
                  <a:close/>
                  <a:moveTo>
                    <a:pt x="183" y="383"/>
                  </a:moveTo>
                  <a:cubicBezTo>
                    <a:pt x="183" y="383"/>
                    <a:pt x="183" y="383"/>
                    <a:pt x="183" y="383"/>
                  </a:cubicBezTo>
                  <a:cubicBezTo>
                    <a:pt x="183" y="383"/>
                    <a:pt x="184" y="384"/>
                    <a:pt x="183" y="384"/>
                  </a:cubicBezTo>
                  <a:cubicBezTo>
                    <a:pt x="182" y="384"/>
                    <a:pt x="181" y="383"/>
                    <a:pt x="183" y="383"/>
                  </a:cubicBezTo>
                  <a:close/>
                  <a:moveTo>
                    <a:pt x="201" y="386"/>
                  </a:moveTo>
                  <a:cubicBezTo>
                    <a:pt x="201" y="387"/>
                    <a:pt x="201" y="387"/>
                    <a:pt x="201" y="386"/>
                  </a:cubicBezTo>
                  <a:cubicBezTo>
                    <a:pt x="200" y="386"/>
                    <a:pt x="200" y="384"/>
                    <a:pt x="201" y="384"/>
                  </a:cubicBezTo>
                  <a:cubicBezTo>
                    <a:pt x="201" y="384"/>
                    <a:pt x="201" y="384"/>
                    <a:pt x="201" y="384"/>
                  </a:cubicBezTo>
                  <a:cubicBezTo>
                    <a:pt x="201" y="385"/>
                    <a:pt x="202" y="385"/>
                    <a:pt x="201" y="386"/>
                  </a:cubicBezTo>
                  <a:close/>
                  <a:moveTo>
                    <a:pt x="179" y="387"/>
                  </a:moveTo>
                  <a:cubicBezTo>
                    <a:pt x="180" y="387"/>
                    <a:pt x="180" y="387"/>
                    <a:pt x="181" y="387"/>
                  </a:cubicBezTo>
                  <a:cubicBezTo>
                    <a:pt x="181" y="387"/>
                    <a:pt x="181" y="388"/>
                    <a:pt x="181" y="388"/>
                  </a:cubicBezTo>
                  <a:cubicBezTo>
                    <a:pt x="180" y="388"/>
                    <a:pt x="179" y="388"/>
                    <a:pt x="179" y="387"/>
                  </a:cubicBezTo>
                  <a:cubicBezTo>
                    <a:pt x="179" y="387"/>
                    <a:pt x="179" y="387"/>
                    <a:pt x="179" y="387"/>
                  </a:cubicBezTo>
                  <a:close/>
                  <a:moveTo>
                    <a:pt x="228" y="441"/>
                  </a:moveTo>
                  <a:cubicBezTo>
                    <a:pt x="228" y="441"/>
                    <a:pt x="228" y="441"/>
                    <a:pt x="228" y="442"/>
                  </a:cubicBezTo>
                  <a:cubicBezTo>
                    <a:pt x="228" y="442"/>
                    <a:pt x="228" y="442"/>
                    <a:pt x="228" y="442"/>
                  </a:cubicBezTo>
                  <a:cubicBezTo>
                    <a:pt x="228" y="442"/>
                    <a:pt x="229" y="443"/>
                    <a:pt x="228" y="443"/>
                  </a:cubicBezTo>
                  <a:cubicBezTo>
                    <a:pt x="228" y="443"/>
                    <a:pt x="227" y="443"/>
                    <a:pt x="227" y="443"/>
                  </a:cubicBezTo>
                  <a:cubicBezTo>
                    <a:pt x="227" y="443"/>
                    <a:pt x="228" y="442"/>
                    <a:pt x="227" y="442"/>
                  </a:cubicBezTo>
                  <a:cubicBezTo>
                    <a:pt x="226" y="442"/>
                    <a:pt x="227" y="441"/>
                    <a:pt x="228" y="441"/>
                  </a:cubicBezTo>
                  <a:close/>
                  <a:moveTo>
                    <a:pt x="218" y="340"/>
                  </a:moveTo>
                  <a:cubicBezTo>
                    <a:pt x="218" y="341"/>
                    <a:pt x="219" y="340"/>
                    <a:pt x="219" y="341"/>
                  </a:cubicBezTo>
                  <a:cubicBezTo>
                    <a:pt x="220" y="341"/>
                    <a:pt x="219" y="342"/>
                    <a:pt x="219" y="343"/>
                  </a:cubicBezTo>
                  <a:cubicBezTo>
                    <a:pt x="218" y="343"/>
                    <a:pt x="218" y="341"/>
                    <a:pt x="217" y="341"/>
                  </a:cubicBezTo>
                  <a:cubicBezTo>
                    <a:pt x="217" y="341"/>
                    <a:pt x="216" y="341"/>
                    <a:pt x="215" y="341"/>
                  </a:cubicBezTo>
                  <a:cubicBezTo>
                    <a:pt x="215" y="340"/>
                    <a:pt x="215" y="340"/>
                    <a:pt x="216" y="340"/>
                  </a:cubicBezTo>
                  <a:cubicBezTo>
                    <a:pt x="216" y="340"/>
                    <a:pt x="218" y="339"/>
                    <a:pt x="218" y="340"/>
                  </a:cubicBezTo>
                  <a:close/>
                  <a:moveTo>
                    <a:pt x="216" y="356"/>
                  </a:moveTo>
                  <a:cubicBezTo>
                    <a:pt x="217" y="356"/>
                    <a:pt x="218" y="356"/>
                    <a:pt x="218" y="356"/>
                  </a:cubicBezTo>
                  <a:cubicBezTo>
                    <a:pt x="218" y="357"/>
                    <a:pt x="217" y="357"/>
                    <a:pt x="217" y="357"/>
                  </a:cubicBezTo>
                  <a:cubicBezTo>
                    <a:pt x="216" y="357"/>
                    <a:pt x="216" y="357"/>
                    <a:pt x="215" y="357"/>
                  </a:cubicBezTo>
                  <a:cubicBezTo>
                    <a:pt x="215" y="357"/>
                    <a:pt x="215" y="357"/>
                    <a:pt x="214" y="357"/>
                  </a:cubicBezTo>
                  <a:cubicBezTo>
                    <a:pt x="213" y="357"/>
                    <a:pt x="214" y="356"/>
                    <a:pt x="214" y="356"/>
                  </a:cubicBezTo>
                  <a:cubicBezTo>
                    <a:pt x="215" y="356"/>
                    <a:pt x="215" y="356"/>
                    <a:pt x="216" y="356"/>
                  </a:cubicBezTo>
                  <a:close/>
                  <a:moveTo>
                    <a:pt x="237" y="369"/>
                  </a:moveTo>
                  <a:cubicBezTo>
                    <a:pt x="236" y="369"/>
                    <a:pt x="237" y="369"/>
                    <a:pt x="238" y="369"/>
                  </a:cubicBezTo>
                  <a:cubicBezTo>
                    <a:pt x="238" y="369"/>
                    <a:pt x="239" y="369"/>
                    <a:pt x="240" y="369"/>
                  </a:cubicBezTo>
                  <a:cubicBezTo>
                    <a:pt x="240" y="369"/>
                    <a:pt x="240" y="370"/>
                    <a:pt x="240" y="370"/>
                  </a:cubicBezTo>
                  <a:cubicBezTo>
                    <a:pt x="239" y="370"/>
                    <a:pt x="239" y="370"/>
                    <a:pt x="239" y="370"/>
                  </a:cubicBezTo>
                  <a:cubicBezTo>
                    <a:pt x="238" y="370"/>
                    <a:pt x="238" y="369"/>
                    <a:pt x="237" y="369"/>
                  </a:cubicBezTo>
                  <a:close/>
                  <a:moveTo>
                    <a:pt x="202" y="345"/>
                  </a:moveTo>
                  <a:cubicBezTo>
                    <a:pt x="202" y="346"/>
                    <a:pt x="201" y="345"/>
                    <a:pt x="201" y="345"/>
                  </a:cubicBezTo>
                  <a:cubicBezTo>
                    <a:pt x="200" y="345"/>
                    <a:pt x="202" y="344"/>
                    <a:pt x="202" y="345"/>
                  </a:cubicBezTo>
                  <a:close/>
                  <a:moveTo>
                    <a:pt x="238" y="350"/>
                  </a:moveTo>
                  <a:cubicBezTo>
                    <a:pt x="239" y="350"/>
                    <a:pt x="237" y="351"/>
                    <a:pt x="237" y="351"/>
                  </a:cubicBezTo>
                  <a:cubicBezTo>
                    <a:pt x="236" y="351"/>
                    <a:pt x="235" y="352"/>
                    <a:pt x="234" y="352"/>
                  </a:cubicBezTo>
                  <a:cubicBezTo>
                    <a:pt x="234" y="352"/>
                    <a:pt x="233" y="352"/>
                    <a:pt x="233" y="352"/>
                  </a:cubicBezTo>
                  <a:cubicBezTo>
                    <a:pt x="232" y="352"/>
                    <a:pt x="233" y="353"/>
                    <a:pt x="232" y="353"/>
                  </a:cubicBezTo>
                  <a:cubicBezTo>
                    <a:pt x="231" y="353"/>
                    <a:pt x="231" y="354"/>
                    <a:pt x="231" y="354"/>
                  </a:cubicBezTo>
                  <a:cubicBezTo>
                    <a:pt x="230" y="355"/>
                    <a:pt x="229" y="354"/>
                    <a:pt x="228" y="355"/>
                  </a:cubicBezTo>
                  <a:cubicBezTo>
                    <a:pt x="226" y="356"/>
                    <a:pt x="225" y="355"/>
                    <a:pt x="223" y="355"/>
                  </a:cubicBezTo>
                  <a:cubicBezTo>
                    <a:pt x="222" y="355"/>
                    <a:pt x="223" y="355"/>
                    <a:pt x="224" y="355"/>
                  </a:cubicBezTo>
                  <a:cubicBezTo>
                    <a:pt x="225" y="355"/>
                    <a:pt x="225" y="354"/>
                    <a:pt x="226" y="354"/>
                  </a:cubicBezTo>
                  <a:cubicBezTo>
                    <a:pt x="227" y="353"/>
                    <a:pt x="228" y="354"/>
                    <a:pt x="228" y="353"/>
                  </a:cubicBezTo>
                  <a:cubicBezTo>
                    <a:pt x="227" y="352"/>
                    <a:pt x="227" y="352"/>
                    <a:pt x="227" y="351"/>
                  </a:cubicBezTo>
                  <a:cubicBezTo>
                    <a:pt x="226" y="351"/>
                    <a:pt x="227" y="350"/>
                    <a:pt x="227" y="350"/>
                  </a:cubicBezTo>
                  <a:cubicBezTo>
                    <a:pt x="228" y="350"/>
                    <a:pt x="228" y="349"/>
                    <a:pt x="228" y="349"/>
                  </a:cubicBezTo>
                  <a:cubicBezTo>
                    <a:pt x="229" y="349"/>
                    <a:pt x="230" y="350"/>
                    <a:pt x="230" y="349"/>
                  </a:cubicBezTo>
                  <a:cubicBezTo>
                    <a:pt x="232" y="349"/>
                    <a:pt x="233" y="349"/>
                    <a:pt x="234" y="348"/>
                  </a:cubicBezTo>
                  <a:cubicBezTo>
                    <a:pt x="235" y="348"/>
                    <a:pt x="235" y="349"/>
                    <a:pt x="236" y="349"/>
                  </a:cubicBezTo>
                  <a:cubicBezTo>
                    <a:pt x="236" y="349"/>
                    <a:pt x="236" y="350"/>
                    <a:pt x="237" y="350"/>
                  </a:cubicBezTo>
                  <a:cubicBezTo>
                    <a:pt x="237" y="350"/>
                    <a:pt x="237" y="350"/>
                    <a:pt x="238" y="350"/>
                  </a:cubicBezTo>
                  <a:close/>
                  <a:moveTo>
                    <a:pt x="226" y="444"/>
                  </a:moveTo>
                  <a:cubicBezTo>
                    <a:pt x="226" y="444"/>
                    <a:pt x="227" y="443"/>
                    <a:pt x="227" y="444"/>
                  </a:cubicBezTo>
                  <a:cubicBezTo>
                    <a:pt x="227" y="444"/>
                    <a:pt x="226" y="444"/>
                    <a:pt x="226" y="444"/>
                  </a:cubicBezTo>
                  <a:close/>
                  <a:moveTo>
                    <a:pt x="206" y="344"/>
                  </a:moveTo>
                  <a:cubicBezTo>
                    <a:pt x="205" y="344"/>
                    <a:pt x="203" y="346"/>
                    <a:pt x="202" y="345"/>
                  </a:cubicBezTo>
                  <a:cubicBezTo>
                    <a:pt x="202" y="344"/>
                    <a:pt x="204" y="344"/>
                    <a:pt x="204" y="344"/>
                  </a:cubicBezTo>
                  <a:cubicBezTo>
                    <a:pt x="204" y="344"/>
                    <a:pt x="205" y="344"/>
                    <a:pt x="205" y="344"/>
                  </a:cubicBezTo>
                  <a:cubicBezTo>
                    <a:pt x="206" y="344"/>
                    <a:pt x="206" y="343"/>
                    <a:pt x="206" y="343"/>
                  </a:cubicBezTo>
                  <a:cubicBezTo>
                    <a:pt x="207" y="343"/>
                    <a:pt x="206" y="344"/>
                    <a:pt x="206" y="344"/>
                  </a:cubicBezTo>
                  <a:close/>
                  <a:moveTo>
                    <a:pt x="35" y="202"/>
                  </a:moveTo>
                  <a:cubicBezTo>
                    <a:pt x="34" y="202"/>
                    <a:pt x="34" y="202"/>
                    <a:pt x="33" y="200"/>
                  </a:cubicBezTo>
                  <a:cubicBezTo>
                    <a:pt x="34" y="200"/>
                    <a:pt x="34" y="200"/>
                    <a:pt x="34" y="200"/>
                  </a:cubicBezTo>
                  <a:cubicBezTo>
                    <a:pt x="36" y="199"/>
                    <a:pt x="38" y="199"/>
                    <a:pt x="40" y="199"/>
                  </a:cubicBezTo>
                  <a:cubicBezTo>
                    <a:pt x="40" y="200"/>
                    <a:pt x="39" y="201"/>
                    <a:pt x="39" y="201"/>
                  </a:cubicBezTo>
                  <a:cubicBezTo>
                    <a:pt x="38" y="201"/>
                    <a:pt x="38" y="201"/>
                    <a:pt x="37" y="202"/>
                  </a:cubicBezTo>
                  <a:cubicBezTo>
                    <a:pt x="37" y="203"/>
                    <a:pt x="36" y="202"/>
                    <a:pt x="35" y="202"/>
                  </a:cubicBezTo>
                  <a:close/>
                  <a:moveTo>
                    <a:pt x="230" y="447"/>
                  </a:moveTo>
                  <a:cubicBezTo>
                    <a:pt x="230" y="447"/>
                    <a:pt x="229" y="447"/>
                    <a:pt x="229" y="447"/>
                  </a:cubicBezTo>
                  <a:cubicBezTo>
                    <a:pt x="229" y="446"/>
                    <a:pt x="229" y="446"/>
                    <a:pt x="229" y="446"/>
                  </a:cubicBezTo>
                  <a:cubicBezTo>
                    <a:pt x="229" y="446"/>
                    <a:pt x="229" y="446"/>
                    <a:pt x="229" y="446"/>
                  </a:cubicBezTo>
                  <a:cubicBezTo>
                    <a:pt x="229" y="446"/>
                    <a:pt x="230" y="446"/>
                    <a:pt x="230" y="446"/>
                  </a:cubicBezTo>
                  <a:cubicBezTo>
                    <a:pt x="230" y="446"/>
                    <a:pt x="230" y="447"/>
                    <a:pt x="230" y="447"/>
                  </a:cubicBezTo>
                  <a:close/>
                  <a:moveTo>
                    <a:pt x="231" y="450"/>
                  </a:moveTo>
                  <a:cubicBezTo>
                    <a:pt x="231" y="450"/>
                    <a:pt x="230" y="449"/>
                    <a:pt x="230" y="449"/>
                  </a:cubicBezTo>
                  <a:cubicBezTo>
                    <a:pt x="230" y="449"/>
                    <a:pt x="230" y="449"/>
                    <a:pt x="230" y="449"/>
                  </a:cubicBezTo>
                  <a:cubicBezTo>
                    <a:pt x="231" y="448"/>
                    <a:pt x="231" y="449"/>
                    <a:pt x="231" y="450"/>
                  </a:cubicBezTo>
                  <a:close/>
                  <a:moveTo>
                    <a:pt x="242" y="449"/>
                  </a:moveTo>
                  <a:cubicBezTo>
                    <a:pt x="242" y="449"/>
                    <a:pt x="242" y="449"/>
                    <a:pt x="242" y="449"/>
                  </a:cubicBezTo>
                  <a:cubicBezTo>
                    <a:pt x="240" y="449"/>
                    <a:pt x="239" y="449"/>
                    <a:pt x="237" y="449"/>
                  </a:cubicBezTo>
                  <a:cubicBezTo>
                    <a:pt x="236" y="449"/>
                    <a:pt x="235" y="449"/>
                    <a:pt x="235" y="449"/>
                  </a:cubicBezTo>
                  <a:cubicBezTo>
                    <a:pt x="235" y="449"/>
                    <a:pt x="235" y="449"/>
                    <a:pt x="235" y="448"/>
                  </a:cubicBezTo>
                  <a:cubicBezTo>
                    <a:pt x="235" y="448"/>
                    <a:pt x="235" y="448"/>
                    <a:pt x="234" y="448"/>
                  </a:cubicBezTo>
                  <a:cubicBezTo>
                    <a:pt x="234" y="448"/>
                    <a:pt x="233" y="448"/>
                    <a:pt x="233" y="448"/>
                  </a:cubicBezTo>
                  <a:cubicBezTo>
                    <a:pt x="233" y="448"/>
                    <a:pt x="233" y="448"/>
                    <a:pt x="232" y="448"/>
                  </a:cubicBezTo>
                  <a:cubicBezTo>
                    <a:pt x="232" y="447"/>
                    <a:pt x="232" y="447"/>
                    <a:pt x="232" y="447"/>
                  </a:cubicBezTo>
                  <a:cubicBezTo>
                    <a:pt x="232" y="447"/>
                    <a:pt x="232" y="447"/>
                    <a:pt x="232" y="447"/>
                  </a:cubicBezTo>
                  <a:cubicBezTo>
                    <a:pt x="232" y="447"/>
                    <a:pt x="232" y="447"/>
                    <a:pt x="232" y="447"/>
                  </a:cubicBezTo>
                  <a:cubicBezTo>
                    <a:pt x="232" y="447"/>
                    <a:pt x="231" y="447"/>
                    <a:pt x="231" y="447"/>
                  </a:cubicBezTo>
                  <a:cubicBezTo>
                    <a:pt x="230" y="447"/>
                    <a:pt x="230" y="447"/>
                    <a:pt x="230" y="447"/>
                  </a:cubicBezTo>
                  <a:cubicBezTo>
                    <a:pt x="230" y="447"/>
                    <a:pt x="230" y="447"/>
                    <a:pt x="230" y="447"/>
                  </a:cubicBezTo>
                  <a:cubicBezTo>
                    <a:pt x="230" y="447"/>
                    <a:pt x="230" y="447"/>
                    <a:pt x="231" y="447"/>
                  </a:cubicBezTo>
                  <a:cubicBezTo>
                    <a:pt x="231" y="446"/>
                    <a:pt x="231" y="446"/>
                    <a:pt x="231" y="446"/>
                  </a:cubicBezTo>
                  <a:cubicBezTo>
                    <a:pt x="231" y="446"/>
                    <a:pt x="231" y="446"/>
                    <a:pt x="230" y="446"/>
                  </a:cubicBezTo>
                  <a:cubicBezTo>
                    <a:pt x="230" y="446"/>
                    <a:pt x="230" y="446"/>
                    <a:pt x="230" y="445"/>
                  </a:cubicBezTo>
                  <a:cubicBezTo>
                    <a:pt x="230" y="445"/>
                    <a:pt x="230" y="445"/>
                    <a:pt x="230" y="445"/>
                  </a:cubicBezTo>
                  <a:cubicBezTo>
                    <a:pt x="229" y="445"/>
                    <a:pt x="229" y="445"/>
                    <a:pt x="229" y="445"/>
                  </a:cubicBezTo>
                  <a:cubicBezTo>
                    <a:pt x="228" y="445"/>
                    <a:pt x="228" y="445"/>
                    <a:pt x="228" y="444"/>
                  </a:cubicBezTo>
                  <a:cubicBezTo>
                    <a:pt x="228" y="444"/>
                    <a:pt x="228" y="444"/>
                    <a:pt x="229" y="444"/>
                  </a:cubicBezTo>
                  <a:cubicBezTo>
                    <a:pt x="229" y="444"/>
                    <a:pt x="230" y="445"/>
                    <a:pt x="230" y="444"/>
                  </a:cubicBezTo>
                  <a:cubicBezTo>
                    <a:pt x="230" y="444"/>
                    <a:pt x="230" y="444"/>
                    <a:pt x="230" y="444"/>
                  </a:cubicBezTo>
                  <a:cubicBezTo>
                    <a:pt x="230" y="444"/>
                    <a:pt x="230" y="444"/>
                    <a:pt x="231" y="444"/>
                  </a:cubicBezTo>
                  <a:cubicBezTo>
                    <a:pt x="231" y="444"/>
                    <a:pt x="231" y="444"/>
                    <a:pt x="231" y="444"/>
                  </a:cubicBezTo>
                  <a:cubicBezTo>
                    <a:pt x="231" y="443"/>
                    <a:pt x="230" y="443"/>
                    <a:pt x="230" y="443"/>
                  </a:cubicBezTo>
                  <a:cubicBezTo>
                    <a:pt x="230" y="442"/>
                    <a:pt x="230" y="442"/>
                    <a:pt x="230" y="441"/>
                  </a:cubicBezTo>
                  <a:cubicBezTo>
                    <a:pt x="230" y="441"/>
                    <a:pt x="231" y="440"/>
                    <a:pt x="230" y="440"/>
                  </a:cubicBezTo>
                  <a:cubicBezTo>
                    <a:pt x="229" y="440"/>
                    <a:pt x="229" y="441"/>
                    <a:pt x="228" y="440"/>
                  </a:cubicBezTo>
                  <a:cubicBezTo>
                    <a:pt x="228" y="440"/>
                    <a:pt x="227" y="440"/>
                    <a:pt x="227" y="439"/>
                  </a:cubicBezTo>
                  <a:cubicBezTo>
                    <a:pt x="227" y="439"/>
                    <a:pt x="228" y="439"/>
                    <a:pt x="228" y="439"/>
                  </a:cubicBezTo>
                  <a:cubicBezTo>
                    <a:pt x="228" y="439"/>
                    <a:pt x="228" y="439"/>
                    <a:pt x="228" y="438"/>
                  </a:cubicBezTo>
                  <a:cubicBezTo>
                    <a:pt x="228" y="438"/>
                    <a:pt x="227" y="438"/>
                    <a:pt x="227" y="438"/>
                  </a:cubicBezTo>
                  <a:cubicBezTo>
                    <a:pt x="227" y="437"/>
                    <a:pt x="226" y="437"/>
                    <a:pt x="226" y="437"/>
                  </a:cubicBezTo>
                  <a:cubicBezTo>
                    <a:pt x="227" y="437"/>
                    <a:pt x="227" y="437"/>
                    <a:pt x="227" y="437"/>
                  </a:cubicBezTo>
                  <a:cubicBezTo>
                    <a:pt x="227" y="436"/>
                    <a:pt x="227" y="436"/>
                    <a:pt x="227" y="436"/>
                  </a:cubicBezTo>
                  <a:cubicBezTo>
                    <a:pt x="227" y="436"/>
                    <a:pt x="227" y="435"/>
                    <a:pt x="227" y="435"/>
                  </a:cubicBezTo>
                  <a:cubicBezTo>
                    <a:pt x="228" y="434"/>
                    <a:pt x="228" y="434"/>
                    <a:pt x="228" y="434"/>
                  </a:cubicBezTo>
                  <a:cubicBezTo>
                    <a:pt x="228" y="433"/>
                    <a:pt x="228" y="433"/>
                    <a:pt x="228" y="432"/>
                  </a:cubicBezTo>
                  <a:cubicBezTo>
                    <a:pt x="228" y="432"/>
                    <a:pt x="227" y="431"/>
                    <a:pt x="227" y="430"/>
                  </a:cubicBezTo>
                  <a:cubicBezTo>
                    <a:pt x="227" y="430"/>
                    <a:pt x="227" y="430"/>
                    <a:pt x="228" y="429"/>
                  </a:cubicBezTo>
                  <a:cubicBezTo>
                    <a:pt x="228" y="429"/>
                    <a:pt x="227" y="428"/>
                    <a:pt x="227" y="428"/>
                  </a:cubicBezTo>
                  <a:cubicBezTo>
                    <a:pt x="228" y="428"/>
                    <a:pt x="227" y="427"/>
                    <a:pt x="228" y="427"/>
                  </a:cubicBezTo>
                  <a:cubicBezTo>
                    <a:pt x="228" y="427"/>
                    <a:pt x="228" y="427"/>
                    <a:pt x="228" y="426"/>
                  </a:cubicBezTo>
                  <a:cubicBezTo>
                    <a:pt x="228" y="426"/>
                    <a:pt x="228" y="426"/>
                    <a:pt x="228" y="426"/>
                  </a:cubicBezTo>
                  <a:cubicBezTo>
                    <a:pt x="228" y="426"/>
                    <a:pt x="228" y="426"/>
                    <a:pt x="228" y="426"/>
                  </a:cubicBezTo>
                  <a:cubicBezTo>
                    <a:pt x="228" y="425"/>
                    <a:pt x="228" y="425"/>
                    <a:pt x="228" y="425"/>
                  </a:cubicBezTo>
                  <a:cubicBezTo>
                    <a:pt x="228" y="424"/>
                    <a:pt x="228" y="424"/>
                    <a:pt x="228" y="424"/>
                  </a:cubicBezTo>
                  <a:cubicBezTo>
                    <a:pt x="228" y="424"/>
                    <a:pt x="228" y="423"/>
                    <a:pt x="228" y="423"/>
                  </a:cubicBezTo>
                  <a:cubicBezTo>
                    <a:pt x="228" y="423"/>
                    <a:pt x="228" y="422"/>
                    <a:pt x="228" y="422"/>
                  </a:cubicBezTo>
                  <a:cubicBezTo>
                    <a:pt x="228" y="422"/>
                    <a:pt x="228" y="421"/>
                    <a:pt x="228" y="421"/>
                  </a:cubicBezTo>
                  <a:cubicBezTo>
                    <a:pt x="228" y="421"/>
                    <a:pt x="228" y="420"/>
                    <a:pt x="228" y="420"/>
                  </a:cubicBezTo>
                  <a:cubicBezTo>
                    <a:pt x="229" y="420"/>
                    <a:pt x="229" y="420"/>
                    <a:pt x="229" y="419"/>
                  </a:cubicBezTo>
                  <a:cubicBezTo>
                    <a:pt x="229" y="419"/>
                    <a:pt x="229" y="419"/>
                    <a:pt x="229" y="419"/>
                  </a:cubicBezTo>
                  <a:cubicBezTo>
                    <a:pt x="229" y="419"/>
                    <a:pt x="228" y="419"/>
                    <a:pt x="228" y="419"/>
                  </a:cubicBezTo>
                  <a:cubicBezTo>
                    <a:pt x="228" y="418"/>
                    <a:pt x="228" y="418"/>
                    <a:pt x="228" y="418"/>
                  </a:cubicBezTo>
                  <a:cubicBezTo>
                    <a:pt x="228" y="417"/>
                    <a:pt x="228" y="417"/>
                    <a:pt x="228" y="416"/>
                  </a:cubicBezTo>
                  <a:cubicBezTo>
                    <a:pt x="228" y="416"/>
                    <a:pt x="228" y="416"/>
                    <a:pt x="228" y="416"/>
                  </a:cubicBezTo>
                  <a:cubicBezTo>
                    <a:pt x="226" y="416"/>
                    <a:pt x="226" y="415"/>
                    <a:pt x="225" y="415"/>
                  </a:cubicBezTo>
                  <a:cubicBezTo>
                    <a:pt x="224" y="414"/>
                    <a:pt x="224" y="414"/>
                    <a:pt x="223" y="414"/>
                  </a:cubicBezTo>
                  <a:cubicBezTo>
                    <a:pt x="222" y="414"/>
                    <a:pt x="222" y="414"/>
                    <a:pt x="222" y="414"/>
                  </a:cubicBezTo>
                  <a:cubicBezTo>
                    <a:pt x="221" y="414"/>
                    <a:pt x="220" y="413"/>
                    <a:pt x="219" y="413"/>
                  </a:cubicBezTo>
                  <a:cubicBezTo>
                    <a:pt x="218" y="413"/>
                    <a:pt x="218" y="412"/>
                    <a:pt x="217" y="412"/>
                  </a:cubicBezTo>
                  <a:cubicBezTo>
                    <a:pt x="217" y="412"/>
                    <a:pt x="217" y="412"/>
                    <a:pt x="216" y="412"/>
                  </a:cubicBezTo>
                  <a:cubicBezTo>
                    <a:pt x="215" y="411"/>
                    <a:pt x="215" y="410"/>
                    <a:pt x="215" y="409"/>
                  </a:cubicBezTo>
                  <a:cubicBezTo>
                    <a:pt x="214" y="409"/>
                    <a:pt x="214" y="409"/>
                    <a:pt x="214" y="409"/>
                  </a:cubicBezTo>
                  <a:cubicBezTo>
                    <a:pt x="214" y="409"/>
                    <a:pt x="214" y="409"/>
                    <a:pt x="214" y="409"/>
                  </a:cubicBezTo>
                  <a:cubicBezTo>
                    <a:pt x="213" y="408"/>
                    <a:pt x="214" y="408"/>
                    <a:pt x="213" y="408"/>
                  </a:cubicBezTo>
                  <a:cubicBezTo>
                    <a:pt x="213" y="407"/>
                    <a:pt x="212" y="407"/>
                    <a:pt x="212" y="407"/>
                  </a:cubicBezTo>
                  <a:cubicBezTo>
                    <a:pt x="211" y="407"/>
                    <a:pt x="211" y="406"/>
                    <a:pt x="211" y="406"/>
                  </a:cubicBezTo>
                  <a:cubicBezTo>
                    <a:pt x="210" y="405"/>
                    <a:pt x="210" y="405"/>
                    <a:pt x="210" y="404"/>
                  </a:cubicBezTo>
                  <a:cubicBezTo>
                    <a:pt x="209" y="404"/>
                    <a:pt x="209" y="403"/>
                    <a:pt x="209" y="403"/>
                  </a:cubicBezTo>
                  <a:cubicBezTo>
                    <a:pt x="208" y="402"/>
                    <a:pt x="207" y="401"/>
                    <a:pt x="206" y="401"/>
                  </a:cubicBezTo>
                  <a:cubicBezTo>
                    <a:pt x="205" y="400"/>
                    <a:pt x="204" y="400"/>
                    <a:pt x="204" y="400"/>
                  </a:cubicBezTo>
                  <a:cubicBezTo>
                    <a:pt x="204" y="400"/>
                    <a:pt x="204" y="400"/>
                    <a:pt x="204" y="400"/>
                  </a:cubicBezTo>
                  <a:cubicBezTo>
                    <a:pt x="205" y="399"/>
                    <a:pt x="204" y="399"/>
                    <a:pt x="203" y="398"/>
                  </a:cubicBezTo>
                  <a:cubicBezTo>
                    <a:pt x="203" y="398"/>
                    <a:pt x="204" y="397"/>
                    <a:pt x="205" y="396"/>
                  </a:cubicBezTo>
                  <a:cubicBezTo>
                    <a:pt x="206" y="396"/>
                    <a:pt x="207" y="395"/>
                    <a:pt x="206" y="395"/>
                  </a:cubicBezTo>
                  <a:cubicBezTo>
                    <a:pt x="206" y="395"/>
                    <a:pt x="206" y="395"/>
                    <a:pt x="206" y="395"/>
                  </a:cubicBezTo>
                  <a:cubicBezTo>
                    <a:pt x="205" y="395"/>
                    <a:pt x="205" y="395"/>
                    <a:pt x="205" y="394"/>
                  </a:cubicBezTo>
                  <a:cubicBezTo>
                    <a:pt x="204" y="394"/>
                    <a:pt x="205" y="394"/>
                    <a:pt x="205" y="394"/>
                  </a:cubicBezTo>
                  <a:cubicBezTo>
                    <a:pt x="205" y="394"/>
                    <a:pt x="205" y="393"/>
                    <a:pt x="204" y="393"/>
                  </a:cubicBezTo>
                  <a:cubicBezTo>
                    <a:pt x="204" y="393"/>
                    <a:pt x="204" y="393"/>
                    <a:pt x="204" y="392"/>
                  </a:cubicBezTo>
                  <a:cubicBezTo>
                    <a:pt x="204" y="392"/>
                    <a:pt x="205" y="392"/>
                    <a:pt x="205" y="392"/>
                  </a:cubicBezTo>
                  <a:cubicBezTo>
                    <a:pt x="205" y="392"/>
                    <a:pt x="205" y="392"/>
                    <a:pt x="205" y="391"/>
                  </a:cubicBezTo>
                  <a:cubicBezTo>
                    <a:pt x="205" y="391"/>
                    <a:pt x="206" y="391"/>
                    <a:pt x="206" y="391"/>
                  </a:cubicBezTo>
                  <a:cubicBezTo>
                    <a:pt x="207" y="390"/>
                    <a:pt x="206" y="390"/>
                    <a:pt x="206" y="389"/>
                  </a:cubicBezTo>
                  <a:cubicBezTo>
                    <a:pt x="207" y="389"/>
                    <a:pt x="208" y="389"/>
                    <a:pt x="209" y="388"/>
                  </a:cubicBezTo>
                  <a:cubicBezTo>
                    <a:pt x="209" y="388"/>
                    <a:pt x="208" y="388"/>
                    <a:pt x="209" y="388"/>
                  </a:cubicBezTo>
                  <a:cubicBezTo>
                    <a:pt x="209" y="387"/>
                    <a:pt x="210" y="387"/>
                    <a:pt x="210" y="387"/>
                  </a:cubicBezTo>
                  <a:cubicBezTo>
                    <a:pt x="210" y="386"/>
                    <a:pt x="211" y="386"/>
                    <a:pt x="212" y="386"/>
                  </a:cubicBezTo>
                  <a:cubicBezTo>
                    <a:pt x="212" y="385"/>
                    <a:pt x="212" y="385"/>
                    <a:pt x="213" y="385"/>
                  </a:cubicBezTo>
                  <a:cubicBezTo>
                    <a:pt x="213" y="384"/>
                    <a:pt x="214" y="384"/>
                    <a:pt x="213" y="383"/>
                  </a:cubicBezTo>
                  <a:cubicBezTo>
                    <a:pt x="213" y="383"/>
                    <a:pt x="213" y="383"/>
                    <a:pt x="213" y="382"/>
                  </a:cubicBezTo>
                  <a:cubicBezTo>
                    <a:pt x="213" y="382"/>
                    <a:pt x="213" y="381"/>
                    <a:pt x="214" y="381"/>
                  </a:cubicBezTo>
                  <a:cubicBezTo>
                    <a:pt x="214" y="381"/>
                    <a:pt x="213" y="380"/>
                    <a:pt x="213" y="380"/>
                  </a:cubicBezTo>
                  <a:cubicBezTo>
                    <a:pt x="214" y="379"/>
                    <a:pt x="214" y="379"/>
                    <a:pt x="213" y="379"/>
                  </a:cubicBezTo>
                  <a:cubicBezTo>
                    <a:pt x="212" y="378"/>
                    <a:pt x="212" y="377"/>
                    <a:pt x="211" y="377"/>
                  </a:cubicBezTo>
                  <a:cubicBezTo>
                    <a:pt x="210" y="377"/>
                    <a:pt x="209" y="377"/>
                    <a:pt x="209" y="377"/>
                  </a:cubicBezTo>
                  <a:cubicBezTo>
                    <a:pt x="208" y="377"/>
                    <a:pt x="208" y="377"/>
                    <a:pt x="207" y="377"/>
                  </a:cubicBezTo>
                  <a:cubicBezTo>
                    <a:pt x="206" y="377"/>
                    <a:pt x="204" y="378"/>
                    <a:pt x="203" y="378"/>
                  </a:cubicBezTo>
                  <a:cubicBezTo>
                    <a:pt x="202" y="378"/>
                    <a:pt x="201" y="378"/>
                    <a:pt x="200" y="377"/>
                  </a:cubicBezTo>
                  <a:cubicBezTo>
                    <a:pt x="199" y="377"/>
                    <a:pt x="198" y="377"/>
                    <a:pt x="197" y="378"/>
                  </a:cubicBezTo>
                  <a:cubicBezTo>
                    <a:pt x="196" y="378"/>
                    <a:pt x="192" y="378"/>
                    <a:pt x="192" y="377"/>
                  </a:cubicBezTo>
                  <a:cubicBezTo>
                    <a:pt x="192" y="376"/>
                    <a:pt x="192" y="375"/>
                    <a:pt x="193" y="375"/>
                  </a:cubicBezTo>
                  <a:cubicBezTo>
                    <a:pt x="193" y="374"/>
                    <a:pt x="193" y="374"/>
                    <a:pt x="193" y="373"/>
                  </a:cubicBezTo>
                  <a:cubicBezTo>
                    <a:pt x="193" y="373"/>
                    <a:pt x="193" y="372"/>
                    <a:pt x="193" y="371"/>
                  </a:cubicBezTo>
                  <a:cubicBezTo>
                    <a:pt x="193" y="371"/>
                    <a:pt x="192" y="371"/>
                    <a:pt x="192" y="370"/>
                  </a:cubicBezTo>
                  <a:cubicBezTo>
                    <a:pt x="191" y="369"/>
                    <a:pt x="190" y="369"/>
                    <a:pt x="189" y="368"/>
                  </a:cubicBezTo>
                  <a:cubicBezTo>
                    <a:pt x="188" y="367"/>
                    <a:pt x="186" y="369"/>
                    <a:pt x="185" y="368"/>
                  </a:cubicBezTo>
                  <a:cubicBezTo>
                    <a:pt x="184" y="367"/>
                    <a:pt x="183" y="367"/>
                    <a:pt x="181" y="367"/>
                  </a:cubicBezTo>
                  <a:cubicBezTo>
                    <a:pt x="180" y="367"/>
                    <a:pt x="178" y="367"/>
                    <a:pt x="178" y="366"/>
                  </a:cubicBezTo>
                  <a:cubicBezTo>
                    <a:pt x="178" y="365"/>
                    <a:pt x="179" y="364"/>
                    <a:pt x="178" y="364"/>
                  </a:cubicBezTo>
                  <a:cubicBezTo>
                    <a:pt x="177" y="363"/>
                    <a:pt x="177" y="363"/>
                    <a:pt x="176" y="363"/>
                  </a:cubicBezTo>
                  <a:cubicBezTo>
                    <a:pt x="175" y="362"/>
                    <a:pt x="173" y="363"/>
                    <a:pt x="172" y="363"/>
                  </a:cubicBezTo>
                  <a:cubicBezTo>
                    <a:pt x="170" y="363"/>
                    <a:pt x="173" y="365"/>
                    <a:pt x="171" y="364"/>
                  </a:cubicBezTo>
                  <a:cubicBezTo>
                    <a:pt x="170" y="363"/>
                    <a:pt x="168" y="362"/>
                    <a:pt x="167" y="361"/>
                  </a:cubicBezTo>
                  <a:cubicBezTo>
                    <a:pt x="165" y="360"/>
                    <a:pt x="163" y="360"/>
                    <a:pt x="161" y="359"/>
                  </a:cubicBezTo>
                  <a:cubicBezTo>
                    <a:pt x="159" y="359"/>
                    <a:pt x="157" y="358"/>
                    <a:pt x="156" y="357"/>
                  </a:cubicBezTo>
                  <a:cubicBezTo>
                    <a:pt x="154" y="357"/>
                    <a:pt x="154" y="356"/>
                    <a:pt x="153" y="355"/>
                  </a:cubicBezTo>
                  <a:cubicBezTo>
                    <a:pt x="152" y="355"/>
                    <a:pt x="151" y="355"/>
                    <a:pt x="150" y="354"/>
                  </a:cubicBezTo>
                  <a:cubicBezTo>
                    <a:pt x="148" y="353"/>
                    <a:pt x="147" y="352"/>
                    <a:pt x="146" y="351"/>
                  </a:cubicBezTo>
                  <a:cubicBezTo>
                    <a:pt x="145" y="351"/>
                    <a:pt x="144" y="350"/>
                    <a:pt x="144" y="350"/>
                  </a:cubicBezTo>
                  <a:cubicBezTo>
                    <a:pt x="144" y="349"/>
                    <a:pt x="145" y="349"/>
                    <a:pt x="145" y="348"/>
                  </a:cubicBezTo>
                  <a:cubicBezTo>
                    <a:pt x="145" y="346"/>
                    <a:pt x="143" y="345"/>
                    <a:pt x="142" y="344"/>
                  </a:cubicBezTo>
                  <a:cubicBezTo>
                    <a:pt x="141" y="343"/>
                    <a:pt x="141" y="343"/>
                    <a:pt x="140" y="342"/>
                  </a:cubicBezTo>
                  <a:cubicBezTo>
                    <a:pt x="139" y="341"/>
                    <a:pt x="139" y="341"/>
                    <a:pt x="138" y="340"/>
                  </a:cubicBezTo>
                  <a:cubicBezTo>
                    <a:pt x="137" y="339"/>
                    <a:pt x="136" y="338"/>
                    <a:pt x="135" y="337"/>
                  </a:cubicBezTo>
                  <a:cubicBezTo>
                    <a:pt x="134" y="337"/>
                    <a:pt x="133" y="335"/>
                    <a:pt x="133" y="334"/>
                  </a:cubicBezTo>
                  <a:cubicBezTo>
                    <a:pt x="132" y="332"/>
                    <a:pt x="130" y="332"/>
                    <a:pt x="129" y="330"/>
                  </a:cubicBezTo>
                  <a:cubicBezTo>
                    <a:pt x="128" y="329"/>
                    <a:pt x="127" y="329"/>
                    <a:pt x="126" y="328"/>
                  </a:cubicBezTo>
                  <a:cubicBezTo>
                    <a:pt x="126" y="328"/>
                    <a:pt x="125" y="327"/>
                    <a:pt x="125" y="326"/>
                  </a:cubicBezTo>
                  <a:cubicBezTo>
                    <a:pt x="124" y="325"/>
                    <a:pt x="123" y="323"/>
                    <a:pt x="122" y="322"/>
                  </a:cubicBezTo>
                  <a:cubicBezTo>
                    <a:pt x="122" y="321"/>
                    <a:pt x="120" y="319"/>
                    <a:pt x="120" y="321"/>
                  </a:cubicBezTo>
                  <a:cubicBezTo>
                    <a:pt x="120" y="322"/>
                    <a:pt x="121" y="323"/>
                    <a:pt x="120" y="324"/>
                  </a:cubicBezTo>
                  <a:cubicBezTo>
                    <a:pt x="120" y="325"/>
                    <a:pt x="120" y="325"/>
                    <a:pt x="121" y="326"/>
                  </a:cubicBezTo>
                  <a:cubicBezTo>
                    <a:pt x="123" y="327"/>
                    <a:pt x="124" y="328"/>
                    <a:pt x="124" y="329"/>
                  </a:cubicBezTo>
                  <a:cubicBezTo>
                    <a:pt x="125" y="330"/>
                    <a:pt x="125" y="330"/>
                    <a:pt x="126" y="331"/>
                  </a:cubicBezTo>
                  <a:cubicBezTo>
                    <a:pt x="127" y="332"/>
                    <a:pt x="127" y="332"/>
                    <a:pt x="128" y="333"/>
                  </a:cubicBezTo>
                  <a:cubicBezTo>
                    <a:pt x="128" y="334"/>
                    <a:pt x="129" y="335"/>
                    <a:pt x="130" y="336"/>
                  </a:cubicBezTo>
                  <a:cubicBezTo>
                    <a:pt x="130" y="336"/>
                    <a:pt x="130" y="337"/>
                    <a:pt x="131" y="337"/>
                  </a:cubicBezTo>
                  <a:cubicBezTo>
                    <a:pt x="131" y="338"/>
                    <a:pt x="132" y="339"/>
                    <a:pt x="132" y="339"/>
                  </a:cubicBezTo>
                  <a:cubicBezTo>
                    <a:pt x="132" y="340"/>
                    <a:pt x="133" y="340"/>
                    <a:pt x="134" y="341"/>
                  </a:cubicBezTo>
                  <a:cubicBezTo>
                    <a:pt x="134" y="341"/>
                    <a:pt x="135" y="342"/>
                    <a:pt x="135" y="343"/>
                  </a:cubicBezTo>
                  <a:cubicBezTo>
                    <a:pt x="135" y="343"/>
                    <a:pt x="134" y="343"/>
                    <a:pt x="134" y="343"/>
                  </a:cubicBezTo>
                  <a:cubicBezTo>
                    <a:pt x="133" y="343"/>
                    <a:pt x="133" y="342"/>
                    <a:pt x="133" y="342"/>
                  </a:cubicBezTo>
                  <a:cubicBezTo>
                    <a:pt x="132" y="341"/>
                    <a:pt x="131" y="341"/>
                    <a:pt x="131" y="340"/>
                  </a:cubicBezTo>
                  <a:cubicBezTo>
                    <a:pt x="130" y="339"/>
                    <a:pt x="130" y="339"/>
                    <a:pt x="129" y="339"/>
                  </a:cubicBezTo>
                  <a:cubicBezTo>
                    <a:pt x="128" y="339"/>
                    <a:pt x="128" y="338"/>
                    <a:pt x="127" y="338"/>
                  </a:cubicBezTo>
                  <a:cubicBezTo>
                    <a:pt x="127" y="336"/>
                    <a:pt x="128" y="335"/>
                    <a:pt x="126" y="334"/>
                  </a:cubicBezTo>
                  <a:cubicBezTo>
                    <a:pt x="125" y="333"/>
                    <a:pt x="123" y="333"/>
                    <a:pt x="123" y="332"/>
                  </a:cubicBezTo>
                  <a:cubicBezTo>
                    <a:pt x="122" y="331"/>
                    <a:pt x="123" y="329"/>
                    <a:pt x="122" y="328"/>
                  </a:cubicBezTo>
                  <a:cubicBezTo>
                    <a:pt x="121" y="328"/>
                    <a:pt x="120" y="327"/>
                    <a:pt x="119" y="326"/>
                  </a:cubicBezTo>
                  <a:cubicBezTo>
                    <a:pt x="119" y="326"/>
                    <a:pt x="119" y="325"/>
                    <a:pt x="118" y="324"/>
                  </a:cubicBezTo>
                  <a:cubicBezTo>
                    <a:pt x="118" y="323"/>
                    <a:pt x="116" y="322"/>
                    <a:pt x="115" y="320"/>
                  </a:cubicBezTo>
                  <a:cubicBezTo>
                    <a:pt x="114" y="318"/>
                    <a:pt x="112" y="316"/>
                    <a:pt x="112" y="315"/>
                  </a:cubicBezTo>
                  <a:cubicBezTo>
                    <a:pt x="111" y="313"/>
                    <a:pt x="109" y="312"/>
                    <a:pt x="108" y="311"/>
                  </a:cubicBezTo>
                  <a:cubicBezTo>
                    <a:pt x="105" y="310"/>
                    <a:pt x="102" y="305"/>
                    <a:pt x="101" y="302"/>
                  </a:cubicBezTo>
                  <a:cubicBezTo>
                    <a:pt x="101" y="301"/>
                    <a:pt x="100" y="300"/>
                    <a:pt x="100" y="299"/>
                  </a:cubicBezTo>
                  <a:cubicBezTo>
                    <a:pt x="99" y="298"/>
                    <a:pt x="99" y="298"/>
                    <a:pt x="98" y="297"/>
                  </a:cubicBezTo>
                  <a:cubicBezTo>
                    <a:pt x="98" y="296"/>
                    <a:pt x="98" y="295"/>
                    <a:pt x="97" y="294"/>
                  </a:cubicBezTo>
                  <a:cubicBezTo>
                    <a:pt x="97" y="294"/>
                    <a:pt x="96" y="293"/>
                    <a:pt x="96" y="292"/>
                  </a:cubicBezTo>
                  <a:cubicBezTo>
                    <a:pt x="96" y="291"/>
                    <a:pt x="96" y="290"/>
                    <a:pt x="96" y="289"/>
                  </a:cubicBezTo>
                  <a:cubicBezTo>
                    <a:pt x="96" y="288"/>
                    <a:pt x="96" y="287"/>
                    <a:pt x="96" y="287"/>
                  </a:cubicBezTo>
                  <a:cubicBezTo>
                    <a:pt x="96" y="286"/>
                    <a:pt x="95" y="285"/>
                    <a:pt x="95" y="284"/>
                  </a:cubicBezTo>
                  <a:cubicBezTo>
                    <a:pt x="95" y="283"/>
                    <a:pt x="95" y="282"/>
                    <a:pt x="95" y="281"/>
                  </a:cubicBezTo>
                  <a:cubicBezTo>
                    <a:pt x="96" y="278"/>
                    <a:pt x="95" y="276"/>
                    <a:pt x="95" y="273"/>
                  </a:cubicBezTo>
                  <a:cubicBezTo>
                    <a:pt x="95" y="272"/>
                    <a:pt x="95" y="271"/>
                    <a:pt x="95" y="270"/>
                  </a:cubicBezTo>
                  <a:cubicBezTo>
                    <a:pt x="95" y="269"/>
                    <a:pt x="94" y="269"/>
                    <a:pt x="94" y="268"/>
                  </a:cubicBezTo>
                  <a:cubicBezTo>
                    <a:pt x="94" y="268"/>
                    <a:pt x="93" y="265"/>
                    <a:pt x="94" y="265"/>
                  </a:cubicBezTo>
                  <a:cubicBezTo>
                    <a:pt x="95" y="265"/>
                    <a:pt x="96" y="266"/>
                    <a:pt x="97" y="266"/>
                  </a:cubicBezTo>
                  <a:cubicBezTo>
                    <a:pt x="98" y="266"/>
                    <a:pt x="98" y="265"/>
                    <a:pt x="98" y="264"/>
                  </a:cubicBezTo>
                  <a:cubicBezTo>
                    <a:pt x="97" y="263"/>
                    <a:pt x="95" y="263"/>
                    <a:pt x="95" y="263"/>
                  </a:cubicBezTo>
                  <a:cubicBezTo>
                    <a:pt x="94" y="263"/>
                    <a:pt x="92" y="265"/>
                    <a:pt x="91" y="263"/>
                  </a:cubicBezTo>
                  <a:cubicBezTo>
                    <a:pt x="90" y="261"/>
                    <a:pt x="89" y="260"/>
                    <a:pt x="88" y="259"/>
                  </a:cubicBezTo>
                  <a:cubicBezTo>
                    <a:pt x="87" y="258"/>
                    <a:pt x="87" y="256"/>
                    <a:pt x="87" y="254"/>
                  </a:cubicBezTo>
                  <a:cubicBezTo>
                    <a:pt x="87" y="253"/>
                    <a:pt x="87" y="252"/>
                    <a:pt x="87" y="252"/>
                  </a:cubicBezTo>
                  <a:cubicBezTo>
                    <a:pt x="87" y="251"/>
                    <a:pt x="87" y="251"/>
                    <a:pt x="87" y="250"/>
                  </a:cubicBezTo>
                  <a:cubicBezTo>
                    <a:pt x="87" y="250"/>
                    <a:pt x="87" y="250"/>
                    <a:pt x="87" y="250"/>
                  </a:cubicBezTo>
                  <a:cubicBezTo>
                    <a:pt x="88" y="249"/>
                    <a:pt x="87" y="248"/>
                    <a:pt x="86" y="248"/>
                  </a:cubicBezTo>
                  <a:cubicBezTo>
                    <a:pt x="86" y="247"/>
                    <a:pt x="86" y="247"/>
                    <a:pt x="85" y="246"/>
                  </a:cubicBezTo>
                  <a:cubicBezTo>
                    <a:pt x="85" y="246"/>
                    <a:pt x="85" y="242"/>
                    <a:pt x="85" y="242"/>
                  </a:cubicBezTo>
                  <a:cubicBezTo>
                    <a:pt x="85" y="243"/>
                    <a:pt x="85" y="244"/>
                    <a:pt x="84" y="244"/>
                  </a:cubicBezTo>
                  <a:cubicBezTo>
                    <a:pt x="84" y="244"/>
                    <a:pt x="83" y="244"/>
                    <a:pt x="83" y="244"/>
                  </a:cubicBezTo>
                  <a:cubicBezTo>
                    <a:pt x="82" y="246"/>
                    <a:pt x="82" y="243"/>
                    <a:pt x="82" y="242"/>
                  </a:cubicBezTo>
                  <a:cubicBezTo>
                    <a:pt x="82" y="241"/>
                    <a:pt x="81" y="241"/>
                    <a:pt x="81" y="240"/>
                  </a:cubicBezTo>
                  <a:cubicBezTo>
                    <a:pt x="81" y="239"/>
                    <a:pt x="81" y="239"/>
                    <a:pt x="82" y="238"/>
                  </a:cubicBezTo>
                  <a:cubicBezTo>
                    <a:pt x="82" y="238"/>
                    <a:pt x="82" y="237"/>
                    <a:pt x="81" y="237"/>
                  </a:cubicBezTo>
                  <a:cubicBezTo>
                    <a:pt x="81" y="236"/>
                    <a:pt x="81" y="235"/>
                    <a:pt x="80" y="235"/>
                  </a:cubicBezTo>
                  <a:cubicBezTo>
                    <a:pt x="80" y="234"/>
                    <a:pt x="80" y="234"/>
                    <a:pt x="80" y="233"/>
                  </a:cubicBezTo>
                  <a:cubicBezTo>
                    <a:pt x="79" y="233"/>
                    <a:pt x="80" y="232"/>
                    <a:pt x="79" y="232"/>
                  </a:cubicBezTo>
                  <a:cubicBezTo>
                    <a:pt x="79" y="231"/>
                    <a:pt x="79" y="231"/>
                    <a:pt x="79" y="231"/>
                  </a:cubicBezTo>
                  <a:cubicBezTo>
                    <a:pt x="79" y="231"/>
                    <a:pt x="78" y="229"/>
                    <a:pt x="78" y="231"/>
                  </a:cubicBezTo>
                  <a:cubicBezTo>
                    <a:pt x="78" y="231"/>
                    <a:pt x="77" y="233"/>
                    <a:pt x="77" y="232"/>
                  </a:cubicBezTo>
                  <a:cubicBezTo>
                    <a:pt x="76" y="232"/>
                    <a:pt x="76" y="230"/>
                    <a:pt x="76" y="229"/>
                  </a:cubicBezTo>
                  <a:cubicBezTo>
                    <a:pt x="76" y="229"/>
                    <a:pt x="77" y="228"/>
                    <a:pt x="77" y="228"/>
                  </a:cubicBezTo>
                  <a:cubicBezTo>
                    <a:pt x="77" y="227"/>
                    <a:pt x="76" y="226"/>
                    <a:pt x="76" y="225"/>
                  </a:cubicBezTo>
                  <a:cubicBezTo>
                    <a:pt x="76" y="225"/>
                    <a:pt x="76" y="225"/>
                    <a:pt x="75" y="224"/>
                  </a:cubicBezTo>
                  <a:cubicBezTo>
                    <a:pt x="75" y="224"/>
                    <a:pt x="76" y="224"/>
                    <a:pt x="75" y="223"/>
                  </a:cubicBezTo>
                  <a:cubicBezTo>
                    <a:pt x="75" y="223"/>
                    <a:pt x="74" y="223"/>
                    <a:pt x="74" y="223"/>
                  </a:cubicBezTo>
                  <a:cubicBezTo>
                    <a:pt x="74" y="223"/>
                    <a:pt x="74" y="223"/>
                    <a:pt x="73" y="223"/>
                  </a:cubicBezTo>
                  <a:cubicBezTo>
                    <a:pt x="73" y="223"/>
                    <a:pt x="73" y="223"/>
                    <a:pt x="73" y="223"/>
                  </a:cubicBezTo>
                  <a:cubicBezTo>
                    <a:pt x="72" y="223"/>
                    <a:pt x="72" y="224"/>
                    <a:pt x="72" y="223"/>
                  </a:cubicBezTo>
                  <a:cubicBezTo>
                    <a:pt x="71" y="222"/>
                    <a:pt x="71" y="222"/>
                    <a:pt x="71" y="221"/>
                  </a:cubicBezTo>
                  <a:cubicBezTo>
                    <a:pt x="71" y="220"/>
                    <a:pt x="71" y="220"/>
                    <a:pt x="70" y="220"/>
                  </a:cubicBezTo>
                  <a:cubicBezTo>
                    <a:pt x="69" y="219"/>
                    <a:pt x="69" y="217"/>
                    <a:pt x="69" y="217"/>
                  </a:cubicBezTo>
                  <a:cubicBezTo>
                    <a:pt x="68" y="217"/>
                    <a:pt x="69" y="216"/>
                    <a:pt x="68" y="215"/>
                  </a:cubicBezTo>
                  <a:cubicBezTo>
                    <a:pt x="68" y="215"/>
                    <a:pt x="68" y="214"/>
                    <a:pt x="68" y="214"/>
                  </a:cubicBezTo>
                  <a:cubicBezTo>
                    <a:pt x="67" y="214"/>
                    <a:pt x="67" y="217"/>
                    <a:pt x="66" y="217"/>
                  </a:cubicBezTo>
                  <a:cubicBezTo>
                    <a:pt x="66" y="220"/>
                    <a:pt x="65" y="217"/>
                    <a:pt x="64" y="217"/>
                  </a:cubicBezTo>
                  <a:cubicBezTo>
                    <a:pt x="63" y="217"/>
                    <a:pt x="61" y="216"/>
                    <a:pt x="61" y="217"/>
                  </a:cubicBezTo>
                  <a:cubicBezTo>
                    <a:pt x="60" y="218"/>
                    <a:pt x="60" y="215"/>
                    <a:pt x="59" y="215"/>
                  </a:cubicBezTo>
                  <a:cubicBezTo>
                    <a:pt x="58" y="215"/>
                    <a:pt x="58" y="215"/>
                    <a:pt x="58" y="215"/>
                  </a:cubicBezTo>
                  <a:cubicBezTo>
                    <a:pt x="58" y="215"/>
                    <a:pt x="58" y="214"/>
                    <a:pt x="57" y="214"/>
                  </a:cubicBezTo>
                  <a:cubicBezTo>
                    <a:pt x="57" y="214"/>
                    <a:pt x="55" y="214"/>
                    <a:pt x="55" y="214"/>
                  </a:cubicBezTo>
                  <a:cubicBezTo>
                    <a:pt x="54" y="216"/>
                    <a:pt x="56" y="216"/>
                    <a:pt x="55" y="217"/>
                  </a:cubicBezTo>
                  <a:cubicBezTo>
                    <a:pt x="55" y="217"/>
                    <a:pt x="54" y="218"/>
                    <a:pt x="54" y="218"/>
                  </a:cubicBezTo>
                  <a:cubicBezTo>
                    <a:pt x="54" y="218"/>
                    <a:pt x="53" y="219"/>
                    <a:pt x="53" y="219"/>
                  </a:cubicBezTo>
                  <a:cubicBezTo>
                    <a:pt x="53" y="220"/>
                    <a:pt x="52" y="220"/>
                    <a:pt x="52" y="220"/>
                  </a:cubicBezTo>
                  <a:cubicBezTo>
                    <a:pt x="51" y="221"/>
                    <a:pt x="51" y="221"/>
                    <a:pt x="50" y="221"/>
                  </a:cubicBezTo>
                  <a:cubicBezTo>
                    <a:pt x="50" y="221"/>
                    <a:pt x="50" y="219"/>
                    <a:pt x="50" y="219"/>
                  </a:cubicBezTo>
                  <a:cubicBezTo>
                    <a:pt x="50" y="218"/>
                    <a:pt x="50" y="218"/>
                    <a:pt x="50" y="217"/>
                  </a:cubicBezTo>
                  <a:cubicBezTo>
                    <a:pt x="50" y="217"/>
                    <a:pt x="50" y="216"/>
                    <a:pt x="51" y="215"/>
                  </a:cubicBezTo>
                  <a:cubicBezTo>
                    <a:pt x="51" y="214"/>
                    <a:pt x="51" y="214"/>
                    <a:pt x="52" y="214"/>
                  </a:cubicBezTo>
                  <a:cubicBezTo>
                    <a:pt x="52" y="214"/>
                    <a:pt x="52" y="214"/>
                    <a:pt x="52" y="213"/>
                  </a:cubicBezTo>
                  <a:cubicBezTo>
                    <a:pt x="53" y="211"/>
                    <a:pt x="51" y="213"/>
                    <a:pt x="50" y="214"/>
                  </a:cubicBezTo>
                  <a:cubicBezTo>
                    <a:pt x="50" y="214"/>
                    <a:pt x="50" y="215"/>
                    <a:pt x="50" y="215"/>
                  </a:cubicBezTo>
                  <a:cubicBezTo>
                    <a:pt x="49" y="216"/>
                    <a:pt x="49" y="216"/>
                    <a:pt x="49" y="217"/>
                  </a:cubicBezTo>
                  <a:cubicBezTo>
                    <a:pt x="49" y="217"/>
                    <a:pt x="49" y="218"/>
                    <a:pt x="49" y="219"/>
                  </a:cubicBezTo>
                  <a:cubicBezTo>
                    <a:pt x="48" y="219"/>
                    <a:pt x="48" y="219"/>
                    <a:pt x="47" y="220"/>
                  </a:cubicBezTo>
                  <a:cubicBezTo>
                    <a:pt x="47" y="221"/>
                    <a:pt x="47" y="221"/>
                    <a:pt x="47" y="221"/>
                  </a:cubicBezTo>
                  <a:cubicBezTo>
                    <a:pt x="47" y="222"/>
                    <a:pt x="47" y="222"/>
                    <a:pt x="47" y="222"/>
                  </a:cubicBezTo>
                  <a:cubicBezTo>
                    <a:pt x="47" y="222"/>
                    <a:pt x="46" y="222"/>
                    <a:pt x="46" y="222"/>
                  </a:cubicBezTo>
                  <a:cubicBezTo>
                    <a:pt x="46" y="222"/>
                    <a:pt x="46" y="223"/>
                    <a:pt x="46" y="223"/>
                  </a:cubicBezTo>
                  <a:cubicBezTo>
                    <a:pt x="47" y="224"/>
                    <a:pt x="47" y="224"/>
                    <a:pt x="47" y="226"/>
                  </a:cubicBezTo>
                  <a:cubicBezTo>
                    <a:pt x="46" y="227"/>
                    <a:pt x="45" y="228"/>
                    <a:pt x="44" y="228"/>
                  </a:cubicBezTo>
                  <a:cubicBezTo>
                    <a:pt x="43" y="229"/>
                    <a:pt x="43" y="230"/>
                    <a:pt x="42" y="231"/>
                  </a:cubicBezTo>
                  <a:cubicBezTo>
                    <a:pt x="42" y="232"/>
                    <a:pt x="42" y="232"/>
                    <a:pt x="42" y="233"/>
                  </a:cubicBezTo>
                  <a:cubicBezTo>
                    <a:pt x="41" y="233"/>
                    <a:pt x="41" y="233"/>
                    <a:pt x="41" y="234"/>
                  </a:cubicBezTo>
                  <a:cubicBezTo>
                    <a:pt x="40" y="235"/>
                    <a:pt x="40" y="236"/>
                    <a:pt x="39" y="236"/>
                  </a:cubicBezTo>
                  <a:cubicBezTo>
                    <a:pt x="39" y="237"/>
                    <a:pt x="38" y="236"/>
                    <a:pt x="38" y="235"/>
                  </a:cubicBezTo>
                  <a:cubicBezTo>
                    <a:pt x="38" y="235"/>
                    <a:pt x="38" y="234"/>
                    <a:pt x="38" y="234"/>
                  </a:cubicBezTo>
                  <a:cubicBezTo>
                    <a:pt x="39" y="233"/>
                    <a:pt x="39" y="234"/>
                    <a:pt x="39" y="233"/>
                  </a:cubicBezTo>
                  <a:cubicBezTo>
                    <a:pt x="40" y="232"/>
                    <a:pt x="40" y="232"/>
                    <a:pt x="40" y="232"/>
                  </a:cubicBezTo>
                  <a:cubicBezTo>
                    <a:pt x="40" y="231"/>
                    <a:pt x="40" y="231"/>
                    <a:pt x="40" y="230"/>
                  </a:cubicBezTo>
                  <a:cubicBezTo>
                    <a:pt x="40" y="230"/>
                    <a:pt x="41" y="230"/>
                    <a:pt x="41" y="229"/>
                  </a:cubicBezTo>
                  <a:cubicBezTo>
                    <a:pt x="41" y="229"/>
                    <a:pt x="42" y="228"/>
                    <a:pt x="42" y="228"/>
                  </a:cubicBezTo>
                  <a:cubicBezTo>
                    <a:pt x="42" y="227"/>
                    <a:pt x="42" y="226"/>
                    <a:pt x="42" y="225"/>
                  </a:cubicBezTo>
                  <a:cubicBezTo>
                    <a:pt x="42" y="225"/>
                    <a:pt x="43" y="224"/>
                    <a:pt x="43" y="224"/>
                  </a:cubicBezTo>
                  <a:cubicBezTo>
                    <a:pt x="42" y="223"/>
                    <a:pt x="42" y="224"/>
                    <a:pt x="42" y="224"/>
                  </a:cubicBezTo>
                  <a:cubicBezTo>
                    <a:pt x="42" y="224"/>
                    <a:pt x="41" y="225"/>
                    <a:pt x="41" y="224"/>
                  </a:cubicBezTo>
                  <a:cubicBezTo>
                    <a:pt x="41" y="224"/>
                    <a:pt x="41" y="223"/>
                    <a:pt x="41" y="223"/>
                  </a:cubicBezTo>
                  <a:cubicBezTo>
                    <a:pt x="41" y="224"/>
                    <a:pt x="40" y="224"/>
                    <a:pt x="40" y="224"/>
                  </a:cubicBezTo>
                  <a:cubicBezTo>
                    <a:pt x="40" y="225"/>
                    <a:pt x="40" y="225"/>
                    <a:pt x="40" y="226"/>
                  </a:cubicBezTo>
                  <a:cubicBezTo>
                    <a:pt x="40" y="226"/>
                    <a:pt x="39" y="225"/>
                    <a:pt x="39" y="225"/>
                  </a:cubicBezTo>
                  <a:cubicBezTo>
                    <a:pt x="39" y="224"/>
                    <a:pt x="38" y="223"/>
                    <a:pt x="37" y="224"/>
                  </a:cubicBezTo>
                  <a:cubicBezTo>
                    <a:pt x="37" y="225"/>
                    <a:pt x="37" y="225"/>
                    <a:pt x="37" y="225"/>
                  </a:cubicBezTo>
                  <a:cubicBezTo>
                    <a:pt x="36" y="226"/>
                    <a:pt x="36" y="225"/>
                    <a:pt x="36" y="224"/>
                  </a:cubicBezTo>
                  <a:cubicBezTo>
                    <a:pt x="37" y="224"/>
                    <a:pt x="36" y="223"/>
                    <a:pt x="36" y="222"/>
                  </a:cubicBezTo>
                  <a:cubicBezTo>
                    <a:pt x="37" y="221"/>
                    <a:pt x="37" y="221"/>
                    <a:pt x="36" y="221"/>
                  </a:cubicBezTo>
                  <a:cubicBezTo>
                    <a:pt x="36" y="220"/>
                    <a:pt x="36" y="219"/>
                    <a:pt x="36" y="220"/>
                  </a:cubicBezTo>
                  <a:cubicBezTo>
                    <a:pt x="36" y="220"/>
                    <a:pt x="36" y="221"/>
                    <a:pt x="35" y="221"/>
                  </a:cubicBezTo>
                  <a:cubicBezTo>
                    <a:pt x="35" y="221"/>
                    <a:pt x="35" y="221"/>
                    <a:pt x="34" y="220"/>
                  </a:cubicBezTo>
                  <a:cubicBezTo>
                    <a:pt x="34" y="220"/>
                    <a:pt x="34" y="219"/>
                    <a:pt x="33" y="219"/>
                  </a:cubicBezTo>
                  <a:cubicBezTo>
                    <a:pt x="33" y="218"/>
                    <a:pt x="32" y="217"/>
                    <a:pt x="33" y="217"/>
                  </a:cubicBezTo>
                  <a:cubicBezTo>
                    <a:pt x="34" y="218"/>
                    <a:pt x="34" y="218"/>
                    <a:pt x="35" y="217"/>
                  </a:cubicBezTo>
                  <a:cubicBezTo>
                    <a:pt x="36" y="217"/>
                    <a:pt x="34" y="217"/>
                    <a:pt x="34" y="217"/>
                  </a:cubicBezTo>
                  <a:cubicBezTo>
                    <a:pt x="34" y="217"/>
                    <a:pt x="33" y="216"/>
                    <a:pt x="33" y="216"/>
                  </a:cubicBezTo>
                  <a:cubicBezTo>
                    <a:pt x="33" y="216"/>
                    <a:pt x="33" y="216"/>
                    <a:pt x="32" y="215"/>
                  </a:cubicBezTo>
                  <a:cubicBezTo>
                    <a:pt x="32" y="215"/>
                    <a:pt x="32" y="213"/>
                    <a:pt x="32" y="213"/>
                  </a:cubicBezTo>
                  <a:cubicBezTo>
                    <a:pt x="32" y="213"/>
                    <a:pt x="33" y="212"/>
                    <a:pt x="33" y="211"/>
                  </a:cubicBezTo>
                  <a:cubicBezTo>
                    <a:pt x="33" y="210"/>
                    <a:pt x="33" y="210"/>
                    <a:pt x="34" y="210"/>
                  </a:cubicBezTo>
                  <a:cubicBezTo>
                    <a:pt x="34" y="210"/>
                    <a:pt x="34" y="209"/>
                    <a:pt x="34" y="208"/>
                  </a:cubicBezTo>
                  <a:cubicBezTo>
                    <a:pt x="34" y="208"/>
                    <a:pt x="34" y="207"/>
                    <a:pt x="35" y="207"/>
                  </a:cubicBezTo>
                  <a:cubicBezTo>
                    <a:pt x="36" y="205"/>
                    <a:pt x="35" y="208"/>
                    <a:pt x="36" y="207"/>
                  </a:cubicBezTo>
                  <a:cubicBezTo>
                    <a:pt x="36" y="207"/>
                    <a:pt x="37" y="205"/>
                    <a:pt x="37" y="205"/>
                  </a:cubicBezTo>
                  <a:cubicBezTo>
                    <a:pt x="37" y="205"/>
                    <a:pt x="38" y="206"/>
                    <a:pt x="38" y="205"/>
                  </a:cubicBezTo>
                  <a:cubicBezTo>
                    <a:pt x="39" y="205"/>
                    <a:pt x="39" y="203"/>
                    <a:pt x="39" y="203"/>
                  </a:cubicBezTo>
                  <a:cubicBezTo>
                    <a:pt x="39" y="202"/>
                    <a:pt x="39" y="202"/>
                    <a:pt x="39" y="201"/>
                  </a:cubicBezTo>
                  <a:cubicBezTo>
                    <a:pt x="39" y="201"/>
                    <a:pt x="40" y="200"/>
                    <a:pt x="40" y="199"/>
                  </a:cubicBezTo>
                  <a:cubicBezTo>
                    <a:pt x="40" y="199"/>
                    <a:pt x="41" y="199"/>
                    <a:pt x="42" y="199"/>
                  </a:cubicBezTo>
                  <a:cubicBezTo>
                    <a:pt x="56" y="200"/>
                    <a:pt x="71" y="207"/>
                    <a:pt x="90" y="219"/>
                  </a:cubicBezTo>
                  <a:cubicBezTo>
                    <a:pt x="109" y="231"/>
                    <a:pt x="132" y="247"/>
                    <a:pt x="158" y="262"/>
                  </a:cubicBezTo>
                  <a:cubicBezTo>
                    <a:pt x="165" y="265"/>
                    <a:pt x="172" y="269"/>
                    <a:pt x="179" y="272"/>
                  </a:cubicBezTo>
                  <a:cubicBezTo>
                    <a:pt x="179" y="272"/>
                    <a:pt x="178" y="272"/>
                    <a:pt x="177" y="273"/>
                  </a:cubicBezTo>
                  <a:cubicBezTo>
                    <a:pt x="177" y="273"/>
                    <a:pt x="177" y="273"/>
                    <a:pt x="176" y="274"/>
                  </a:cubicBezTo>
                  <a:cubicBezTo>
                    <a:pt x="175" y="274"/>
                    <a:pt x="174" y="274"/>
                    <a:pt x="174" y="275"/>
                  </a:cubicBezTo>
                  <a:cubicBezTo>
                    <a:pt x="173" y="276"/>
                    <a:pt x="176" y="276"/>
                    <a:pt x="176" y="276"/>
                  </a:cubicBezTo>
                  <a:cubicBezTo>
                    <a:pt x="176" y="276"/>
                    <a:pt x="177" y="275"/>
                    <a:pt x="177" y="275"/>
                  </a:cubicBezTo>
                  <a:cubicBezTo>
                    <a:pt x="178" y="275"/>
                    <a:pt x="178" y="276"/>
                    <a:pt x="178" y="276"/>
                  </a:cubicBezTo>
                  <a:cubicBezTo>
                    <a:pt x="179" y="276"/>
                    <a:pt x="181" y="275"/>
                    <a:pt x="182" y="274"/>
                  </a:cubicBezTo>
                  <a:cubicBezTo>
                    <a:pt x="182" y="274"/>
                    <a:pt x="182" y="274"/>
                    <a:pt x="183" y="274"/>
                  </a:cubicBezTo>
                  <a:cubicBezTo>
                    <a:pt x="184" y="274"/>
                    <a:pt x="185" y="274"/>
                    <a:pt x="185" y="275"/>
                  </a:cubicBezTo>
                  <a:cubicBezTo>
                    <a:pt x="185" y="275"/>
                    <a:pt x="186" y="275"/>
                    <a:pt x="186" y="275"/>
                  </a:cubicBezTo>
                  <a:cubicBezTo>
                    <a:pt x="187" y="276"/>
                    <a:pt x="187" y="276"/>
                    <a:pt x="188" y="276"/>
                  </a:cubicBezTo>
                  <a:cubicBezTo>
                    <a:pt x="188" y="276"/>
                    <a:pt x="188" y="276"/>
                    <a:pt x="188" y="276"/>
                  </a:cubicBezTo>
                  <a:cubicBezTo>
                    <a:pt x="191" y="277"/>
                    <a:pt x="193" y="278"/>
                    <a:pt x="195" y="279"/>
                  </a:cubicBezTo>
                  <a:cubicBezTo>
                    <a:pt x="194" y="279"/>
                    <a:pt x="194" y="279"/>
                    <a:pt x="193" y="279"/>
                  </a:cubicBezTo>
                  <a:cubicBezTo>
                    <a:pt x="193" y="279"/>
                    <a:pt x="192" y="279"/>
                    <a:pt x="191" y="279"/>
                  </a:cubicBezTo>
                  <a:cubicBezTo>
                    <a:pt x="191" y="279"/>
                    <a:pt x="188" y="281"/>
                    <a:pt x="188" y="282"/>
                  </a:cubicBezTo>
                  <a:cubicBezTo>
                    <a:pt x="187" y="282"/>
                    <a:pt x="188" y="283"/>
                    <a:pt x="187" y="284"/>
                  </a:cubicBezTo>
                  <a:cubicBezTo>
                    <a:pt x="187" y="285"/>
                    <a:pt x="187" y="285"/>
                    <a:pt x="186" y="286"/>
                  </a:cubicBezTo>
                  <a:cubicBezTo>
                    <a:pt x="185" y="288"/>
                    <a:pt x="185" y="290"/>
                    <a:pt x="185" y="292"/>
                  </a:cubicBezTo>
                  <a:cubicBezTo>
                    <a:pt x="186" y="292"/>
                    <a:pt x="186" y="297"/>
                    <a:pt x="187" y="296"/>
                  </a:cubicBezTo>
                  <a:cubicBezTo>
                    <a:pt x="188" y="295"/>
                    <a:pt x="188" y="294"/>
                    <a:pt x="188" y="294"/>
                  </a:cubicBezTo>
                  <a:cubicBezTo>
                    <a:pt x="188" y="294"/>
                    <a:pt x="189" y="293"/>
                    <a:pt x="189" y="293"/>
                  </a:cubicBezTo>
                  <a:cubicBezTo>
                    <a:pt x="190" y="292"/>
                    <a:pt x="189" y="291"/>
                    <a:pt x="189" y="290"/>
                  </a:cubicBezTo>
                  <a:cubicBezTo>
                    <a:pt x="189" y="289"/>
                    <a:pt x="189" y="287"/>
                    <a:pt x="189" y="287"/>
                  </a:cubicBezTo>
                  <a:cubicBezTo>
                    <a:pt x="189" y="286"/>
                    <a:pt x="189" y="284"/>
                    <a:pt x="190" y="283"/>
                  </a:cubicBezTo>
                  <a:cubicBezTo>
                    <a:pt x="191" y="283"/>
                    <a:pt x="192" y="283"/>
                    <a:pt x="192" y="283"/>
                  </a:cubicBezTo>
                  <a:cubicBezTo>
                    <a:pt x="193" y="282"/>
                    <a:pt x="194" y="279"/>
                    <a:pt x="195" y="280"/>
                  </a:cubicBezTo>
                  <a:cubicBezTo>
                    <a:pt x="196" y="280"/>
                    <a:pt x="197" y="281"/>
                    <a:pt x="198" y="282"/>
                  </a:cubicBezTo>
                  <a:cubicBezTo>
                    <a:pt x="198" y="283"/>
                    <a:pt x="199" y="283"/>
                    <a:pt x="199" y="283"/>
                  </a:cubicBezTo>
                  <a:cubicBezTo>
                    <a:pt x="199" y="285"/>
                    <a:pt x="198" y="286"/>
                    <a:pt x="199" y="287"/>
                  </a:cubicBezTo>
                  <a:cubicBezTo>
                    <a:pt x="200" y="288"/>
                    <a:pt x="201" y="287"/>
                    <a:pt x="201" y="288"/>
                  </a:cubicBezTo>
                  <a:cubicBezTo>
                    <a:pt x="202" y="289"/>
                    <a:pt x="202" y="290"/>
                    <a:pt x="203" y="290"/>
                  </a:cubicBezTo>
                  <a:cubicBezTo>
                    <a:pt x="203" y="290"/>
                    <a:pt x="203" y="285"/>
                    <a:pt x="203" y="285"/>
                  </a:cubicBezTo>
                  <a:cubicBezTo>
                    <a:pt x="203" y="284"/>
                    <a:pt x="203" y="282"/>
                    <a:pt x="204" y="283"/>
                  </a:cubicBezTo>
                  <a:cubicBezTo>
                    <a:pt x="204" y="283"/>
                    <a:pt x="204" y="283"/>
                    <a:pt x="205" y="284"/>
                  </a:cubicBezTo>
                  <a:cubicBezTo>
                    <a:pt x="205" y="284"/>
                    <a:pt x="207" y="286"/>
                    <a:pt x="208" y="285"/>
                  </a:cubicBezTo>
                  <a:cubicBezTo>
                    <a:pt x="208" y="284"/>
                    <a:pt x="208" y="284"/>
                    <a:pt x="208" y="284"/>
                  </a:cubicBezTo>
                  <a:cubicBezTo>
                    <a:pt x="210" y="285"/>
                    <a:pt x="212" y="286"/>
                    <a:pt x="215" y="287"/>
                  </a:cubicBezTo>
                  <a:cubicBezTo>
                    <a:pt x="214" y="287"/>
                    <a:pt x="214" y="287"/>
                    <a:pt x="214" y="287"/>
                  </a:cubicBezTo>
                  <a:cubicBezTo>
                    <a:pt x="213" y="287"/>
                    <a:pt x="213" y="287"/>
                    <a:pt x="211" y="288"/>
                  </a:cubicBezTo>
                  <a:cubicBezTo>
                    <a:pt x="210" y="288"/>
                    <a:pt x="210" y="289"/>
                    <a:pt x="209" y="290"/>
                  </a:cubicBezTo>
                  <a:cubicBezTo>
                    <a:pt x="208" y="291"/>
                    <a:pt x="207" y="291"/>
                    <a:pt x="206" y="292"/>
                  </a:cubicBezTo>
                  <a:cubicBezTo>
                    <a:pt x="206" y="292"/>
                    <a:pt x="205" y="291"/>
                    <a:pt x="205" y="291"/>
                  </a:cubicBezTo>
                  <a:cubicBezTo>
                    <a:pt x="204" y="292"/>
                    <a:pt x="204" y="292"/>
                    <a:pt x="204" y="292"/>
                  </a:cubicBezTo>
                  <a:cubicBezTo>
                    <a:pt x="203" y="293"/>
                    <a:pt x="202" y="293"/>
                    <a:pt x="201" y="294"/>
                  </a:cubicBezTo>
                  <a:cubicBezTo>
                    <a:pt x="200" y="294"/>
                    <a:pt x="200" y="295"/>
                    <a:pt x="201" y="295"/>
                  </a:cubicBezTo>
                  <a:cubicBezTo>
                    <a:pt x="203" y="295"/>
                    <a:pt x="205" y="295"/>
                    <a:pt x="207" y="294"/>
                  </a:cubicBezTo>
                  <a:cubicBezTo>
                    <a:pt x="208" y="294"/>
                    <a:pt x="211" y="293"/>
                    <a:pt x="210" y="291"/>
                  </a:cubicBezTo>
                  <a:cubicBezTo>
                    <a:pt x="210" y="287"/>
                    <a:pt x="218" y="291"/>
                    <a:pt x="219" y="288"/>
                  </a:cubicBezTo>
                  <a:cubicBezTo>
                    <a:pt x="224" y="290"/>
                    <a:pt x="229" y="291"/>
                    <a:pt x="233" y="292"/>
                  </a:cubicBezTo>
                  <a:cubicBezTo>
                    <a:pt x="233" y="293"/>
                    <a:pt x="234" y="293"/>
                    <a:pt x="234" y="293"/>
                  </a:cubicBezTo>
                  <a:cubicBezTo>
                    <a:pt x="234" y="293"/>
                    <a:pt x="234" y="293"/>
                    <a:pt x="235" y="293"/>
                  </a:cubicBezTo>
                  <a:cubicBezTo>
                    <a:pt x="235" y="293"/>
                    <a:pt x="236" y="293"/>
                    <a:pt x="236" y="293"/>
                  </a:cubicBezTo>
                  <a:cubicBezTo>
                    <a:pt x="237" y="295"/>
                    <a:pt x="234" y="294"/>
                    <a:pt x="233" y="295"/>
                  </a:cubicBezTo>
                  <a:cubicBezTo>
                    <a:pt x="233" y="295"/>
                    <a:pt x="232" y="296"/>
                    <a:pt x="232" y="296"/>
                  </a:cubicBezTo>
                  <a:cubicBezTo>
                    <a:pt x="232" y="296"/>
                    <a:pt x="231" y="296"/>
                    <a:pt x="230" y="296"/>
                  </a:cubicBezTo>
                  <a:cubicBezTo>
                    <a:pt x="229" y="296"/>
                    <a:pt x="228" y="296"/>
                    <a:pt x="227" y="296"/>
                  </a:cubicBezTo>
                  <a:cubicBezTo>
                    <a:pt x="226" y="296"/>
                    <a:pt x="225" y="297"/>
                    <a:pt x="226" y="297"/>
                  </a:cubicBezTo>
                  <a:cubicBezTo>
                    <a:pt x="227" y="298"/>
                    <a:pt x="228" y="297"/>
                    <a:pt x="229" y="297"/>
                  </a:cubicBezTo>
                  <a:cubicBezTo>
                    <a:pt x="229" y="297"/>
                    <a:pt x="230" y="297"/>
                    <a:pt x="230" y="297"/>
                  </a:cubicBezTo>
                  <a:cubicBezTo>
                    <a:pt x="231" y="297"/>
                    <a:pt x="229" y="297"/>
                    <a:pt x="229" y="298"/>
                  </a:cubicBezTo>
                  <a:cubicBezTo>
                    <a:pt x="228" y="298"/>
                    <a:pt x="225" y="298"/>
                    <a:pt x="225" y="299"/>
                  </a:cubicBezTo>
                  <a:cubicBezTo>
                    <a:pt x="224" y="301"/>
                    <a:pt x="223" y="303"/>
                    <a:pt x="222" y="305"/>
                  </a:cubicBezTo>
                  <a:cubicBezTo>
                    <a:pt x="222" y="305"/>
                    <a:pt x="221" y="308"/>
                    <a:pt x="221" y="308"/>
                  </a:cubicBezTo>
                  <a:cubicBezTo>
                    <a:pt x="219" y="308"/>
                    <a:pt x="220" y="305"/>
                    <a:pt x="219" y="305"/>
                  </a:cubicBezTo>
                  <a:cubicBezTo>
                    <a:pt x="218" y="305"/>
                    <a:pt x="219" y="307"/>
                    <a:pt x="219" y="308"/>
                  </a:cubicBezTo>
                  <a:cubicBezTo>
                    <a:pt x="219" y="308"/>
                    <a:pt x="219" y="309"/>
                    <a:pt x="219" y="310"/>
                  </a:cubicBezTo>
                  <a:cubicBezTo>
                    <a:pt x="219" y="311"/>
                    <a:pt x="221" y="312"/>
                    <a:pt x="220" y="314"/>
                  </a:cubicBezTo>
                  <a:cubicBezTo>
                    <a:pt x="219" y="315"/>
                    <a:pt x="217" y="315"/>
                    <a:pt x="218" y="317"/>
                  </a:cubicBezTo>
                  <a:cubicBezTo>
                    <a:pt x="218" y="318"/>
                    <a:pt x="217" y="318"/>
                    <a:pt x="217" y="318"/>
                  </a:cubicBezTo>
                  <a:cubicBezTo>
                    <a:pt x="216" y="318"/>
                    <a:pt x="215" y="319"/>
                    <a:pt x="214" y="319"/>
                  </a:cubicBezTo>
                  <a:cubicBezTo>
                    <a:pt x="213" y="320"/>
                    <a:pt x="210" y="321"/>
                    <a:pt x="209" y="322"/>
                  </a:cubicBezTo>
                  <a:cubicBezTo>
                    <a:pt x="209" y="323"/>
                    <a:pt x="207" y="323"/>
                    <a:pt x="206" y="323"/>
                  </a:cubicBezTo>
                  <a:cubicBezTo>
                    <a:pt x="206" y="324"/>
                    <a:pt x="205" y="324"/>
                    <a:pt x="204" y="325"/>
                  </a:cubicBezTo>
                  <a:cubicBezTo>
                    <a:pt x="204" y="326"/>
                    <a:pt x="204" y="327"/>
                    <a:pt x="204" y="328"/>
                  </a:cubicBezTo>
                  <a:cubicBezTo>
                    <a:pt x="203" y="328"/>
                    <a:pt x="204" y="329"/>
                    <a:pt x="204" y="330"/>
                  </a:cubicBezTo>
                  <a:cubicBezTo>
                    <a:pt x="204" y="331"/>
                    <a:pt x="205" y="332"/>
                    <a:pt x="206" y="333"/>
                  </a:cubicBezTo>
                  <a:cubicBezTo>
                    <a:pt x="206" y="334"/>
                    <a:pt x="206" y="335"/>
                    <a:pt x="206" y="335"/>
                  </a:cubicBezTo>
                  <a:cubicBezTo>
                    <a:pt x="207" y="336"/>
                    <a:pt x="207" y="338"/>
                    <a:pt x="207" y="340"/>
                  </a:cubicBezTo>
                  <a:cubicBezTo>
                    <a:pt x="207" y="340"/>
                    <a:pt x="207" y="341"/>
                    <a:pt x="206" y="342"/>
                  </a:cubicBezTo>
                  <a:cubicBezTo>
                    <a:pt x="206" y="342"/>
                    <a:pt x="206" y="343"/>
                    <a:pt x="205" y="343"/>
                  </a:cubicBezTo>
                  <a:cubicBezTo>
                    <a:pt x="204" y="342"/>
                    <a:pt x="204" y="341"/>
                    <a:pt x="203" y="340"/>
                  </a:cubicBezTo>
                  <a:cubicBezTo>
                    <a:pt x="203" y="339"/>
                    <a:pt x="203" y="339"/>
                    <a:pt x="202" y="338"/>
                  </a:cubicBezTo>
                  <a:cubicBezTo>
                    <a:pt x="201" y="338"/>
                    <a:pt x="201" y="337"/>
                    <a:pt x="201" y="336"/>
                  </a:cubicBezTo>
                  <a:cubicBezTo>
                    <a:pt x="200" y="336"/>
                    <a:pt x="200" y="335"/>
                    <a:pt x="200" y="334"/>
                  </a:cubicBezTo>
                  <a:cubicBezTo>
                    <a:pt x="199" y="334"/>
                    <a:pt x="200" y="333"/>
                    <a:pt x="199" y="332"/>
                  </a:cubicBezTo>
                  <a:cubicBezTo>
                    <a:pt x="199" y="331"/>
                    <a:pt x="198" y="329"/>
                    <a:pt x="196" y="331"/>
                  </a:cubicBezTo>
                  <a:cubicBezTo>
                    <a:pt x="195" y="332"/>
                    <a:pt x="193" y="331"/>
                    <a:pt x="192" y="330"/>
                  </a:cubicBezTo>
                  <a:cubicBezTo>
                    <a:pt x="190" y="329"/>
                    <a:pt x="188" y="329"/>
                    <a:pt x="186" y="329"/>
                  </a:cubicBezTo>
                  <a:cubicBezTo>
                    <a:pt x="185" y="329"/>
                    <a:pt x="182" y="329"/>
                    <a:pt x="181" y="329"/>
                  </a:cubicBezTo>
                  <a:cubicBezTo>
                    <a:pt x="181" y="329"/>
                    <a:pt x="184" y="331"/>
                    <a:pt x="182" y="331"/>
                  </a:cubicBezTo>
                  <a:cubicBezTo>
                    <a:pt x="181" y="331"/>
                    <a:pt x="181" y="333"/>
                    <a:pt x="180" y="332"/>
                  </a:cubicBezTo>
                  <a:cubicBezTo>
                    <a:pt x="178" y="332"/>
                    <a:pt x="177" y="330"/>
                    <a:pt x="175" y="331"/>
                  </a:cubicBezTo>
                  <a:cubicBezTo>
                    <a:pt x="174" y="331"/>
                    <a:pt x="171" y="330"/>
                    <a:pt x="170" y="330"/>
                  </a:cubicBezTo>
                  <a:cubicBezTo>
                    <a:pt x="169" y="331"/>
                    <a:pt x="169" y="331"/>
                    <a:pt x="169" y="331"/>
                  </a:cubicBezTo>
                  <a:cubicBezTo>
                    <a:pt x="169" y="331"/>
                    <a:pt x="168" y="331"/>
                    <a:pt x="168" y="332"/>
                  </a:cubicBezTo>
                  <a:cubicBezTo>
                    <a:pt x="167" y="332"/>
                    <a:pt x="166" y="332"/>
                    <a:pt x="165" y="332"/>
                  </a:cubicBezTo>
                  <a:cubicBezTo>
                    <a:pt x="163" y="333"/>
                    <a:pt x="163" y="333"/>
                    <a:pt x="162" y="335"/>
                  </a:cubicBezTo>
                  <a:cubicBezTo>
                    <a:pt x="162" y="336"/>
                    <a:pt x="162" y="337"/>
                    <a:pt x="162" y="337"/>
                  </a:cubicBezTo>
                  <a:cubicBezTo>
                    <a:pt x="163" y="338"/>
                    <a:pt x="163" y="339"/>
                    <a:pt x="163" y="339"/>
                  </a:cubicBezTo>
                  <a:cubicBezTo>
                    <a:pt x="164" y="341"/>
                    <a:pt x="163" y="343"/>
                    <a:pt x="163" y="345"/>
                  </a:cubicBezTo>
                  <a:cubicBezTo>
                    <a:pt x="163" y="346"/>
                    <a:pt x="163" y="346"/>
                    <a:pt x="163" y="348"/>
                  </a:cubicBezTo>
                  <a:cubicBezTo>
                    <a:pt x="163" y="348"/>
                    <a:pt x="164" y="348"/>
                    <a:pt x="164" y="349"/>
                  </a:cubicBezTo>
                  <a:cubicBezTo>
                    <a:pt x="165" y="350"/>
                    <a:pt x="165" y="350"/>
                    <a:pt x="165" y="351"/>
                  </a:cubicBezTo>
                  <a:cubicBezTo>
                    <a:pt x="166" y="352"/>
                    <a:pt x="166" y="352"/>
                    <a:pt x="167" y="353"/>
                  </a:cubicBezTo>
                  <a:cubicBezTo>
                    <a:pt x="168" y="353"/>
                    <a:pt x="168" y="354"/>
                    <a:pt x="168" y="355"/>
                  </a:cubicBezTo>
                  <a:cubicBezTo>
                    <a:pt x="169" y="356"/>
                    <a:pt x="170" y="355"/>
                    <a:pt x="171" y="356"/>
                  </a:cubicBezTo>
                  <a:cubicBezTo>
                    <a:pt x="171" y="356"/>
                    <a:pt x="172" y="357"/>
                    <a:pt x="173" y="356"/>
                  </a:cubicBezTo>
                  <a:cubicBezTo>
                    <a:pt x="173" y="356"/>
                    <a:pt x="174" y="356"/>
                    <a:pt x="174" y="356"/>
                  </a:cubicBezTo>
                  <a:cubicBezTo>
                    <a:pt x="175" y="356"/>
                    <a:pt x="176" y="356"/>
                    <a:pt x="176" y="356"/>
                  </a:cubicBezTo>
                  <a:cubicBezTo>
                    <a:pt x="177" y="356"/>
                    <a:pt x="177" y="356"/>
                    <a:pt x="177" y="356"/>
                  </a:cubicBezTo>
                  <a:cubicBezTo>
                    <a:pt x="178" y="356"/>
                    <a:pt x="178" y="357"/>
                    <a:pt x="179" y="356"/>
                  </a:cubicBezTo>
                  <a:cubicBezTo>
                    <a:pt x="180" y="356"/>
                    <a:pt x="180" y="356"/>
                    <a:pt x="180" y="355"/>
                  </a:cubicBezTo>
                  <a:cubicBezTo>
                    <a:pt x="180" y="355"/>
                    <a:pt x="180" y="355"/>
                    <a:pt x="181" y="354"/>
                  </a:cubicBezTo>
                  <a:cubicBezTo>
                    <a:pt x="181" y="353"/>
                    <a:pt x="181" y="353"/>
                    <a:pt x="181" y="352"/>
                  </a:cubicBezTo>
                  <a:cubicBezTo>
                    <a:pt x="181" y="350"/>
                    <a:pt x="184" y="351"/>
                    <a:pt x="185" y="351"/>
                  </a:cubicBezTo>
                  <a:cubicBezTo>
                    <a:pt x="187" y="350"/>
                    <a:pt x="191" y="350"/>
                    <a:pt x="190" y="352"/>
                  </a:cubicBezTo>
                  <a:cubicBezTo>
                    <a:pt x="190" y="352"/>
                    <a:pt x="190" y="353"/>
                    <a:pt x="189" y="353"/>
                  </a:cubicBezTo>
                  <a:cubicBezTo>
                    <a:pt x="189" y="353"/>
                    <a:pt x="189" y="354"/>
                    <a:pt x="189" y="355"/>
                  </a:cubicBezTo>
                  <a:cubicBezTo>
                    <a:pt x="189" y="356"/>
                    <a:pt x="188" y="357"/>
                    <a:pt x="187" y="358"/>
                  </a:cubicBezTo>
                  <a:cubicBezTo>
                    <a:pt x="186" y="358"/>
                    <a:pt x="185" y="358"/>
                    <a:pt x="185" y="358"/>
                  </a:cubicBezTo>
                  <a:cubicBezTo>
                    <a:pt x="185" y="359"/>
                    <a:pt x="186" y="359"/>
                    <a:pt x="186" y="359"/>
                  </a:cubicBezTo>
                  <a:cubicBezTo>
                    <a:pt x="187" y="360"/>
                    <a:pt x="187" y="362"/>
                    <a:pt x="188" y="362"/>
                  </a:cubicBezTo>
                  <a:cubicBezTo>
                    <a:pt x="190" y="362"/>
                    <a:pt x="191" y="361"/>
                    <a:pt x="192" y="362"/>
                  </a:cubicBezTo>
                  <a:cubicBezTo>
                    <a:pt x="193" y="362"/>
                    <a:pt x="194" y="362"/>
                    <a:pt x="195" y="362"/>
                  </a:cubicBezTo>
                  <a:cubicBezTo>
                    <a:pt x="196" y="362"/>
                    <a:pt x="197" y="362"/>
                    <a:pt x="197" y="362"/>
                  </a:cubicBezTo>
                  <a:cubicBezTo>
                    <a:pt x="198" y="362"/>
                    <a:pt x="198" y="363"/>
                    <a:pt x="198" y="363"/>
                  </a:cubicBezTo>
                  <a:cubicBezTo>
                    <a:pt x="198" y="363"/>
                    <a:pt x="199" y="363"/>
                    <a:pt x="199" y="363"/>
                  </a:cubicBezTo>
                  <a:cubicBezTo>
                    <a:pt x="201" y="363"/>
                    <a:pt x="200" y="365"/>
                    <a:pt x="200" y="366"/>
                  </a:cubicBezTo>
                  <a:cubicBezTo>
                    <a:pt x="200" y="367"/>
                    <a:pt x="200" y="367"/>
                    <a:pt x="200" y="368"/>
                  </a:cubicBezTo>
                  <a:cubicBezTo>
                    <a:pt x="200" y="369"/>
                    <a:pt x="199" y="370"/>
                    <a:pt x="199" y="370"/>
                  </a:cubicBezTo>
                  <a:cubicBezTo>
                    <a:pt x="199" y="371"/>
                    <a:pt x="199" y="372"/>
                    <a:pt x="199" y="372"/>
                  </a:cubicBezTo>
                  <a:cubicBezTo>
                    <a:pt x="199" y="373"/>
                    <a:pt x="200" y="373"/>
                    <a:pt x="201" y="374"/>
                  </a:cubicBezTo>
                  <a:cubicBezTo>
                    <a:pt x="201" y="374"/>
                    <a:pt x="201" y="374"/>
                    <a:pt x="202" y="374"/>
                  </a:cubicBezTo>
                  <a:cubicBezTo>
                    <a:pt x="203" y="375"/>
                    <a:pt x="203" y="375"/>
                    <a:pt x="204" y="375"/>
                  </a:cubicBezTo>
                  <a:cubicBezTo>
                    <a:pt x="206" y="375"/>
                    <a:pt x="207" y="374"/>
                    <a:pt x="208" y="374"/>
                  </a:cubicBezTo>
                  <a:cubicBezTo>
                    <a:pt x="210" y="373"/>
                    <a:pt x="211" y="374"/>
                    <a:pt x="213" y="374"/>
                  </a:cubicBezTo>
                  <a:cubicBezTo>
                    <a:pt x="213" y="374"/>
                    <a:pt x="214" y="376"/>
                    <a:pt x="215" y="375"/>
                  </a:cubicBezTo>
                  <a:cubicBezTo>
                    <a:pt x="216" y="375"/>
                    <a:pt x="216" y="374"/>
                    <a:pt x="217" y="374"/>
                  </a:cubicBezTo>
                  <a:cubicBezTo>
                    <a:pt x="219" y="373"/>
                    <a:pt x="218" y="372"/>
                    <a:pt x="219" y="371"/>
                  </a:cubicBezTo>
                  <a:cubicBezTo>
                    <a:pt x="220" y="371"/>
                    <a:pt x="220" y="370"/>
                    <a:pt x="220" y="370"/>
                  </a:cubicBezTo>
                  <a:cubicBezTo>
                    <a:pt x="221" y="370"/>
                    <a:pt x="221" y="371"/>
                    <a:pt x="221" y="371"/>
                  </a:cubicBezTo>
                  <a:cubicBezTo>
                    <a:pt x="222" y="371"/>
                    <a:pt x="222" y="370"/>
                    <a:pt x="222" y="370"/>
                  </a:cubicBezTo>
                  <a:cubicBezTo>
                    <a:pt x="224" y="369"/>
                    <a:pt x="226" y="369"/>
                    <a:pt x="228" y="368"/>
                  </a:cubicBezTo>
                  <a:cubicBezTo>
                    <a:pt x="228" y="367"/>
                    <a:pt x="230" y="367"/>
                    <a:pt x="230" y="368"/>
                  </a:cubicBezTo>
                  <a:cubicBezTo>
                    <a:pt x="230" y="369"/>
                    <a:pt x="228" y="368"/>
                    <a:pt x="228" y="369"/>
                  </a:cubicBezTo>
                  <a:cubicBezTo>
                    <a:pt x="227" y="370"/>
                    <a:pt x="228" y="371"/>
                    <a:pt x="228" y="371"/>
                  </a:cubicBezTo>
                  <a:cubicBezTo>
                    <a:pt x="228" y="372"/>
                    <a:pt x="226" y="372"/>
                    <a:pt x="226" y="373"/>
                  </a:cubicBezTo>
                  <a:cubicBezTo>
                    <a:pt x="226" y="373"/>
                    <a:pt x="227" y="373"/>
                    <a:pt x="227" y="373"/>
                  </a:cubicBezTo>
                  <a:cubicBezTo>
                    <a:pt x="228" y="373"/>
                    <a:pt x="228" y="374"/>
                    <a:pt x="228" y="374"/>
                  </a:cubicBezTo>
                  <a:cubicBezTo>
                    <a:pt x="228" y="374"/>
                    <a:pt x="229" y="373"/>
                    <a:pt x="229" y="373"/>
                  </a:cubicBezTo>
                  <a:cubicBezTo>
                    <a:pt x="229" y="373"/>
                    <a:pt x="229" y="372"/>
                    <a:pt x="229" y="372"/>
                  </a:cubicBezTo>
                  <a:cubicBezTo>
                    <a:pt x="229" y="371"/>
                    <a:pt x="228" y="371"/>
                    <a:pt x="229" y="370"/>
                  </a:cubicBezTo>
                  <a:cubicBezTo>
                    <a:pt x="230" y="369"/>
                    <a:pt x="232" y="369"/>
                    <a:pt x="233" y="369"/>
                  </a:cubicBezTo>
                  <a:cubicBezTo>
                    <a:pt x="232" y="368"/>
                    <a:pt x="232" y="368"/>
                    <a:pt x="232" y="368"/>
                  </a:cubicBezTo>
                  <a:cubicBezTo>
                    <a:pt x="232" y="367"/>
                    <a:pt x="233" y="368"/>
                    <a:pt x="233" y="368"/>
                  </a:cubicBezTo>
                  <a:cubicBezTo>
                    <a:pt x="233" y="368"/>
                    <a:pt x="233" y="369"/>
                    <a:pt x="233" y="369"/>
                  </a:cubicBezTo>
                  <a:cubicBezTo>
                    <a:pt x="234" y="369"/>
                    <a:pt x="235" y="369"/>
                    <a:pt x="235" y="369"/>
                  </a:cubicBezTo>
                  <a:cubicBezTo>
                    <a:pt x="236" y="369"/>
                    <a:pt x="236" y="369"/>
                    <a:pt x="236" y="369"/>
                  </a:cubicBezTo>
                  <a:cubicBezTo>
                    <a:pt x="236" y="370"/>
                    <a:pt x="236" y="371"/>
                    <a:pt x="237" y="371"/>
                  </a:cubicBezTo>
                  <a:cubicBezTo>
                    <a:pt x="238" y="370"/>
                    <a:pt x="240" y="370"/>
                    <a:pt x="241" y="370"/>
                  </a:cubicBezTo>
                  <a:cubicBezTo>
                    <a:pt x="242" y="370"/>
                    <a:pt x="242" y="371"/>
                    <a:pt x="243" y="371"/>
                  </a:cubicBezTo>
                  <a:cubicBezTo>
                    <a:pt x="243" y="371"/>
                    <a:pt x="244" y="371"/>
                    <a:pt x="245" y="370"/>
                  </a:cubicBezTo>
                  <a:cubicBezTo>
                    <a:pt x="246" y="369"/>
                    <a:pt x="246" y="370"/>
                    <a:pt x="247" y="369"/>
                  </a:cubicBezTo>
                  <a:cubicBezTo>
                    <a:pt x="249" y="368"/>
                    <a:pt x="249" y="370"/>
                    <a:pt x="249" y="370"/>
                  </a:cubicBezTo>
                  <a:cubicBezTo>
                    <a:pt x="250" y="370"/>
                    <a:pt x="249" y="370"/>
                    <a:pt x="250" y="371"/>
                  </a:cubicBezTo>
                  <a:cubicBezTo>
                    <a:pt x="250" y="371"/>
                    <a:pt x="251" y="371"/>
                    <a:pt x="251" y="371"/>
                  </a:cubicBezTo>
                  <a:cubicBezTo>
                    <a:pt x="251" y="371"/>
                    <a:pt x="252" y="371"/>
                    <a:pt x="252" y="371"/>
                  </a:cubicBezTo>
                  <a:cubicBezTo>
                    <a:pt x="253" y="371"/>
                    <a:pt x="253" y="371"/>
                    <a:pt x="253" y="371"/>
                  </a:cubicBezTo>
                  <a:cubicBezTo>
                    <a:pt x="254" y="372"/>
                    <a:pt x="252" y="372"/>
                    <a:pt x="252" y="373"/>
                  </a:cubicBezTo>
                  <a:cubicBezTo>
                    <a:pt x="251" y="373"/>
                    <a:pt x="253" y="373"/>
                    <a:pt x="253" y="373"/>
                  </a:cubicBezTo>
                  <a:cubicBezTo>
                    <a:pt x="255" y="372"/>
                    <a:pt x="256" y="373"/>
                    <a:pt x="257" y="374"/>
                  </a:cubicBezTo>
                  <a:cubicBezTo>
                    <a:pt x="257" y="374"/>
                    <a:pt x="258" y="374"/>
                    <a:pt x="258" y="375"/>
                  </a:cubicBezTo>
                  <a:cubicBezTo>
                    <a:pt x="257" y="376"/>
                    <a:pt x="257" y="376"/>
                    <a:pt x="257" y="376"/>
                  </a:cubicBezTo>
                  <a:cubicBezTo>
                    <a:pt x="258" y="375"/>
                    <a:pt x="260" y="376"/>
                    <a:pt x="260" y="376"/>
                  </a:cubicBezTo>
                  <a:cubicBezTo>
                    <a:pt x="260" y="376"/>
                    <a:pt x="260" y="376"/>
                    <a:pt x="261" y="377"/>
                  </a:cubicBezTo>
                  <a:cubicBezTo>
                    <a:pt x="261" y="377"/>
                    <a:pt x="262" y="377"/>
                    <a:pt x="263" y="377"/>
                  </a:cubicBezTo>
                  <a:cubicBezTo>
                    <a:pt x="264" y="376"/>
                    <a:pt x="266" y="376"/>
                    <a:pt x="268" y="376"/>
                  </a:cubicBezTo>
                  <a:cubicBezTo>
                    <a:pt x="268" y="376"/>
                    <a:pt x="269" y="376"/>
                    <a:pt x="269" y="377"/>
                  </a:cubicBezTo>
                  <a:cubicBezTo>
                    <a:pt x="270" y="377"/>
                    <a:pt x="271" y="377"/>
                    <a:pt x="272" y="378"/>
                  </a:cubicBezTo>
                  <a:cubicBezTo>
                    <a:pt x="272" y="378"/>
                    <a:pt x="272" y="378"/>
                    <a:pt x="272" y="379"/>
                  </a:cubicBezTo>
                  <a:cubicBezTo>
                    <a:pt x="272" y="380"/>
                    <a:pt x="272" y="380"/>
                    <a:pt x="272" y="381"/>
                  </a:cubicBezTo>
                  <a:cubicBezTo>
                    <a:pt x="273" y="381"/>
                    <a:pt x="274" y="382"/>
                    <a:pt x="273" y="383"/>
                  </a:cubicBezTo>
                  <a:cubicBezTo>
                    <a:pt x="273" y="384"/>
                    <a:pt x="272" y="384"/>
                    <a:pt x="272" y="385"/>
                  </a:cubicBezTo>
                  <a:cubicBezTo>
                    <a:pt x="271" y="385"/>
                    <a:pt x="271" y="385"/>
                    <a:pt x="270" y="386"/>
                  </a:cubicBezTo>
                  <a:cubicBezTo>
                    <a:pt x="270" y="386"/>
                    <a:pt x="268" y="388"/>
                    <a:pt x="268" y="388"/>
                  </a:cubicBezTo>
                  <a:cubicBezTo>
                    <a:pt x="269" y="388"/>
                    <a:pt x="270" y="387"/>
                    <a:pt x="270" y="387"/>
                  </a:cubicBezTo>
                  <a:cubicBezTo>
                    <a:pt x="271" y="387"/>
                    <a:pt x="271" y="388"/>
                    <a:pt x="271" y="388"/>
                  </a:cubicBezTo>
                  <a:cubicBezTo>
                    <a:pt x="271" y="388"/>
                    <a:pt x="273" y="388"/>
                    <a:pt x="274" y="388"/>
                  </a:cubicBezTo>
                  <a:cubicBezTo>
                    <a:pt x="274" y="388"/>
                    <a:pt x="274" y="387"/>
                    <a:pt x="273" y="387"/>
                  </a:cubicBezTo>
                  <a:cubicBezTo>
                    <a:pt x="272" y="388"/>
                    <a:pt x="272" y="388"/>
                    <a:pt x="271" y="388"/>
                  </a:cubicBezTo>
                  <a:cubicBezTo>
                    <a:pt x="271" y="387"/>
                    <a:pt x="271" y="386"/>
                    <a:pt x="272" y="386"/>
                  </a:cubicBezTo>
                  <a:cubicBezTo>
                    <a:pt x="272" y="385"/>
                    <a:pt x="273" y="385"/>
                    <a:pt x="274" y="385"/>
                  </a:cubicBezTo>
                  <a:cubicBezTo>
                    <a:pt x="275" y="385"/>
                    <a:pt x="276" y="384"/>
                    <a:pt x="276" y="385"/>
                  </a:cubicBezTo>
                  <a:cubicBezTo>
                    <a:pt x="276" y="385"/>
                    <a:pt x="275" y="386"/>
                    <a:pt x="275" y="386"/>
                  </a:cubicBezTo>
                  <a:cubicBezTo>
                    <a:pt x="275" y="386"/>
                    <a:pt x="275" y="387"/>
                    <a:pt x="275" y="387"/>
                  </a:cubicBezTo>
                  <a:cubicBezTo>
                    <a:pt x="276" y="386"/>
                    <a:pt x="276" y="385"/>
                    <a:pt x="278" y="385"/>
                  </a:cubicBezTo>
                  <a:cubicBezTo>
                    <a:pt x="279" y="385"/>
                    <a:pt x="279" y="385"/>
                    <a:pt x="279" y="385"/>
                  </a:cubicBezTo>
                  <a:cubicBezTo>
                    <a:pt x="279" y="385"/>
                    <a:pt x="280" y="385"/>
                    <a:pt x="280" y="385"/>
                  </a:cubicBezTo>
                  <a:cubicBezTo>
                    <a:pt x="281" y="385"/>
                    <a:pt x="281" y="385"/>
                    <a:pt x="281" y="385"/>
                  </a:cubicBezTo>
                  <a:cubicBezTo>
                    <a:pt x="281" y="385"/>
                    <a:pt x="282" y="385"/>
                    <a:pt x="282" y="385"/>
                  </a:cubicBezTo>
                  <a:cubicBezTo>
                    <a:pt x="282" y="385"/>
                    <a:pt x="283" y="386"/>
                    <a:pt x="283" y="386"/>
                  </a:cubicBezTo>
                  <a:cubicBezTo>
                    <a:pt x="283" y="387"/>
                    <a:pt x="283" y="387"/>
                    <a:pt x="283" y="387"/>
                  </a:cubicBezTo>
                  <a:cubicBezTo>
                    <a:pt x="282" y="387"/>
                    <a:pt x="283" y="388"/>
                    <a:pt x="283" y="388"/>
                  </a:cubicBezTo>
                  <a:cubicBezTo>
                    <a:pt x="284" y="388"/>
                    <a:pt x="284" y="386"/>
                    <a:pt x="285" y="386"/>
                  </a:cubicBezTo>
                  <a:cubicBezTo>
                    <a:pt x="286" y="386"/>
                    <a:pt x="286" y="387"/>
                    <a:pt x="287" y="387"/>
                  </a:cubicBezTo>
                  <a:cubicBezTo>
                    <a:pt x="287" y="387"/>
                    <a:pt x="288" y="386"/>
                    <a:pt x="288" y="386"/>
                  </a:cubicBezTo>
                  <a:cubicBezTo>
                    <a:pt x="288" y="387"/>
                    <a:pt x="289" y="387"/>
                    <a:pt x="289" y="386"/>
                  </a:cubicBezTo>
                  <a:cubicBezTo>
                    <a:pt x="290" y="386"/>
                    <a:pt x="290" y="386"/>
                    <a:pt x="291" y="386"/>
                  </a:cubicBezTo>
                  <a:cubicBezTo>
                    <a:pt x="291" y="386"/>
                    <a:pt x="291" y="386"/>
                    <a:pt x="292" y="386"/>
                  </a:cubicBezTo>
                  <a:cubicBezTo>
                    <a:pt x="293" y="386"/>
                    <a:pt x="293" y="386"/>
                    <a:pt x="293" y="387"/>
                  </a:cubicBezTo>
                  <a:cubicBezTo>
                    <a:pt x="294" y="387"/>
                    <a:pt x="295" y="387"/>
                    <a:pt x="296" y="388"/>
                  </a:cubicBezTo>
                  <a:cubicBezTo>
                    <a:pt x="297" y="388"/>
                    <a:pt x="299" y="387"/>
                    <a:pt x="299" y="388"/>
                  </a:cubicBezTo>
                  <a:cubicBezTo>
                    <a:pt x="299" y="389"/>
                    <a:pt x="299" y="391"/>
                    <a:pt x="298" y="392"/>
                  </a:cubicBezTo>
                  <a:cubicBezTo>
                    <a:pt x="297" y="393"/>
                    <a:pt x="296" y="394"/>
                    <a:pt x="295" y="395"/>
                  </a:cubicBezTo>
                  <a:cubicBezTo>
                    <a:pt x="294" y="396"/>
                    <a:pt x="293" y="396"/>
                    <a:pt x="293" y="397"/>
                  </a:cubicBezTo>
                  <a:cubicBezTo>
                    <a:pt x="293" y="398"/>
                    <a:pt x="291" y="400"/>
                    <a:pt x="290" y="400"/>
                  </a:cubicBezTo>
                  <a:cubicBezTo>
                    <a:pt x="289" y="400"/>
                    <a:pt x="288" y="402"/>
                    <a:pt x="288" y="402"/>
                  </a:cubicBezTo>
                  <a:cubicBezTo>
                    <a:pt x="288" y="403"/>
                    <a:pt x="288" y="404"/>
                    <a:pt x="288" y="405"/>
                  </a:cubicBezTo>
                  <a:cubicBezTo>
                    <a:pt x="288" y="405"/>
                    <a:pt x="287" y="406"/>
                    <a:pt x="287" y="407"/>
                  </a:cubicBezTo>
                  <a:cubicBezTo>
                    <a:pt x="286" y="408"/>
                    <a:pt x="286" y="408"/>
                    <a:pt x="286" y="409"/>
                  </a:cubicBezTo>
                  <a:cubicBezTo>
                    <a:pt x="286" y="409"/>
                    <a:pt x="285" y="410"/>
                    <a:pt x="284" y="411"/>
                  </a:cubicBezTo>
                  <a:cubicBezTo>
                    <a:pt x="284" y="411"/>
                    <a:pt x="283" y="411"/>
                    <a:pt x="283" y="412"/>
                  </a:cubicBezTo>
                  <a:cubicBezTo>
                    <a:pt x="282" y="412"/>
                    <a:pt x="283" y="412"/>
                    <a:pt x="282" y="413"/>
                  </a:cubicBezTo>
                  <a:cubicBezTo>
                    <a:pt x="282" y="413"/>
                    <a:pt x="282" y="413"/>
                    <a:pt x="281" y="413"/>
                  </a:cubicBezTo>
                  <a:cubicBezTo>
                    <a:pt x="280" y="414"/>
                    <a:pt x="280" y="414"/>
                    <a:pt x="279" y="415"/>
                  </a:cubicBezTo>
                  <a:cubicBezTo>
                    <a:pt x="279" y="415"/>
                    <a:pt x="279" y="415"/>
                    <a:pt x="279" y="415"/>
                  </a:cubicBezTo>
                  <a:cubicBezTo>
                    <a:pt x="279" y="415"/>
                    <a:pt x="279" y="414"/>
                    <a:pt x="279" y="415"/>
                  </a:cubicBezTo>
                  <a:cubicBezTo>
                    <a:pt x="278" y="415"/>
                    <a:pt x="278" y="415"/>
                    <a:pt x="278" y="415"/>
                  </a:cubicBezTo>
                  <a:cubicBezTo>
                    <a:pt x="277" y="415"/>
                    <a:pt x="277" y="415"/>
                    <a:pt x="277" y="415"/>
                  </a:cubicBezTo>
                  <a:cubicBezTo>
                    <a:pt x="277" y="415"/>
                    <a:pt x="277" y="415"/>
                    <a:pt x="277" y="415"/>
                  </a:cubicBezTo>
                  <a:cubicBezTo>
                    <a:pt x="276" y="415"/>
                    <a:pt x="276" y="415"/>
                    <a:pt x="276" y="415"/>
                  </a:cubicBezTo>
                  <a:cubicBezTo>
                    <a:pt x="275" y="416"/>
                    <a:pt x="275" y="416"/>
                    <a:pt x="275" y="416"/>
                  </a:cubicBezTo>
                  <a:cubicBezTo>
                    <a:pt x="275" y="416"/>
                    <a:pt x="275" y="417"/>
                    <a:pt x="274" y="417"/>
                  </a:cubicBezTo>
                  <a:cubicBezTo>
                    <a:pt x="274" y="417"/>
                    <a:pt x="273" y="417"/>
                    <a:pt x="273" y="417"/>
                  </a:cubicBezTo>
                  <a:cubicBezTo>
                    <a:pt x="272" y="418"/>
                    <a:pt x="270" y="418"/>
                    <a:pt x="270" y="419"/>
                  </a:cubicBezTo>
                  <a:cubicBezTo>
                    <a:pt x="269" y="419"/>
                    <a:pt x="269" y="419"/>
                    <a:pt x="269" y="420"/>
                  </a:cubicBezTo>
                  <a:cubicBezTo>
                    <a:pt x="268" y="420"/>
                    <a:pt x="268" y="421"/>
                    <a:pt x="268" y="421"/>
                  </a:cubicBezTo>
                  <a:cubicBezTo>
                    <a:pt x="268" y="422"/>
                    <a:pt x="268" y="423"/>
                    <a:pt x="267" y="423"/>
                  </a:cubicBezTo>
                  <a:cubicBezTo>
                    <a:pt x="267" y="423"/>
                    <a:pt x="266" y="424"/>
                    <a:pt x="266" y="424"/>
                  </a:cubicBezTo>
                  <a:cubicBezTo>
                    <a:pt x="266" y="424"/>
                    <a:pt x="265" y="425"/>
                    <a:pt x="265" y="425"/>
                  </a:cubicBezTo>
                  <a:cubicBezTo>
                    <a:pt x="265" y="425"/>
                    <a:pt x="265" y="426"/>
                    <a:pt x="264" y="426"/>
                  </a:cubicBezTo>
                  <a:cubicBezTo>
                    <a:pt x="264" y="426"/>
                    <a:pt x="264" y="426"/>
                    <a:pt x="264" y="425"/>
                  </a:cubicBezTo>
                  <a:cubicBezTo>
                    <a:pt x="264" y="425"/>
                    <a:pt x="264" y="426"/>
                    <a:pt x="263" y="426"/>
                  </a:cubicBezTo>
                  <a:cubicBezTo>
                    <a:pt x="263" y="426"/>
                    <a:pt x="262" y="426"/>
                    <a:pt x="262" y="427"/>
                  </a:cubicBezTo>
                  <a:cubicBezTo>
                    <a:pt x="262" y="427"/>
                    <a:pt x="262" y="427"/>
                    <a:pt x="261" y="428"/>
                  </a:cubicBezTo>
                  <a:cubicBezTo>
                    <a:pt x="261" y="428"/>
                    <a:pt x="261" y="429"/>
                    <a:pt x="261" y="429"/>
                  </a:cubicBezTo>
                  <a:cubicBezTo>
                    <a:pt x="261" y="429"/>
                    <a:pt x="260" y="430"/>
                    <a:pt x="260" y="430"/>
                  </a:cubicBezTo>
                  <a:cubicBezTo>
                    <a:pt x="259" y="430"/>
                    <a:pt x="259" y="430"/>
                    <a:pt x="259" y="430"/>
                  </a:cubicBezTo>
                  <a:cubicBezTo>
                    <a:pt x="257" y="431"/>
                    <a:pt x="256" y="431"/>
                    <a:pt x="254" y="431"/>
                  </a:cubicBezTo>
                  <a:cubicBezTo>
                    <a:pt x="254" y="431"/>
                    <a:pt x="254" y="431"/>
                    <a:pt x="253" y="431"/>
                  </a:cubicBezTo>
                  <a:cubicBezTo>
                    <a:pt x="252" y="431"/>
                    <a:pt x="252" y="431"/>
                    <a:pt x="252" y="431"/>
                  </a:cubicBezTo>
                  <a:cubicBezTo>
                    <a:pt x="251" y="431"/>
                    <a:pt x="251" y="432"/>
                    <a:pt x="252" y="432"/>
                  </a:cubicBezTo>
                  <a:cubicBezTo>
                    <a:pt x="252" y="432"/>
                    <a:pt x="253" y="432"/>
                    <a:pt x="253" y="432"/>
                  </a:cubicBezTo>
                  <a:cubicBezTo>
                    <a:pt x="253" y="432"/>
                    <a:pt x="253" y="433"/>
                    <a:pt x="253" y="433"/>
                  </a:cubicBezTo>
                  <a:cubicBezTo>
                    <a:pt x="254" y="433"/>
                    <a:pt x="254" y="433"/>
                    <a:pt x="254" y="433"/>
                  </a:cubicBezTo>
                  <a:cubicBezTo>
                    <a:pt x="254" y="434"/>
                    <a:pt x="253" y="434"/>
                    <a:pt x="253" y="435"/>
                  </a:cubicBezTo>
                  <a:cubicBezTo>
                    <a:pt x="252" y="435"/>
                    <a:pt x="251" y="436"/>
                    <a:pt x="250" y="436"/>
                  </a:cubicBezTo>
                  <a:cubicBezTo>
                    <a:pt x="249" y="436"/>
                    <a:pt x="249" y="436"/>
                    <a:pt x="248" y="436"/>
                  </a:cubicBezTo>
                  <a:cubicBezTo>
                    <a:pt x="247" y="436"/>
                    <a:pt x="247" y="436"/>
                    <a:pt x="246" y="436"/>
                  </a:cubicBezTo>
                  <a:cubicBezTo>
                    <a:pt x="246" y="437"/>
                    <a:pt x="246" y="437"/>
                    <a:pt x="246" y="437"/>
                  </a:cubicBezTo>
                  <a:cubicBezTo>
                    <a:pt x="246" y="437"/>
                    <a:pt x="246" y="437"/>
                    <a:pt x="246" y="437"/>
                  </a:cubicBezTo>
                  <a:cubicBezTo>
                    <a:pt x="246" y="438"/>
                    <a:pt x="246" y="438"/>
                    <a:pt x="246" y="438"/>
                  </a:cubicBezTo>
                  <a:cubicBezTo>
                    <a:pt x="246" y="438"/>
                    <a:pt x="245" y="439"/>
                    <a:pt x="244" y="439"/>
                  </a:cubicBezTo>
                  <a:cubicBezTo>
                    <a:pt x="243" y="439"/>
                    <a:pt x="243" y="439"/>
                    <a:pt x="243" y="438"/>
                  </a:cubicBezTo>
                  <a:cubicBezTo>
                    <a:pt x="242" y="438"/>
                    <a:pt x="242" y="439"/>
                    <a:pt x="242" y="439"/>
                  </a:cubicBezTo>
                  <a:cubicBezTo>
                    <a:pt x="242" y="439"/>
                    <a:pt x="242" y="440"/>
                    <a:pt x="243" y="440"/>
                  </a:cubicBezTo>
                  <a:cubicBezTo>
                    <a:pt x="243" y="440"/>
                    <a:pt x="243" y="440"/>
                    <a:pt x="243" y="440"/>
                  </a:cubicBezTo>
                  <a:cubicBezTo>
                    <a:pt x="243" y="440"/>
                    <a:pt x="243" y="440"/>
                    <a:pt x="243" y="440"/>
                  </a:cubicBezTo>
                  <a:cubicBezTo>
                    <a:pt x="243" y="441"/>
                    <a:pt x="243" y="441"/>
                    <a:pt x="243" y="441"/>
                  </a:cubicBezTo>
                  <a:cubicBezTo>
                    <a:pt x="243" y="441"/>
                    <a:pt x="243" y="442"/>
                    <a:pt x="242" y="442"/>
                  </a:cubicBezTo>
                  <a:cubicBezTo>
                    <a:pt x="242" y="442"/>
                    <a:pt x="241" y="442"/>
                    <a:pt x="241" y="443"/>
                  </a:cubicBezTo>
                  <a:cubicBezTo>
                    <a:pt x="240" y="443"/>
                    <a:pt x="240" y="443"/>
                    <a:pt x="240" y="443"/>
                  </a:cubicBezTo>
                  <a:cubicBezTo>
                    <a:pt x="240" y="443"/>
                    <a:pt x="240" y="444"/>
                    <a:pt x="240" y="444"/>
                  </a:cubicBezTo>
                  <a:cubicBezTo>
                    <a:pt x="241" y="444"/>
                    <a:pt x="242" y="444"/>
                    <a:pt x="242" y="444"/>
                  </a:cubicBezTo>
                  <a:cubicBezTo>
                    <a:pt x="243" y="444"/>
                    <a:pt x="243" y="444"/>
                    <a:pt x="243" y="444"/>
                  </a:cubicBezTo>
                  <a:cubicBezTo>
                    <a:pt x="243" y="444"/>
                    <a:pt x="243" y="445"/>
                    <a:pt x="243" y="445"/>
                  </a:cubicBezTo>
                  <a:cubicBezTo>
                    <a:pt x="243" y="445"/>
                    <a:pt x="243" y="445"/>
                    <a:pt x="242" y="445"/>
                  </a:cubicBezTo>
                  <a:cubicBezTo>
                    <a:pt x="242" y="445"/>
                    <a:pt x="242" y="445"/>
                    <a:pt x="242" y="446"/>
                  </a:cubicBezTo>
                  <a:cubicBezTo>
                    <a:pt x="241" y="446"/>
                    <a:pt x="241" y="446"/>
                    <a:pt x="241" y="446"/>
                  </a:cubicBezTo>
                  <a:cubicBezTo>
                    <a:pt x="241" y="446"/>
                    <a:pt x="241" y="446"/>
                    <a:pt x="241" y="446"/>
                  </a:cubicBezTo>
                  <a:cubicBezTo>
                    <a:pt x="241" y="447"/>
                    <a:pt x="241" y="447"/>
                    <a:pt x="241" y="447"/>
                  </a:cubicBezTo>
                  <a:cubicBezTo>
                    <a:pt x="241" y="447"/>
                    <a:pt x="241" y="447"/>
                    <a:pt x="240" y="447"/>
                  </a:cubicBezTo>
                  <a:cubicBezTo>
                    <a:pt x="239" y="447"/>
                    <a:pt x="240" y="447"/>
                    <a:pt x="240" y="448"/>
                  </a:cubicBezTo>
                  <a:cubicBezTo>
                    <a:pt x="241" y="448"/>
                    <a:pt x="241" y="448"/>
                    <a:pt x="241" y="448"/>
                  </a:cubicBezTo>
                  <a:cubicBezTo>
                    <a:pt x="241" y="448"/>
                    <a:pt x="242" y="448"/>
                    <a:pt x="242" y="448"/>
                  </a:cubicBezTo>
                  <a:cubicBezTo>
                    <a:pt x="242" y="448"/>
                    <a:pt x="241" y="448"/>
                    <a:pt x="241" y="449"/>
                  </a:cubicBezTo>
                  <a:cubicBezTo>
                    <a:pt x="241" y="449"/>
                    <a:pt x="241" y="449"/>
                    <a:pt x="242" y="449"/>
                  </a:cubicBezTo>
                  <a:close/>
                  <a:moveTo>
                    <a:pt x="223" y="350"/>
                  </a:moveTo>
                  <a:cubicBezTo>
                    <a:pt x="224" y="350"/>
                    <a:pt x="224" y="350"/>
                    <a:pt x="223" y="351"/>
                  </a:cubicBezTo>
                  <a:cubicBezTo>
                    <a:pt x="221" y="352"/>
                    <a:pt x="219" y="353"/>
                    <a:pt x="217" y="352"/>
                  </a:cubicBezTo>
                  <a:cubicBezTo>
                    <a:pt x="216" y="352"/>
                    <a:pt x="216" y="352"/>
                    <a:pt x="215" y="352"/>
                  </a:cubicBezTo>
                  <a:cubicBezTo>
                    <a:pt x="215" y="353"/>
                    <a:pt x="215" y="353"/>
                    <a:pt x="214" y="353"/>
                  </a:cubicBezTo>
                  <a:cubicBezTo>
                    <a:pt x="214" y="353"/>
                    <a:pt x="214" y="351"/>
                    <a:pt x="213" y="351"/>
                  </a:cubicBezTo>
                  <a:cubicBezTo>
                    <a:pt x="213" y="351"/>
                    <a:pt x="212" y="351"/>
                    <a:pt x="212" y="351"/>
                  </a:cubicBezTo>
                  <a:cubicBezTo>
                    <a:pt x="211" y="350"/>
                    <a:pt x="210" y="349"/>
                    <a:pt x="209" y="349"/>
                  </a:cubicBezTo>
                  <a:cubicBezTo>
                    <a:pt x="208" y="348"/>
                    <a:pt x="208" y="349"/>
                    <a:pt x="208" y="349"/>
                  </a:cubicBezTo>
                  <a:cubicBezTo>
                    <a:pt x="207" y="350"/>
                    <a:pt x="207" y="349"/>
                    <a:pt x="206" y="349"/>
                  </a:cubicBezTo>
                  <a:cubicBezTo>
                    <a:pt x="205" y="349"/>
                    <a:pt x="205" y="350"/>
                    <a:pt x="204" y="349"/>
                  </a:cubicBezTo>
                  <a:cubicBezTo>
                    <a:pt x="204" y="349"/>
                    <a:pt x="203" y="349"/>
                    <a:pt x="203" y="349"/>
                  </a:cubicBezTo>
                  <a:cubicBezTo>
                    <a:pt x="202" y="349"/>
                    <a:pt x="201" y="349"/>
                    <a:pt x="201" y="349"/>
                  </a:cubicBezTo>
                  <a:cubicBezTo>
                    <a:pt x="200" y="350"/>
                    <a:pt x="200" y="350"/>
                    <a:pt x="199" y="350"/>
                  </a:cubicBezTo>
                  <a:cubicBezTo>
                    <a:pt x="199" y="351"/>
                    <a:pt x="198" y="351"/>
                    <a:pt x="196" y="351"/>
                  </a:cubicBezTo>
                  <a:cubicBezTo>
                    <a:pt x="196" y="351"/>
                    <a:pt x="195" y="351"/>
                    <a:pt x="196" y="350"/>
                  </a:cubicBezTo>
                  <a:cubicBezTo>
                    <a:pt x="196" y="350"/>
                    <a:pt x="197" y="350"/>
                    <a:pt x="197" y="349"/>
                  </a:cubicBezTo>
                  <a:cubicBezTo>
                    <a:pt x="198" y="349"/>
                    <a:pt x="198" y="347"/>
                    <a:pt x="200" y="347"/>
                  </a:cubicBezTo>
                  <a:cubicBezTo>
                    <a:pt x="201" y="347"/>
                    <a:pt x="203" y="348"/>
                    <a:pt x="204" y="347"/>
                  </a:cubicBezTo>
                  <a:cubicBezTo>
                    <a:pt x="205" y="347"/>
                    <a:pt x="205" y="346"/>
                    <a:pt x="206" y="346"/>
                  </a:cubicBezTo>
                  <a:cubicBezTo>
                    <a:pt x="206" y="346"/>
                    <a:pt x="207" y="346"/>
                    <a:pt x="207" y="346"/>
                  </a:cubicBezTo>
                  <a:cubicBezTo>
                    <a:pt x="208" y="346"/>
                    <a:pt x="208" y="346"/>
                    <a:pt x="209" y="346"/>
                  </a:cubicBezTo>
                  <a:cubicBezTo>
                    <a:pt x="210" y="346"/>
                    <a:pt x="210" y="346"/>
                    <a:pt x="211" y="347"/>
                  </a:cubicBezTo>
                  <a:cubicBezTo>
                    <a:pt x="212" y="347"/>
                    <a:pt x="212" y="347"/>
                    <a:pt x="213" y="347"/>
                  </a:cubicBezTo>
                  <a:cubicBezTo>
                    <a:pt x="214" y="347"/>
                    <a:pt x="214" y="348"/>
                    <a:pt x="215" y="348"/>
                  </a:cubicBezTo>
                  <a:cubicBezTo>
                    <a:pt x="216" y="348"/>
                    <a:pt x="216" y="348"/>
                    <a:pt x="217" y="348"/>
                  </a:cubicBezTo>
                  <a:cubicBezTo>
                    <a:pt x="218" y="349"/>
                    <a:pt x="220" y="349"/>
                    <a:pt x="220" y="349"/>
                  </a:cubicBezTo>
                  <a:cubicBezTo>
                    <a:pt x="221" y="350"/>
                    <a:pt x="222" y="350"/>
                    <a:pt x="223" y="350"/>
                  </a:cubicBezTo>
                  <a:close/>
                  <a:moveTo>
                    <a:pt x="30" y="208"/>
                  </a:moveTo>
                  <a:cubicBezTo>
                    <a:pt x="31" y="208"/>
                    <a:pt x="30" y="208"/>
                    <a:pt x="30" y="209"/>
                  </a:cubicBezTo>
                  <a:cubicBezTo>
                    <a:pt x="30" y="209"/>
                    <a:pt x="29" y="209"/>
                    <a:pt x="29" y="209"/>
                  </a:cubicBezTo>
                  <a:cubicBezTo>
                    <a:pt x="29" y="209"/>
                    <a:pt x="29" y="209"/>
                    <a:pt x="29" y="208"/>
                  </a:cubicBezTo>
                  <a:cubicBezTo>
                    <a:pt x="28" y="208"/>
                    <a:pt x="28" y="208"/>
                    <a:pt x="28" y="208"/>
                  </a:cubicBezTo>
                  <a:cubicBezTo>
                    <a:pt x="27" y="209"/>
                    <a:pt x="27" y="207"/>
                    <a:pt x="28" y="206"/>
                  </a:cubicBezTo>
                  <a:cubicBezTo>
                    <a:pt x="28" y="206"/>
                    <a:pt x="28" y="206"/>
                    <a:pt x="28" y="206"/>
                  </a:cubicBezTo>
                  <a:cubicBezTo>
                    <a:pt x="29" y="206"/>
                    <a:pt x="29" y="207"/>
                    <a:pt x="30" y="207"/>
                  </a:cubicBezTo>
                  <a:cubicBezTo>
                    <a:pt x="30" y="208"/>
                    <a:pt x="30" y="208"/>
                    <a:pt x="30" y="208"/>
                  </a:cubicBezTo>
                  <a:close/>
                  <a:moveTo>
                    <a:pt x="27" y="232"/>
                  </a:moveTo>
                  <a:cubicBezTo>
                    <a:pt x="27" y="231"/>
                    <a:pt x="28" y="231"/>
                    <a:pt x="28" y="232"/>
                  </a:cubicBezTo>
                  <a:cubicBezTo>
                    <a:pt x="28" y="232"/>
                    <a:pt x="28" y="232"/>
                    <a:pt x="28" y="232"/>
                  </a:cubicBezTo>
                  <a:cubicBezTo>
                    <a:pt x="28" y="233"/>
                    <a:pt x="27" y="232"/>
                    <a:pt x="27" y="232"/>
                  </a:cubicBezTo>
                  <a:close/>
                  <a:moveTo>
                    <a:pt x="33" y="241"/>
                  </a:moveTo>
                  <a:cubicBezTo>
                    <a:pt x="34" y="240"/>
                    <a:pt x="35" y="240"/>
                    <a:pt x="35" y="241"/>
                  </a:cubicBezTo>
                  <a:cubicBezTo>
                    <a:pt x="36" y="241"/>
                    <a:pt x="36" y="242"/>
                    <a:pt x="35" y="242"/>
                  </a:cubicBezTo>
                  <a:cubicBezTo>
                    <a:pt x="35" y="242"/>
                    <a:pt x="34" y="242"/>
                    <a:pt x="34" y="242"/>
                  </a:cubicBezTo>
                  <a:cubicBezTo>
                    <a:pt x="33" y="243"/>
                    <a:pt x="33" y="243"/>
                    <a:pt x="33" y="242"/>
                  </a:cubicBezTo>
                  <a:cubicBezTo>
                    <a:pt x="32" y="242"/>
                    <a:pt x="33" y="241"/>
                    <a:pt x="33" y="241"/>
                  </a:cubicBezTo>
                  <a:close/>
                  <a:moveTo>
                    <a:pt x="30" y="245"/>
                  </a:moveTo>
                  <a:cubicBezTo>
                    <a:pt x="30" y="244"/>
                    <a:pt x="30" y="245"/>
                    <a:pt x="30" y="246"/>
                  </a:cubicBezTo>
                  <a:cubicBezTo>
                    <a:pt x="31" y="246"/>
                    <a:pt x="30" y="247"/>
                    <a:pt x="30" y="245"/>
                  </a:cubicBezTo>
                  <a:close/>
                  <a:moveTo>
                    <a:pt x="37" y="239"/>
                  </a:moveTo>
                  <a:cubicBezTo>
                    <a:pt x="36" y="239"/>
                    <a:pt x="37" y="240"/>
                    <a:pt x="36" y="240"/>
                  </a:cubicBezTo>
                  <a:cubicBezTo>
                    <a:pt x="36" y="240"/>
                    <a:pt x="36" y="240"/>
                    <a:pt x="35" y="240"/>
                  </a:cubicBezTo>
                  <a:cubicBezTo>
                    <a:pt x="35" y="240"/>
                    <a:pt x="35" y="240"/>
                    <a:pt x="35" y="239"/>
                  </a:cubicBezTo>
                  <a:cubicBezTo>
                    <a:pt x="35" y="239"/>
                    <a:pt x="35" y="239"/>
                    <a:pt x="35" y="239"/>
                  </a:cubicBezTo>
                  <a:cubicBezTo>
                    <a:pt x="35" y="239"/>
                    <a:pt x="36" y="238"/>
                    <a:pt x="36" y="237"/>
                  </a:cubicBezTo>
                  <a:cubicBezTo>
                    <a:pt x="36" y="236"/>
                    <a:pt x="37" y="237"/>
                    <a:pt x="37" y="237"/>
                  </a:cubicBezTo>
                  <a:cubicBezTo>
                    <a:pt x="37" y="238"/>
                    <a:pt x="38" y="238"/>
                    <a:pt x="38" y="238"/>
                  </a:cubicBezTo>
                  <a:cubicBezTo>
                    <a:pt x="38" y="239"/>
                    <a:pt x="38" y="239"/>
                    <a:pt x="38" y="239"/>
                  </a:cubicBezTo>
                  <a:cubicBezTo>
                    <a:pt x="39" y="240"/>
                    <a:pt x="37" y="239"/>
                    <a:pt x="37" y="239"/>
                  </a:cubicBezTo>
                  <a:close/>
                  <a:moveTo>
                    <a:pt x="26" y="249"/>
                  </a:moveTo>
                  <a:cubicBezTo>
                    <a:pt x="26" y="249"/>
                    <a:pt x="27" y="248"/>
                    <a:pt x="27" y="248"/>
                  </a:cubicBezTo>
                  <a:cubicBezTo>
                    <a:pt x="27" y="248"/>
                    <a:pt x="28" y="248"/>
                    <a:pt x="28" y="248"/>
                  </a:cubicBezTo>
                  <a:cubicBezTo>
                    <a:pt x="28" y="248"/>
                    <a:pt x="28" y="248"/>
                    <a:pt x="27" y="248"/>
                  </a:cubicBezTo>
                  <a:cubicBezTo>
                    <a:pt x="27" y="248"/>
                    <a:pt x="27" y="249"/>
                    <a:pt x="26" y="249"/>
                  </a:cubicBezTo>
                  <a:close/>
                  <a:moveTo>
                    <a:pt x="33" y="222"/>
                  </a:moveTo>
                  <a:cubicBezTo>
                    <a:pt x="32" y="224"/>
                    <a:pt x="32" y="221"/>
                    <a:pt x="32" y="221"/>
                  </a:cubicBezTo>
                  <a:cubicBezTo>
                    <a:pt x="31" y="220"/>
                    <a:pt x="33" y="220"/>
                    <a:pt x="33" y="220"/>
                  </a:cubicBezTo>
                  <a:cubicBezTo>
                    <a:pt x="33" y="221"/>
                    <a:pt x="33" y="222"/>
                    <a:pt x="33" y="222"/>
                  </a:cubicBezTo>
                  <a:close/>
                  <a:moveTo>
                    <a:pt x="31" y="244"/>
                  </a:moveTo>
                  <a:cubicBezTo>
                    <a:pt x="31" y="244"/>
                    <a:pt x="31" y="244"/>
                    <a:pt x="32" y="244"/>
                  </a:cubicBezTo>
                  <a:cubicBezTo>
                    <a:pt x="32" y="244"/>
                    <a:pt x="33" y="244"/>
                    <a:pt x="32" y="244"/>
                  </a:cubicBezTo>
                  <a:cubicBezTo>
                    <a:pt x="32" y="243"/>
                    <a:pt x="32" y="243"/>
                    <a:pt x="33" y="243"/>
                  </a:cubicBezTo>
                  <a:cubicBezTo>
                    <a:pt x="33" y="243"/>
                    <a:pt x="33" y="243"/>
                    <a:pt x="33" y="243"/>
                  </a:cubicBezTo>
                  <a:cubicBezTo>
                    <a:pt x="33" y="244"/>
                    <a:pt x="32" y="245"/>
                    <a:pt x="32" y="244"/>
                  </a:cubicBezTo>
                  <a:cubicBezTo>
                    <a:pt x="32" y="244"/>
                    <a:pt x="32" y="245"/>
                    <a:pt x="31" y="245"/>
                  </a:cubicBezTo>
                  <a:cubicBezTo>
                    <a:pt x="31" y="245"/>
                    <a:pt x="31" y="244"/>
                    <a:pt x="31" y="244"/>
                  </a:cubicBezTo>
                  <a:close/>
                  <a:moveTo>
                    <a:pt x="116" y="328"/>
                  </a:moveTo>
                  <a:cubicBezTo>
                    <a:pt x="116" y="328"/>
                    <a:pt x="115" y="329"/>
                    <a:pt x="115" y="328"/>
                  </a:cubicBezTo>
                  <a:cubicBezTo>
                    <a:pt x="115" y="328"/>
                    <a:pt x="114" y="326"/>
                    <a:pt x="115" y="327"/>
                  </a:cubicBezTo>
                  <a:cubicBezTo>
                    <a:pt x="115" y="327"/>
                    <a:pt x="115" y="327"/>
                    <a:pt x="116" y="328"/>
                  </a:cubicBezTo>
                  <a:close/>
                  <a:moveTo>
                    <a:pt x="80" y="240"/>
                  </a:moveTo>
                  <a:cubicBezTo>
                    <a:pt x="80" y="240"/>
                    <a:pt x="81" y="241"/>
                    <a:pt x="81" y="242"/>
                  </a:cubicBezTo>
                  <a:cubicBezTo>
                    <a:pt x="81" y="243"/>
                    <a:pt x="80" y="243"/>
                    <a:pt x="80" y="243"/>
                  </a:cubicBezTo>
                  <a:cubicBezTo>
                    <a:pt x="80" y="244"/>
                    <a:pt x="79" y="244"/>
                    <a:pt x="79" y="244"/>
                  </a:cubicBezTo>
                  <a:cubicBezTo>
                    <a:pt x="79" y="244"/>
                    <a:pt x="79" y="243"/>
                    <a:pt x="79" y="243"/>
                  </a:cubicBezTo>
                  <a:cubicBezTo>
                    <a:pt x="79" y="242"/>
                    <a:pt x="78" y="242"/>
                    <a:pt x="79" y="241"/>
                  </a:cubicBezTo>
                  <a:cubicBezTo>
                    <a:pt x="79" y="241"/>
                    <a:pt x="79" y="240"/>
                    <a:pt x="80" y="240"/>
                  </a:cubicBezTo>
                  <a:close/>
                  <a:moveTo>
                    <a:pt x="80" y="236"/>
                  </a:moveTo>
                  <a:cubicBezTo>
                    <a:pt x="80" y="237"/>
                    <a:pt x="80" y="237"/>
                    <a:pt x="81" y="238"/>
                  </a:cubicBezTo>
                  <a:cubicBezTo>
                    <a:pt x="81" y="238"/>
                    <a:pt x="81" y="239"/>
                    <a:pt x="81" y="239"/>
                  </a:cubicBezTo>
                  <a:cubicBezTo>
                    <a:pt x="80" y="240"/>
                    <a:pt x="80" y="239"/>
                    <a:pt x="79" y="240"/>
                  </a:cubicBezTo>
                  <a:cubicBezTo>
                    <a:pt x="79" y="240"/>
                    <a:pt x="78" y="240"/>
                    <a:pt x="78" y="240"/>
                  </a:cubicBezTo>
                  <a:cubicBezTo>
                    <a:pt x="78" y="239"/>
                    <a:pt x="78" y="239"/>
                    <a:pt x="78" y="238"/>
                  </a:cubicBezTo>
                  <a:cubicBezTo>
                    <a:pt x="78" y="237"/>
                    <a:pt x="77" y="236"/>
                    <a:pt x="78" y="235"/>
                  </a:cubicBezTo>
                  <a:cubicBezTo>
                    <a:pt x="78" y="235"/>
                    <a:pt x="79" y="235"/>
                    <a:pt x="80" y="236"/>
                  </a:cubicBezTo>
                  <a:close/>
                  <a:moveTo>
                    <a:pt x="127" y="354"/>
                  </a:moveTo>
                  <a:cubicBezTo>
                    <a:pt x="127" y="354"/>
                    <a:pt x="126" y="354"/>
                    <a:pt x="125" y="353"/>
                  </a:cubicBezTo>
                  <a:cubicBezTo>
                    <a:pt x="125" y="353"/>
                    <a:pt x="125" y="352"/>
                    <a:pt x="125" y="352"/>
                  </a:cubicBezTo>
                  <a:cubicBezTo>
                    <a:pt x="125" y="352"/>
                    <a:pt x="126" y="352"/>
                    <a:pt x="126" y="352"/>
                  </a:cubicBezTo>
                  <a:cubicBezTo>
                    <a:pt x="126" y="353"/>
                    <a:pt x="127" y="353"/>
                    <a:pt x="127" y="354"/>
                  </a:cubicBezTo>
                  <a:close/>
                  <a:moveTo>
                    <a:pt x="122" y="353"/>
                  </a:moveTo>
                  <a:cubicBezTo>
                    <a:pt x="121" y="351"/>
                    <a:pt x="121" y="349"/>
                    <a:pt x="123" y="351"/>
                  </a:cubicBezTo>
                  <a:cubicBezTo>
                    <a:pt x="123" y="352"/>
                    <a:pt x="123" y="352"/>
                    <a:pt x="123" y="353"/>
                  </a:cubicBezTo>
                  <a:cubicBezTo>
                    <a:pt x="123" y="353"/>
                    <a:pt x="122" y="353"/>
                    <a:pt x="122" y="353"/>
                  </a:cubicBezTo>
                  <a:close/>
                  <a:moveTo>
                    <a:pt x="119" y="330"/>
                  </a:moveTo>
                  <a:cubicBezTo>
                    <a:pt x="118" y="329"/>
                    <a:pt x="121" y="330"/>
                    <a:pt x="121" y="330"/>
                  </a:cubicBezTo>
                  <a:cubicBezTo>
                    <a:pt x="122" y="331"/>
                    <a:pt x="121" y="331"/>
                    <a:pt x="121" y="331"/>
                  </a:cubicBezTo>
                  <a:cubicBezTo>
                    <a:pt x="120" y="331"/>
                    <a:pt x="119" y="331"/>
                    <a:pt x="119" y="330"/>
                  </a:cubicBezTo>
                  <a:close/>
                  <a:moveTo>
                    <a:pt x="50" y="225"/>
                  </a:moveTo>
                  <a:cubicBezTo>
                    <a:pt x="50" y="225"/>
                    <a:pt x="50" y="226"/>
                    <a:pt x="50" y="226"/>
                  </a:cubicBezTo>
                  <a:cubicBezTo>
                    <a:pt x="49" y="227"/>
                    <a:pt x="50" y="228"/>
                    <a:pt x="50" y="229"/>
                  </a:cubicBezTo>
                  <a:cubicBezTo>
                    <a:pt x="49" y="230"/>
                    <a:pt x="48" y="230"/>
                    <a:pt x="48" y="231"/>
                  </a:cubicBezTo>
                  <a:cubicBezTo>
                    <a:pt x="47" y="231"/>
                    <a:pt x="48" y="231"/>
                    <a:pt x="47" y="231"/>
                  </a:cubicBezTo>
                  <a:cubicBezTo>
                    <a:pt x="47" y="231"/>
                    <a:pt x="46" y="231"/>
                    <a:pt x="46" y="230"/>
                  </a:cubicBezTo>
                  <a:cubicBezTo>
                    <a:pt x="46" y="230"/>
                    <a:pt x="47" y="229"/>
                    <a:pt x="47" y="229"/>
                  </a:cubicBezTo>
                  <a:cubicBezTo>
                    <a:pt x="47" y="228"/>
                    <a:pt x="49" y="228"/>
                    <a:pt x="49" y="227"/>
                  </a:cubicBezTo>
                  <a:cubicBezTo>
                    <a:pt x="49" y="226"/>
                    <a:pt x="49" y="225"/>
                    <a:pt x="50" y="225"/>
                  </a:cubicBezTo>
                  <a:close/>
                  <a:moveTo>
                    <a:pt x="39" y="240"/>
                  </a:moveTo>
                  <a:cubicBezTo>
                    <a:pt x="40" y="240"/>
                    <a:pt x="40" y="241"/>
                    <a:pt x="39" y="241"/>
                  </a:cubicBezTo>
                  <a:cubicBezTo>
                    <a:pt x="39" y="241"/>
                    <a:pt x="39" y="241"/>
                    <a:pt x="39" y="241"/>
                  </a:cubicBezTo>
                  <a:cubicBezTo>
                    <a:pt x="39" y="241"/>
                    <a:pt x="39" y="240"/>
                    <a:pt x="39" y="240"/>
                  </a:cubicBezTo>
                  <a:close/>
                  <a:moveTo>
                    <a:pt x="81" y="246"/>
                  </a:moveTo>
                  <a:cubicBezTo>
                    <a:pt x="81" y="247"/>
                    <a:pt x="80" y="247"/>
                    <a:pt x="81" y="248"/>
                  </a:cubicBezTo>
                  <a:cubicBezTo>
                    <a:pt x="81" y="248"/>
                    <a:pt x="82" y="250"/>
                    <a:pt x="81" y="250"/>
                  </a:cubicBezTo>
                  <a:cubicBezTo>
                    <a:pt x="81" y="250"/>
                    <a:pt x="80" y="249"/>
                    <a:pt x="80" y="248"/>
                  </a:cubicBezTo>
                  <a:cubicBezTo>
                    <a:pt x="80" y="248"/>
                    <a:pt x="80" y="247"/>
                    <a:pt x="80" y="247"/>
                  </a:cubicBezTo>
                  <a:cubicBezTo>
                    <a:pt x="80" y="246"/>
                    <a:pt x="80" y="246"/>
                    <a:pt x="80" y="246"/>
                  </a:cubicBezTo>
                  <a:cubicBezTo>
                    <a:pt x="80" y="245"/>
                    <a:pt x="81" y="246"/>
                    <a:pt x="81" y="246"/>
                  </a:cubicBezTo>
                  <a:close/>
                  <a:moveTo>
                    <a:pt x="76" y="228"/>
                  </a:moveTo>
                  <a:cubicBezTo>
                    <a:pt x="76" y="230"/>
                    <a:pt x="75" y="229"/>
                    <a:pt x="75" y="229"/>
                  </a:cubicBezTo>
                  <a:cubicBezTo>
                    <a:pt x="74" y="228"/>
                    <a:pt x="74" y="228"/>
                    <a:pt x="74" y="228"/>
                  </a:cubicBezTo>
                  <a:cubicBezTo>
                    <a:pt x="74" y="228"/>
                    <a:pt x="73" y="228"/>
                    <a:pt x="73" y="227"/>
                  </a:cubicBezTo>
                  <a:cubicBezTo>
                    <a:pt x="73" y="226"/>
                    <a:pt x="74" y="225"/>
                    <a:pt x="75" y="226"/>
                  </a:cubicBezTo>
                  <a:cubicBezTo>
                    <a:pt x="75" y="226"/>
                    <a:pt x="75" y="227"/>
                    <a:pt x="75" y="227"/>
                  </a:cubicBezTo>
                  <a:cubicBezTo>
                    <a:pt x="75" y="228"/>
                    <a:pt x="76" y="228"/>
                    <a:pt x="76" y="228"/>
                  </a:cubicBezTo>
                  <a:close/>
                  <a:moveTo>
                    <a:pt x="75" y="232"/>
                  </a:moveTo>
                  <a:cubicBezTo>
                    <a:pt x="75" y="232"/>
                    <a:pt x="75" y="231"/>
                    <a:pt x="76" y="232"/>
                  </a:cubicBezTo>
                  <a:cubicBezTo>
                    <a:pt x="76" y="231"/>
                    <a:pt x="76" y="233"/>
                    <a:pt x="75" y="232"/>
                  </a:cubicBezTo>
                  <a:close/>
                  <a:moveTo>
                    <a:pt x="254" y="366"/>
                  </a:moveTo>
                  <a:cubicBezTo>
                    <a:pt x="253" y="366"/>
                    <a:pt x="253" y="366"/>
                    <a:pt x="253" y="366"/>
                  </a:cubicBezTo>
                  <a:cubicBezTo>
                    <a:pt x="253" y="366"/>
                    <a:pt x="253" y="365"/>
                    <a:pt x="253" y="365"/>
                  </a:cubicBezTo>
                  <a:cubicBezTo>
                    <a:pt x="254" y="365"/>
                    <a:pt x="254" y="365"/>
                    <a:pt x="254" y="366"/>
                  </a:cubicBezTo>
                  <a:close/>
                  <a:moveTo>
                    <a:pt x="429" y="324"/>
                  </a:moveTo>
                  <a:cubicBezTo>
                    <a:pt x="429" y="324"/>
                    <a:pt x="428" y="325"/>
                    <a:pt x="428" y="325"/>
                  </a:cubicBezTo>
                  <a:cubicBezTo>
                    <a:pt x="428" y="324"/>
                    <a:pt x="428" y="324"/>
                    <a:pt x="428" y="323"/>
                  </a:cubicBezTo>
                  <a:cubicBezTo>
                    <a:pt x="428" y="323"/>
                    <a:pt x="428" y="322"/>
                    <a:pt x="428" y="322"/>
                  </a:cubicBezTo>
                  <a:cubicBezTo>
                    <a:pt x="428" y="321"/>
                    <a:pt x="429" y="320"/>
                    <a:pt x="429" y="320"/>
                  </a:cubicBezTo>
                  <a:cubicBezTo>
                    <a:pt x="429" y="320"/>
                    <a:pt x="430" y="320"/>
                    <a:pt x="430" y="321"/>
                  </a:cubicBezTo>
                  <a:cubicBezTo>
                    <a:pt x="430" y="321"/>
                    <a:pt x="430" y="322"/>
                    <a:pt x="430" y="322"/>
                  </a:cubicBezTo>
                  <a:cubicBezTo>
                    <a:pt x="430" y="323"/>
                    <a:pt x="429" y="323"/>
                    <a:pt x="429" y="324"/>
                  </a:cubicBezTo>
                  <a:close/>
                  <a:moveTo>
                    <a:pt x="389" y="376"/>
                  </a:moveTo>
                  <a:cubicBezTo>
                    <a:pt x="388" y="376"/>
                    <a:pt x="388" y="375"/>
                    <a:pt x="388" y="374"/>
                  </a:cubicBezTo>
                  <a:cubicBezTo>
                    <a:pt x="389" y="374"/>
                    <a:pt x="388" y="374"/>
                    <a:pt x="388" y="373"/>
                  </a:cubicBezTo>
                  <a:cubicBezTo>
                    <a:pt x="388" y="373"/>
                    <a:pt x="389" y="372"/>
                    <a:pt x="389" y="372"/>
                  </a:cubicBezTo>
                  <a:cubicBezTo>
                    <a:pt x="389" y="371"/>
                    <a:pt x="390" y="371"/>
                    <a:pt x="390" y="370"/>
                  </a:cubicBezTo>
                  <a:cubicBezTo>
                    <a:pt x="390" y="369"/>
                    <a:pt x="391" y="369"/>
                    <a:pt x="391" y="368"/>
                  </a:cubicBezTo>
                  <a:cubicBezTo>
                    <a:pt x="391" y="367"/>
                    <a:pt x="391" y="366"/>
                    <a:pt x="392" y="366"/>
                  </a:cubicBezTo>
                  <a:cubicBezTo>
                    <a:pt x="392" y="365"/>
                    <a:pt x="392" y="365"/>
                    <a:pt x="392" y="365"/>
                  </a:cubicBezTo>
                  <a:cubicBezTo>
                    <a:pt x="392" y="364"/>
                    <a:pt x="393" y="364"/>
                    <a:pt x="393" y="363"/>
                  </a:cubicBezTo>
                  <a:cubicBezTo>
                    <a:pt x="393" y="363"/>
                    <a:pt x="394" y="363"/>
                    <a:pt x="394" y="362"/>
                  </a:cubicBezTo>
                  <a:cubicBezTo>
                    <a:pt x="394" y="362"/>
                    <a:pt x="395" y="362"/>
                    <a:pt x="395" y="361"/>
                  </a:cubicBezTo>
                  <a:cubicBezTo>
                    <a:pt x="395" y="361"/>
                    <a:pt x="396" y="360"/>
                    <a:pt x="396" y="360"/>
                  </a:cubicBezTo>
                  <a:cubicBezTo>
                    <a:pt x="396" y="360"/>
                    <a:pt x="396" y="360"/>
                    <a:pt x="396" y="360"/>
                  </a:cubicBezTo>
                  <a:cubicBezTo>
                    <a:pt x="396" y="359"/>
                    <a:pt x="396" y="359"/>
                    <a:pt x="396" y="359"/>
                  </a:cubicBezTo>
                  <a:cubicBezTo>
                    <a:pt x="396" y="358"/>
                    <a:pt x="397" y="358"/>
                    <a:pt x="397" y="358"/>
                  </a:cubicBezTo>
                  <a:cubicBezTo>
                    <a:pt x="397" y="358"/>
                    <a:pt x="398" y="357"/>
                    <a:pt x="398" y="357"/>
                  </a:cubicBezTo>
                  <a:cubicBezTo>
                    <a:pt x="398" y="356"/>
                    <a:pt x="398" y="358"/>
                    <a:pt x="398" y="359"/>
                  </a:cubicBezTo>
                  <a:cubicBezTo>
                    <a:pt x="398" y="359"/>
                    <a:pt x="398" y="359"/>
                    <a:pt x="398" y="360"/>
                  </a:cubicBezTo>
                  <a:cubicBezTo>
                    <a:pt x="398" y="360"/>
                    <a:pt x="398" y="361"/>
                    <a:pt x="397" y="361"/>
                  </a:cubicBezTo>
                  <a:cubicBezTo>
                    <a:pt x="397" y="361"/>
                    <a:pt x="397" y="362"/>
                    <a:pt x="397" y="363"/>
                  </a:cubicBezTo>
                  <a:cubicBezTo>
                    <a:pt x="396" y="363"/>
                    <a:pt x="396" y="364"/>
                    <a:pt x="396" y="364"/>
                  </a:cubicBezTo>
                  <a:cubicBezTo>
                    <a:pt x="396" y="365"/>
                    <a:pt x="395" y="365"/>
                    <a:pt x="395" y="365"/>
                  </a:cubicBezTo>
                  <a:cubicBezTo>
                    <a:pt x="395" y="367"/>
                    <a:pt x="394" y="368"/>
                    <a:pt x="394" y="369"/>
                  </a:cubicBezTo>
                  <a:cubicBezTo>
                    <a:pt x="393" y="370"/>
                    <a:pt x="393" y="371"/>
                    <a:pt x="392" y="372"/>
                  </a:cubicBezTo>
                  <a:cubicBezTo>
                    <a:pt x="392" y="373"/>
                    <a:pt x="392" y="374"/>
                    <a:pt x="391" y="374"/>
                  </a:cubicBezTo>
                  <a:cubicBezTo>
                    <a:pt x="391" y="374"/>
                    <a:pt x="391" y="375"/>
                    <a:pt x="391" y="375"/>
                  </a:cubicBezTo>
                  <a:cubicBezTo>
                    <a:pt x="390" y="376"/>
                    <a:pt x="389" y="376"/>
                    <a:pt x="389" y="376"/>
                  </a:cubicBezTo>
                  <a:close/>
                  <a:moveTo>
                    <a:pt x="361" y="295"/>
                  </a:moveTo>
                  <a:cubicBezTo>
                    <a:pt x="361" y="295"/>
                    <a:pt x="360" y="296"/>
                    <a:pt x="360" y="295"/>
                  </a:cubicBezTo>
                  <a:cubicBezTo>
                    <a:pt x="360" y="295"/>
                    <a:pt x="360" y="294"/>
                    <a:pt x="360" y="294"/>
                  </a:cubicBezTo>
                  <a:cubicBezTo>
                    <a:pt x="360" y="293"/>
                    <a:pt x="360" y="292"/>
                    <a:pt x="360" y="292"/>
                  </a:cubicBezTo>
                  <a:cubicBezTo>
                    <a:pt x="363" y="290"/>
                    <a:pt x="366" y="288"/>
                    <a:pt x="370" y="286"/>
                  </a:cubicBezTo>
                  <a:cubicBezTo>
                    <a:pt x="370" y="287"/>
                    <a:pt x="370" y="288"/>
                    <a:pt x="369" y="289"/>
                  </a:cubicBezTo>
                  <a:cubicBezTo>
                    <a:pt x="369" y="290"/>
                    <a:pt x="369" y="292"/>
                    <a:pt x="368" y="293"/>
                  </a:cubicBezTo>
                  <a:cubicBezTo>
                    <a:pt x="367" y="294"/>
                    <a:pt x="366" y="295"/>
                    <a:pt x="366" y="295"/>
                  </a:cubicBezTo>
                  <a:cubicBezTo>
                    <a:pt x="365" y="296"/>
                    <a:pt x="365" y="294"/>
                    <a:pt x="364" y="295"/>
                  </a:cubicBezTo>
                  <a:cubicBezTo>
                    <a:pt x="364" y="296"/>
                    <a:pt x="363" y="297"/>
                    <a:pt x="363" y="297"/>
                  </a:cubicBezTo>
                  <a:cubicBezTo>
                    <a:pt x="363" y="296"/>
                    <a:pt x="363" y="296"/>
                    <a:pt x="363" y="296"/>
                  </a:cubicBezTo>
                  <a:cubicBezTo>
                    <a:pt x="362" y="295"/>
                    <a:pt x="362" y="294"/>
                    <a:pt x="361" y="295"/>
                  </a:cubicBezTo>
                  <a:close/>
                  <a:moveTo>
                    <a:pt x="348" y="319"/>
                  </a:moveTo>
                  <a:cubicBezTo>
                    <a:pt x="347" y="319"/>
                    <a:pt x="348" y="316"/>
                    <a:pt x="349" y="315"/>
                  </a:cubicBezTo>
                  <a:cubicBezTo>
                    <a:pt x="349" y="315"/>
                    <a:pt x="349" y="315"/>
                    <a:pt x="349" y="315"/>
                  </a:cubicBezTo>
                  <a:cubicBezTo>
                    <a:pt x="349" y="316"/>
                    <a:pt x="348" y="318"/>
                    <a:pt x="348" y="319"/>
                  </a:cubicBezTo>
                  <a:close/>
                  <a:moveTo>
                    <a:pt x="348" y="306"/>
                  </a:moveTo>
                  <a:cubicBezTo>
                    <a:pt x="349" y="306"/>
                    <a:pt x="349" y="306"/>
                    <a:pt x="349" y="306"/>
                  </a:cubicBezTo>
                  <a:cubicBezTo>
                    <a:pt x="349" y="307"/>
                    <a:pt x="349" y="307"/>
                    <a:pt x="348" y="308"/>
                  </a:cubicBezTo>
                  <a:cubicBezTo>
                    <a:pt x="348" y="309"/>
                    <a:pt x="348" y="310"/>
                    <a:pt x="347" y="309"/>
                  </a:cubicBezTo>
                  <a:cubicBezTo>
                    <a:pt x="347" y="309"/>
                    <a:pt x="347" y="308"/>
                    <a:pt x="347" y="307"/>
                  </a:cubicBezTo>
                  <a:cubicBezTo>
                    <a:pt x="348" y="307"/>
                    <a:pt x="348" y="307"/>
                    <a:pt x="348" y="306"/>
                  </a:cubicBezTo>
                  <a:close/>
                  <a:moveTo>
                    <a:pt x="408" y="262"/>
                  </a:moveTo>
                  <a:cubicBezTo>
                    <a:pt x="408" y="263"/>
                    <a:pt x="408" y="263"/>
                    <a:pt x="408" y="264"/>
                  </a:cubicBezTo>
                  <a:cubicBezTo>
                    <a:pt x="408" y="264"/>
                    <a:pt x="408" y="265"/>
                    <a:pt x="407" y="265"/>
                  </a:cubicBezTo>
                  <a:cubicBezTo>
                    <a:pt x="407" y="265"/>
                    <a:pt x="407" y="266"/>
                    <a:pt x="407" y="266"/>
                  </a:cubicBezTo>
                  <a:cubicBezTo>
                    <a:pt x="407" y="267"/>
                    <a:pt x="407" y="267"/>
                    <a:pt x="408" y="267"/>
                  </a:cubicBezTo>
                  <a:cubicBezTo>
                    <a:pt x="408" y="267"/>
                    <a:pt x="408" y="268"/>
                    <a:pt x="408" y="268"/>
                  </a:cubicBezTo>
                  <a:cubicBezTo>
                    <a:pt x="408" y="268"/>
                    <a:pt x="408" y="269"/>
                    <a:pt x="408" y="269"/>
                  </a:cubicBezTo>
                  <a:cubicBezTo>
                    <a:pt x="409" y="269"/>
                    <a:pt x="409" y="270"/>
                    <a:pt x="409" y="270"/>
                  </a:cubicBezTo>
                  <a:cubicBezTo>
                    <a:pt x="409" y="271"/>
                    <a:pt x="410" y="271"/>
                    <a:pt x="410" y="271"/>
                  </a:cubicBezTo>
                  <a:cubicBezTo>
                    <a:pt x="410" y="271"/>
                    <a:pt x="409" y="272"/>
                    <a:pt x="409" y="272"/>
                  </a:cubicBezTo>
                  <a:cubicBezTo>
                    <a:pt x="409" y="272"/>
                    <a:pt x="409" y="272"/>
                    <a:pt x="410" y="272"/>
                  </a:cubicBezTo>
                  <a:cubicBezTo>
                    <a:pt x="410" y="273"/>
                    <a:pt x="410" y="273"/>
                    <a:pt x="410" y="274"/>
                  </a:cubicBezTo>
                  <a:cubicBezTo>
                    <a:pt x="409" y="275"/>
                    <a:pt x="409" y="275"/>
                    <a:pt x="408" y="275"/>
                  </a:cubicBezTo>
                  <a:cubicBezTo>
                    <a:pt x="408" y="276"/>
                    <a:pt x="407" y="276"/>
                    <a:pt x="407" y="275"/>
                  </a:cubicBezTo>
                  <a:cubicBezTo>
                    <a:pt x="406" y="274"/>
                    <a:pt x="405" y="273"/>
                    <a:pt x="404" y="274"/>
                  </a:cubicBezTo>
                  <a:cubicBezTo>
                    <a:pt x="403" y="274"/>
                    <a:pt x="403" y="274"/>
                    <a:pt x="403" y="274"/>
                  </a:cubicBezTo>
                  <a:cubicBezTo>
                    <a:pt x="402" y="275"/>
                    <a:pt x="402" y="275"/>
                    <a:pt x="402" y="275"/>
                  </a:cubicBezTo>
                  <a:cubicBezTo>
                    <a:pt x="402" y="275"/>
                    <a:pt x="401" y="276"/>
                    <a:pt x="401" y="276"/>
                  </a:cubicBezTo>
                  <a:cubicBezTo>
                    <a:pt x="401" y="277"/>
                    <a:pt x="401" y="277"/>
                    <a:pt x="401" y="277"/>
                  </a:cubicBezTo>
                  <a:cubicBezTo>
                    <a:pt x="400" y="277"/>
                    <a:pt x="400" y="277"/>
                    <a:pt x="400" y="278"/>
                  </a:cubicBezTo>
                  <a:cubicBezTo>
                    <a:pt x="400" y="278"/>
                    <a:pt x="399" y="278"/>
                    <a:pt x="399" y="278"/>
                  </a:cubicBezTo>
                  <a:cubicBezTo>
                    <a:pt x="398" y="278"/>
                    <a:pt x="398" y="277"/>
                    <a:pt x="397" y="279"/>
                  </a:cubicBezTo>
                  <a:cubicBezTo>
                    <a:pt x="397" y="279"/>
                    <a:pt x="397" y="279"/>
                    <a:pt x="397" y="280"/>
                  </a:cubicBezTo>
                  <a:cubicBezTo>
                    <a:pt x="397" y="280"/>
                    <a:pt x="397" y="281"/>
                    <a:pt x="397" y="282"/>
                  </a:cubicBezTo>
                  <a:cubicBezTo>
                    <a:pt x="397" y="282"/>
                    <a:pt x="397" y="283"/>
                    <a:pt x="397" y="283"/>
                  </a:cubicBezTo>
                  <a:cubicBezTo>
                    <a:pt x="397" y="284"/>
                    <a:pt x="397" y="284"/>
                    <a:pt x="397" y="285"/>
                  </a:cubicBezTo>
                  <a:cubicBezTo>
                    <a:pt x="397" y="286"/>
                    <a:pt x="398" y="286"/>
                    <a:pt x="398" y="286"/>
                  </a:cubicBezTo>
                  <a:cubicBezTo>
                    <a:pt x="398" y="287"/>
                    <a:pt x="399" y="286"/>
                    <a:pt x="399" y="286"/>
                  </a:cubicBezTo>
                  <a:cubicBezTo>
                    <a:pt x="399" y="286"/>
                    <a:pt x="400" y="286"/>
                    <a:pt x="400" y="286"/>
                  </a:cubicBezTo>
                  <a:cubicBezTo>
                    <a:pt x="400" y="286"/>
                    <a:pt x="401" y="286"/>
                    <a:pt x="401" y="286"/>
                  </a:cubicBezTo>
                  <a:cubicBezTo>
                    <a:pt x="401" y="286"/>
                    <a:pt x="401" y="287"/>
                    <a:pt x="402" y="287"/>
                  </a:cubicBezTo>
                  <a:cubicBezTo>
                    <a:pt x="402" y="287"/>
                    <a:pt x="402" y="287"/>
                    <a:pt x="402" y="286"/>
                  </a:cubicBezTo>
                  <a:cubicBezTo>
                    <a:pt x="402" y="286"/>
                    <a:pt x="403" y="286"/>
                    <a:pt x="403" y="286"/>
                  </a:cubicBezTo>
                  <a:cubicBezTo>
                    <a:pt x="403" y="285"/>
                    <a:pt x="404" y="284"/>
                    <a:pt x="404" y="286"/>
                  </a:cubicBezTo>
                  <a:cubicBezTo>
                    <a:pt x="404" y="286"/>
                    <a:pt x="404" y="288"/>
                    <a:pt x="404" y="289"/>
                  </a:cubicBezTo>
                  <a:cubicBezTo>
                    <a:pt x="404" y="289"/>
                    <a:pt x="404" y="290"/>
                    <a:pt x="403" y="291"/>
                  </a:cubicBezTo>
                  <a:cubicBezTo>
                    <a:pt x="403" y="291"/>
                    <a:pt x="403" y="292"/>
                    <a:pt x="403" y="292"/>
                  </a:cubicBezTo>
                  <a:cubicBezTo>
                    <a:pt x="402" y="293"/>
                    <a:pt x="401" y="293"/>
                    <a:pt x="402" y="293"/>
                  </a:cubicBezTo>
                  <a:cubicBezTo>
                    <a:pt x="402" y="295"/>
                    <a:pt x="401" y="294"/>
                    <a:pt x="401" y="294"/>
                  </a:cubicBezTo>
                  <a:cubicBezTo>
                    <a:pt x="401" y="294"/>
                    <a:pt x="400" y="295"/>
                    <a:pt x="400" y="295"/>
                  </a:cubicBezTo>
                  <a:cubicBezTo>
                    <a:pt x="400" y="295"/>
                    <a:pt x="400" y="295"/>
                    <a:pt x="399" y="295"/>
                  </a:cubicBezTo>
                  <a:cubicBezTo>
                    <a:pt x="399" y="295"/>
                    <a:pt x="398" y="296"/>
                    <a:pt x="398" y="297"/>
                  </a:cubicBezTo>
                  <a:cubicBezTo>
                    <a:pt x="397" y="297"/>
                    <a:pt x="397" y="297"/>
                    <a:pt x="397" y="297"/>
                  </a:cubicBezTo>
                  <a:cubicBezTo>
                    <a:pt x="397" y="298"/>
                    <a:pt x="397" y="298"/>
                    <a:pt x="397" y="298"/>
                  </a:cubicBezTo>
                  <a:cubicBezTo>
                    <a:pt x="396" y="297"/>
                    <a:pt x="396" y="297"/>
                    <a:pt x="395" y="297"/>
                  </a:cubicBezTo>
                  <a:cubicBezTo>
                    <a:pt x="395" y="297"/>
                    <a:pt x="395" y="298"/>
                    <a:pt x="395" y="298"/>
                  </a:cubicBezTo>
                  <a:cubicBezTo>
                    <a:pt x="395" y="298"/>
                    <a:pt x="394" y="298"/>
                    <a:pt x="394" y="298"/>
                  </a:cubicBezTo>
                  <a:cubicBezTo>
                    <a:pt x="393" y="298"/>
                    <a:pt x="393" y="298"/>
                    <a:pt x="393" y="297"/>
                  </a:cubicBezTo>
                  <a:cubicBezTo>
                    <a:pt x="392" y="296"/>
                    <a:pt x="392" y="296"/>
                    <a:pt x="391" y="296"/>
                  </a:cubicBezTo>
                  <a:cubicBezTo>
                    <a:pt x="391" y="297"/>
                    <a:pt x="390" y="297"/>
                    <a:pt x="390" y="298"/>
                  </a:cubicBezTo>
                  <a:cubicBezTo>
                    <a:pt x="390" y="298"/>
                    <a:pt x="389" y="298"/>
                    <a:pt x="389" y="299"/>
                  </a:cubicBezTo>
                  <a:cubicBezTo>
                    <a:pt x="389" y="300"/>
                    <a:pt x="389" y="301"/>
                    <a:pt x="389" y="301"/>
                  </a:cubicBezTo>
                  <a:cubicBezTo>
                    <a:pt x="388" y="302"/>
                    <a:pt x="388" y="303"/>
                    <a:pt x="387" y="302"/>
                  </a:cubicBezTo>
                  <a:cubicBezTo>
                    <a:pt x="387" y="302"/>
                    <a:pt x="387" y="302"/>
                    <a:pt x="386" y="302"/>
                  </a:cubicBezTo>
                  <a:cubicBezTo>
                    <a:pt x="386" y="302"/>
                    <a:pt x="386" y="302"/>
                    <a:pt x="386" y="301"/>
                  </a:cubicBezTo>
                  <a:cubicBezTo>
                    <a:pt x="385" y="301"/>
                    <a:pt x="385" y="301"/>
                    <a:pt x="385" y="301"/>
                  </a:cubicBezTo>
                  <a:cubicBezTo>
                    <a:pt x="385" y="301"/>
                    <a:pt x="385" y="300"/>
                    <a:pt x="384" y="300"/>
                  </a:cubicBezTo>
                  <a:cubicBezTo>
                    <a:pt x="384" y="300"/>
                    <a:pt x="384" y="299"/>
                    <a:pt x="384" y="299"/>
                  </a:cubicBezTo>
                  <a:cubicBezTo>
                    <a:pt x="383" y="299"/>
                    <a:pt x="383" y="300"/>
                    <a:pt x="383" y="300"/>
                  </a:cubicBezTo>
                  <a:cubicBezTo>
                    <a:pt x="382" y="300"/>
                    <a:pt x="382" y="299"/>
                    <a:pt x="382" y="299"/>
                  </a:cubicBezTo>
                  <a:cubicBezTo>
                    <a:pt x="382" y="299"/>
                    <a:pt x="381" y="299"/>
                    <a:pt x="381" y="299"/>
                  </a:cubicBezTo>
                  <a:cubicBezTo>
                    <a:pt x="381" y="298"/>
                    <a:pt x="381" y="297"/>
                    <a:pt x="381" y="297"/>
                  </a:cubicBezTo>
                  <a:cubicBezTo>
                    <a:pt x="381" y="297"/>
                    <a:pt x="380" y="297"/>
                    <a:pt x="381" y="296"/>
                  </a:cubicBezTo>
                  <a:cubicBezTo>
                    <a:pt x="381" y="296"/>
                    <a:pt x="382" y="295"/>
                    <a:pt x="382" y="294"/>
                  </a:cubicBezTo>
                  <a:cubicBezTo>
                    <a:pt x="382" y="293"/>
                    <a:pt x="381" y="292"/>
                    <a:pt x="381" y="291"/>
                  </a:cubicBezTo>
                  <a:cubicBezTo>
                    <a:pt x="381" y="291"/>
                    <a:pt x="381" y="290"/>
                    <a:pt x="381" y="290"/>
                  </a:cubicBezTo>
                  <a:cubicBezTo>
                    <a:pt x="381" y="289"/>
                    <a:pt x="381" y="289"/>
                    <a:pt x="380" y="290"/>
                  </a:cubicBezTo>
                  <a:cubicBezTo>
                    <a:pt x="380" y="290"/>
                    <a:pt x="379" y="291"/>
                    <a:pt x="379" y="291"/>
                  </a:cubicBezTo>
                  <a:cubicBezTo>
                    <a:pt x="378" y="291"/>
                    <a:pt x="378" y="290"/>
                    <a:pt x="377" y="290"/>
                  </a:cubicBezTo>
                  <a:cubicBezTo>
                    <a:pt x="377" y="290"/>
                    <a:pt x="377" y="291"/>
                    <a:pt x="377" y="291"/>
                  </a:cubicBezTo>
                  <a:cubicBezTo>
                    <a:pt x="376" y="292"/>
                    <a:pt x="376" y="292"/>
                    <a:pt x="375" y="292"/>
                  </a:cubicBezTo>
                  <a:cubicBezTo>
                    <a:pt x="374" y="292"/>
                    <a:pt x="374" y="293"/>
                    <a:pt x="373" y="293"/>
                  </a:cubicBezTo>
                  <a:cubicBezTo>
                    <a:pt x="373" y="293"/>
                    <a:pt x="373" y="292"/>
                    <a:pt x="372" y="293"/>
                  </a:cubicBezTo>
                  <a:cubicBezTo>
                    <a:pt x="372" y="293"/>
                    <a:pt x="372" y="293"/>
                    <a:pt x="372" y="294"/>
                  </a:cubicBezTo>
                  <a:cubicBezTo>
                    <a:pt x="371" y="294"/>
                    <a:pt x="371" y="294"/>
                    <a:pt x="371" y="294"/>
                  </a:cubicBezTo>
                  <a:cubicBezTo>
                    <a:pt x="370" y="294"/>
                    <a:pt x="370" y="294"/>
                    <a:pt x="370" y="295"/>
                  </a:cubicBezTo>
                  <a:cubicBezTo>
                    <a:pt x="369" y="296"/>
                    <a:pt x="368" y="296"/>
                    <a:pt x="367" y="297"/>
                  </a:cubicBezTo>
                  <a:cubicBezTo>
                    <a:pt x="367" y="297"/>
                    <a:pt x="367" y="298"/>
                    <a:pt x="366" y="298"/>
                  </a:cubicBezTo>
                  <a:cubicBezTo>
                    <a:pt x="366" y="298"/>
                    <a:pt x="365" y="298"/>
                    <a:pt x="365" y="298"/>
                  </a:cubicBezTo>
                  <a:cubicBezTo>
                    <a:pt x="364" y="298"/>
                    <a:pt x="364" y="298"/>
                    <a:pt x="363" y="298"/>
                  </a:cubicBezTo>
                  <a:cubicBezTo>
                    <a:pt x="363" y="297"/>
                    <a:pt x="363" y="297"/>
                    <a:pt x="363" y="298"/>
                  </a:cubicBezTo>
                  <a:cubicBezTo>
                    <a:pt x="362" y="298"/>
                    <a:pt x="362" y="300"/>
                    <a:pt x="361" y="301"/>
                  </a:cubicBezTo>
                  <a:cubicBezTo>
                    <a:pt x="360" y="302"/>
                    <a:pt x="360" y="303"/>
                    <a:pt x="359" y="303"/>
                  </a:cubicBezTo>
                  <a:cubicBezTo>
                    <a:pt x="358" y="304"/>
                    <a:pt x="357" y="306"/>
                    <a:pt x="357" y="307"/>
                  </a:cubicBezTo>
                  <a:cubicBezTo>
                    <a:pt x="356" y="308"/>
                    <a:pt x="356" y="309"/>
                    <a:pt x="356" y="309"/>
                  </a:cubicBezTo>
                  <a:cubicBezTo>
                    <a:pt x="356" y="310"/>
                    <a:pt x="356" y="311"/>
                    <a:pt x="356" y="312"/>
                  </a:cubicBezTo>
                  <a:cubicBezTo>
                    <a:pt x="355" y="313"/>
                    <a:pt x="354" y="314"/>
                    <a:pt x="353" y="315"/>
                  </a:cubicBezTo>
                  <a:cubicBezTo>
                    <a:pt x="352" y="316"/>
                    <a:pt x="352" y="316"/>
                    <a:pt x="351" y="317"/>
                  </a:cubicBezTo>
                  <a:cubicBezTo>
                    <a:pt x="351" y="317"/>
                    <a:pt x="351" y="317"/>
                    <a:pt x="350" y="318"/>
                  </a:cubicBezTo>
                  <a:cubicBezTo>
                    <a:pt x="350" y="318"/>
                    <a:pt x="349" y="319"/>
                    <a:pt x="349" y="319"/>
                  </a:cubicBezTo>
                  <a:cubicBezTo>
                    <a:pt x="348" y="320"/>
                    <a:pt x="348" y="320"/>
                    <a:pt x="348" y="321"/>
                  </a:cubicBezTo>
                  <a:cubicBezTo>
                    <a:pt x="347" y="323"/>
                    <a:pt x="346" y="324"/>
                    <a:pt x="345" y="326"/>
                  </a:cubicBezTo>
                  <a:cubicBezTo>
                    <a:pt x="344" y="327"/>
                    <a:pt x="344" y="329"/>
                    <a:pt x="342" y="330"/>
                  </a:cubicBezTo>
                  <a:cubicBezTo>
                    <a:pt x="341" y="331"/>
                    <a:pt x="341" y="333"/>
                    <a:pt x="341" y="334"/>
                  </a:cubicBezTo>
                  <a:cubicBezTo>
                    <a:pt x="341" y="335"/>
                    <a:pt x="341" y="336"/>
                    <a:pt x="341" y="337"/>
                  </a:cubicBezTo>
                  <a:cubicBezTo>
                    <a:pt x="341" y="337"/>
                    <a:pt x="341" y="338"/>
                    <a:pt x="341" y="339"/>
                  </a:cubicBezTo>
                  <a:cubicBezTo>
                    <a:pt x="341" y="340"/>
                    <a:pt x="340" y="341"/>
                    <a:pt x="339" y="343"/>
                  </a:cubicBezTo>
                  <a:cubicBezTo>
                    <a:pt x="338" y="344"/>
                    <a:pt x="338" y="345"/>
                    <a:pt x="338" y="347"/>
                  </a:cubicBezTo>
                  <a:cubicBezTo>
                    <a:pt x="337" y="347"/>
                    <a:pt x="337" y="349"/>
                    <a:pt x="337" y="350"/>
                  </a:cubicBezTo>
                  <a:cubicBezTo>
                    <a:pt x="337" y="350"/>
                    <a:pt x="337" y="350"/>
                    <a:pt x="338" y="350"/>
                  </a:cubicBezTo>
                  <a:cubicBezTo>
                    <a:pt x="339" y="350"/>
                    <a:pt x="339" y="350"/>
                    <a:pt x="339" y="351"/>
                  </a:cubicBezTo>
                  <a:cubicBezTo>
                    <a:pt x="340" y="351"/>
                    <a:pt x="340" y="351"/>
                    <a:pt x="340" y="352"/>
                  </a:cubicBezTo>
                  <a:cubicBezTo>
                    <a:pt x="340" y="352"/>
                    <a:pt x="340" y="353"/>
                    <a:pt x="340" y="353"/>
                  </a:cubicBezTo>
                  <a:cubicBezTo>
                    <a:pt x="340" y="354"/>
                    <a:pt x="340" y="354"/>
                    <a:pt x="340" y="355"/>
                  </a:cubicBezTo>
                  <a:cubicBezTo>
                    <a:pt x="340" y="355"/>
                    <a:pt x="340" y="356"/>
                    <a:pt x="341" y="356"/>
                  </a:cubicBezTo>
                  <a:cubicBezTo>
                    <a:pt x="341" y="356"/>
                    <a:pt x="342" y="355"/>
                    <a:pt x="342" y="356"/>
                  </a:cubicBezTo>
                  <a:cubicBezTo>
                    <a:pt x="342" y="356"/>
                    <a:pt x="342" y="356"/>
                    <a:pt x="342" y="357"/>
                  </a:cubicBezTo>
                  <a:cubicBezTo>
                    <a:pt x="343" y="357"/>
                    <a:pt x="343" y="357"/>
                    <a:pt x="343" y="357"/>
                  </a:cubicBezTo>
                  <a:cubicBezTo>
                    <a:pt x="344" y="357"/>
                    <a:pt x="344" y="357"/>
                    <a:pt x="344" y="358"/>
                  </a:cubicBezTo>
                  <a:cubicBezTo>
                    <a:pt x="344" y="358"/>
                    <a:pt x="345" y="359"/>
                    <a:pt x="346" y="358"/>
                  </a:cubicBezTo>
                  <a:cubicBezTo>
                    <a:pt x="347" y="358"/>
                    <a:pt x="348" y="357"/>
                    <a:pt x="349" y="356"/>
                  </a:cubicBezTo>
                  <a:cubicBezTo>
                    <a:pt x="351" y="355"/>
                    <a:pt x="352" y="355"/>
                    <a:pt x="352" y="356"/>
                  </a:cubicBezTo>
                  <a:cubicBezTo>
                    <a:pt x="352" y="357"/>
                    <a:pt x="354" y="356"/>
                    <a:pt x="355" y="355"/>
                  </a:cubicBezTo>
                  <a:cubicBezTo>
                    <a:pt x="355" y="355"/>
                    <a:pt x="355" y="354"/>
                    <a:pt x="356" y="354"/>
                  </a:cubicBezTo>
                  <a:cubicBezTo>
                    <a:pt x="356" y="354"/>
                    <a:pt x="356" y="354"/>
                    <a:pt x="356" y="354"/>
                  </a:cubicBezTo>
                  <a:cubicBezTo>
                    <a:pt x="357" y="354"/>
                    <a:pt x="358" y="353"/>
                    <a:pt x="359" y="352"/>
                  </a:cubicBezTo>
                  <a:cubicBezTo>
                    <a:pt x="359" y="352"/>
                    <a:pt x="359" y="351"/>
                    <a:pt x="359" y="351"/>
                  </a:cubicBezTo>
                  <a:cubicBezTo>
                    <a:pt x="359" y="351"/>
                    <a:pt x="360" y="351"/>
                    <a:pt x="360" y="351"/>
                  </a:cubicBezTo>
                  <a:cubicBezTo>
                    <a:pt x="360" y="351"/>
                    <a:pt x="361" y="351"/>
                    <a:pt x="361" y="351"/>
                  </a:cubicBezTo>
                  <a:cubicBezTo>
                    <a:pt x="361" y="351"/>
                    <a:pt x="362" y="350"/>
                    <a:pt x="362" y="350"/>
                  </a:cubicBezTo>
                  <a:cubicBezTo>
                    <a:pt x="363" y="350"/>
                    <a:pt x="363" y="351"/>
                    <a:pt x="363" y="352"/>
                  </a:cubicBezTo>
                  <a:cubicBezTo>
                    <a:pt x="363" y="353"/>
                    <a:pt x="363" y="352"/>
                    <a:pt x="364" y="352"/>
                  </a:cubicBezTo>
                  <a:cubicBezTo>
                    <a:pt x="365" y="351"/>
                    <a:pt x="366" y="350"/>
                    <a:pt x="367" y="351"/>
                  </a:cubicBezTo>
                  <a:cubicBezTo>
                    <a:pt x="367" y="351"/>
                    <a:pt x="367" y="351"/>
                    <a:pt x="367" y="351"/>
                  </a:cubicBezTo>
                  <a:cubicBezTo>
                    <a:pt x="367" y="351"/>
                    <a:pt x="367" y="351"/>
                    <a:pt x="367" y="352"/>
                  </a:cubicBezTo>
                  <a:cubicBezTo>
                    <a:pt x="367" y="352"/>
                    <a:pt x="367" y="353"/>
                    <a:pt x="367" y="353"/>
                  </a:cubicBezTo>
                  <a:cubicBezTo>
                    <a:pt x="367" y="354"/>
                    <a:pt x="366" y="354"/>
                    <a:pt x="366" y="355"/>
                  </a:cubicBezTo>
                  <a:cubicBezTo>
                    <a:pt x="365" y="356"/>
                    <a:pt x="365" y="357"/>
                    <a:pt x="364" y="358"/>
                  </a:cubicBezTo>
                  <a:cubicBezTo>
                    <a:pt x="363" y="360"/>
                    <a:pt x="364" y="360"/>
                    <a:pt x="364" y="360"/>
                  </a:cubicBezTo>
                  <a:cubicBezTo>
                    <a:pt x="365" y="361"/>
                    <a:pt x="365" y="362"/>
                    <a:pt x="366" y="362"/>
                  </a:cubicBezTo>
                  <a:cubicBezTo>
                    <a:pt x="366" y="363"/>
                    <a:pt x="366" y="363"/>
                    <a:pt x="366" y="365"/>
                  </a:cubicBezTo>
                  <a:cubicBezTo>
                    <a:pt x="365" y="365"/>
                    <a:pt x="365" y="365"/>
                    <a:pt x="365" y="366"/>
                  </a:cubicBezTo>
                  <a:cubicBezTo>
                    <a:pt x="365" y="366"/>
                    <a:pt x="365" y="366"/>
                    <a:pt x="365" y="367"/>
                  </a:cubicBezTo>
                  <a:cubicBezTo>
                    <a:pt x="365" y="368"/>
                    <a:pt x="365" y="368"/>
                    <a:pt x="365" y="368"/>
                  </a:cubicBezTo>
                  <a:cubicBezTo>
                    <a:pt x="365" y="369"/>
                    <a:pt x="365" y="369"/>
                    <a:pt x="365" y="370"/>
                  </a:cubicBezTo>
                  <a:cubicBezTo>
                    <a:pt x="365" y="370"/>
                    <a:pt x="365" y="370"/>
                    <a:pt x="365" y="370"/>
                  </a:cubicBezTo>
                  <a:cubicBezTo>
                    <a:pt x="365" y="371"/>
                    <a:pt x="365" y="371"/>
                    <a:pt x="364" y="372"/>
                  </a:cubicBezTo>
                  <a:cubicBezTo>
                    <a:pt x="364" y="373"/>
                    <a:pt x="363" y="373"/>
                    <a:pt x="362" y="374"/>
                  </a:cubicBezTo>
                  <a:cubicBezTo>
                    <a:pt x="362" y="375"/>
                    <a:pt x="362" y="375"/>
                    <a:pt x="362" y="375"/>
                  </a:cubicBezTo>
                  <a:cubicBezTo>
                    <a:pt x="361" y="376"/>
                    <a:pt x="361" y="376"/>
                    <a:pt x="360" y="377"/>
                  </a:cubicBezTo>
                  <a:cubicBezTo>
                    <a:pt x="360" y="377"/>
                    <a:pt x="360" y="378"/>
                    <a:pt x="360" y="378"/>
                  </a:cubicBezTo>
                  <a:cubicBezTo>
                    <a:pt x="360" y="379"/>
                    <a:pt x="359" y="379"/>
                    <a:pt x="359" y="380"/>
                  </a:cubicBezTo>
                  <a:cubicBezTo>
                    <a:pt x="359" y="381"/>
                    <a:pt x="359" y="382"/>
                    <a:pt x="359" y="382"/>
                  </a:cubicBezTo>
                  <a:cubicBezTo>
                    <a:pt x="359" y="383"/>
                    <a:pt x="360" y="385"/>
                    <a:pt x="359" y="387"/>
                  </a:cubicBezTo>
                  <a:cubicBezTo>
                    <a:pt x="359" y="387"/>
                    <a:pt x="359" y="388"/>
                    <a:pt x="359" y="388"/>
                  </a:cubicBezTo>
                  <a:cubicBezTo>
                    <a:pt x="359" y="389"/>
                    <a:pt x="358" y="389"/>
                    <a:pt x="358" y="389"/>
                  </a:cubicBezTo>
                  <a:cubicBezTo>
                    <a:pt x="358" y="390"/>
                    <a:pt x="358" y="390"/>
                    <a:pt x="358" y="391"/>
                  </a:cubicBezTo>
                  <a:cubicBezTo>
                    <a:pt x="358" y="391"/>
                    <a:pt x="358" y="392"/>
                    <a:pt x="358" y="392"/>
                  </a:cubicBezTo>
                  <a:cubicBezTo>
                    <a:pt x="358" y="392"/>
                    <a:pt x="359" y="393"/>
                    <a:pt x="359" y="393"/>
                  </a:cubicBezTo>
                  <a:cubicBezTo>
                    <a:pt x="359" y="393"/>
                    <a:pt x="359" y="394"/>
                    <a:pt x="359" y="394"/>
                  </a:cubicBezTo>
                  <a:cubicBezTo>
                    <a:pt x="358" y="395"/>
                    <a:pt x="359" y="395"/>
                    <a:pt x="359" y="395"/>
                  </a:cubicBezTo>
                  <a:cubicBezTo>
                    <a:pt x="359" y="395"/>
                    <a:pt x="359" y="396"/>
                    <a:pt x="359" y="396"/>
                  </a:cubicBezTo>
                  <a:cubicBezTo>
                    <a:pt x="359" y="397"/>
                    <a:pt x="358" y="397"/>
                    <a:pt x="358" y="398"/>
                  </a:cubicBezTo>
                  <a:cubicBezTo>
                    <a:pt x="358" y="398"/>
                    <a:pt x="358" y="398"/>
                    <a:pt x="358" y="399"/>
                  </a:cubicBezTo>
                  <a:cubicBezTo>
                    <a:pt x="358" y="399"/>
                    <a:pt x="358" y="399"/>
                    <a:pt x="358" y="399"/>
                  </a:cubicBezTo>
                  <a:cubicBezTo>
                    <a:pt x="359" y="399"/>
                    <a:pt x="359" y="399"/>
                    <a:pt x="359" y="399"/>
                  </a:cubicBezTo>
                  <a:cubicBezTo>
                    <a:pt x="359" y="399"/>
                    <a:pt x="361" y="399"/>
                    <a:pt x="361" y="398"/>
                  </a:cubicBezTo>
                  <a:cubicBezTo>
                    <a:pt x="362" y="398"/>
                    <a:pt x="362" y="398"/>
                    <a:pt x="362" y="397"/>
                  </a:cubicBezTo>
                  <a:cubicBezTo>
                    <a:pt x="363" y="397"/>
                    <a:pt x="363" y="397"/>
                    <a:pt x="364" y="397"/>
                  </a:cubicBezTo>
                  <a:cubicBezTo>
                    <a:pt x="364" y="397"/>
                    <a:pt x="365" y="396"/>
                    <a:pt x="365" y="396"/>
                  </a:cubicBezTo>
                  <a:cubicBezTo>
                    <a:pt x="366" y="396"/>
                    <a:pt x="366" y="396"/>
                    <a:pt x="367" y="395"/>
                  </a:cubicBezTo>
                  <a:cubicBezTo>
                    <a:pt x="367" y="395"/>
                    <a:pt x="367" y="395"/>
                    <a:pt x="368" y="394"/>
                  </a:cubicBezTo>
                  <a:cubicBezTo>
                    <a:pt x="368" y="394"/>
                    <a:pt x="369" y="394"/>
                    <a:pt x="369" y="393"/>
                  </a:cubicBezTo>
                  <a:cubicBezTo>
                    <a:pt x="370" y="393"/>
                    <a:pt x="370" y="392"/>
                    <a:pt x="370" y="392"/>
                  </a:cubicBezTo>
                  <a:cubicBezTo>
                    <a:pt x="371" y="392"/>
                    <a:pt x="371" y="391"/>
                    <a:pt x="372" y="391"/>
                  </a:cubicBezTo>
                  <a:cubicBezTo>
                    <a:pt x="373" y="390"/>
                    <a:pt x="373" y="389"/>
                    <a:pt x="374" y="388"/>
                  </a:cubicBezTo>
                  <a:cubicBezTo>
                    <a:pt x="374" y="387"/>
                    <a:pt x="375" y="386"/>
                    <a:pt x="376" y="385"/>
                  </a:cubicBezTo>
                  <a:cubicBezTo>
                    <a:pt x="376" y="385"/>
                    <a:pt x="377" y="384"/>
                    <a:pt x="377" y="383"/>
                  </a:cubicBezTo>
                  <a:cubicBezTo>
                    <a:pt x="378" y="382"/>
                    <a:pt x="378" y="381"/>
                    <a:pt x="379" y="380"/>
                  </a:cubicBezTo>
                  <a:cubicBezTo>
                    <a:pt x="380" y="380"/>
                    <a:pt x="381" y="379"/>
                    <a:pt x="381" y="378"/>
                  </a:cubicBezTo>
                  <a:cubicBezTo>
                    <a:pt x="382" y="378"/>
                    <a:pt x="382" y="377"/>
                    <a:pt x="382" y="377"/>
                  </a:cubicBezTo>
                  <a:cubicBezTo>
                    <a:pt x="382" y="376"/>
                    <a:pt x="382" y="375"/>
                    <a:pt x="382" y="375"/>
                  </a:cubicBezTo>
                  <a:cubicBezTo>
                    <a:pt x="382" y="374"/>
                    <a:pt x="382" y="374"/>
                    <a:pt x="383" y="373"/>
                  </a:cubicBezTo>
                  <a:cubicBezTo>
                    <a:pt x="383" y="372"/>
                    <a:pt x="384" y="371"/>
                    <a:pt x="385" y="370"/>
                  </a:cubicBezTo>
                  <a:cubicBezTo>
                    <a:pt x="385" y="370"/>
                    <a:pt x="386" y="369"/>
                    <a:pt x="386" y="369"/>
                  </a:cubicBezTo>
                  <a:cubicBezTo>
                    <a:pt x="386" y="369"/>
                    <a:pt x="386" y="368"/>
                    <a:pt x="387" y="368"/>
                  </a:cubicBezTo>
                  <a:cubicBezTo>
                    <a:pt x="387" y="368"/>
                    <a:pt x="387" y="368"/>
                    <a:pt x="388" y="367"/>
                  </a:cubicBezTo>
                  <a:cubicBezTo>
                    <a:pt x="388" y="367"/>
                    <a:pt x="389" y="366"/>
                    <a:pt x="389" y="366"/>
                  </a:cubicBezTo>
                  <a:cubicBezTo>
                    <a:pt x="390" y="365"/>
                    <a:pt x="390" y="365"/>
                    <a:pt x="390" y="364"/>
                  </a:cubicBezTo>
                  <a:cubicBezTo>
                    <a:pt x="391" y="363"/>
                    <a:pt x="391" y="362"/>
                    <a:pt x="391" y="361"/>
                  </a:cubicBezTo>
                  <a:cubicBezTo>
                    <a:pt x="392" y="360"/>
                    <a:pt x="392" y="359"/>
                    <a:pt x="392" y="358"/>
                  </a:cubicBezTo>
                  <a:cubicBezTo>
                    <a:pt x="392" y="358"/>
                    <a:pt x="392" y="357"/>
                    <a:pt x="392" y="356"/>
                  </a:cubicBezTo>
                  <a:cubicBezTo>
                    <a:pt x="392" y="354"/>
                    <a:pt x="393" y="354"/>
                    <a:pt x="393" y="353"/>
                  </a:cubicBezTo>
                  <a:cubicBezTo>
                    <a:pt x="393" y="352"/>
                    <a:pt x="393" y="352"/>
                    <a:pt x="393" y="351"/>
                  </a:cubicBezTo>
                  <a:cubicBezTo>
                    <a:pt x="393" y="351"/>
                    <a:pt x="394" y="350"/>
                    <a:pt x="394" y="350"/>
                  </a:cubicBezTo>
                  <a:cubicBezTo>
                    <a:pt x="395" y="347"/>
                    <a:pt x="396" y="346"/>
                    <a:pt x="398" y="344"/>
                  </a:cubicBezTo>
                  <a:cubicBezTo>
                    <a:pt x="398" y="344"/>
                    <a:pt x="398" y="344"/>
                    <a:pt x="398" y="343"/>
                  </a:cubicBezTo>
                  <a:cubicBezTo>
                    <a:pt x="399" y="343"/>
                    <a:pt x="399" y="343"/>
                    <a:pt x="399" y="342"/>
                  </a:cubicBezTo>
                  <a:cubicBezTo>
                    <a:pt x="399" y="342"/>
                    <a:pt x="399" y="341"/>
                    <a:pt x="400" y="341"/>
                  </a:cubicBezTo>
                  <a:cubicBezTo>
                    <a:pt x="400" y="341"/>
                    <a:pt x="400" y="340"/>
                    <a:pt x="401" y="340"/>
                  </a:cubicBezTo>
                  <a:cubicBezTo>
                    <a:pt x="401" y="340"/>
                    <a:pt x="401" y="340"/>
                    <a:pt x="401" y="339"/>
                  </a:cubicBezTo>
                  <a:cubicBezTo>
                    <a:pt x="402" y="339"/>
                    <a:pt x="402" y="338"/>
                    <a:pt x="402" y="338"/>
                  </a:cubicBezTo>
                  <a:cubicBezTo>
                    <a:pt x="403" y="337"/>
                    <a:pt x="404" y="336"/>
                    <a:pt x="404" y="335"/>
                  </a:cubicBezTo>
                  <a:cubicBezTo>
                    <a:pt x="405" y="334"/>
                    <a:pt x="405" y="332"/>
                    <a:pt x="406" y="331"/>
                  </a:cubicBezTo>
                  <a:cubicBezTo>
                    <a:pt x="407" y="330"/>
                    <a:pt x="407" y="328"/>
                    <a:pt x="408" y="327"/>
                  </a:cubicBezTo>
                  <a:cubicBezTo>
                    <a:pt x="408" y="327"/>
                    <a:pt x="409" y="324"/>
                    <a:pt x="408" y="324"/>
                  </a:cubicBezTo>
                  <a:cubicBezTo>
                    <a:pt x="408" y="324"/>
                    <a:pt x="408" y="324"/>
                    <a:pt x="408" y="325"/>
                  </a:cubicBezTo>
                  <a:cubicBezTo>
                    <a:pt x="408" y="325"/>
                    <a:pt x="407" y="325"/>
                    <a:pt x="407" y="325"/>
                  </a:cubicBezTo>
                  <a:cubicBezTo>
                    <a:pt x="407" y="325"/>
                    <a:pt x="406" y="326"/>
                    <a:pt x="406" y="326"/>
                  </a:cubicBezTo>
                  <a:cubicBezTo>
                    <a:pt x="406" y="327"/>
                    <a:pt x="405" y="327"/>
                    <a:pt x="405" y="327"/>
                  </a:cubicBezTo>
                  <a:cubicBezTo>
                    <a:pt x="405" y="327"/>
                    <a:pt x="405" y="327"/>
                    <a:pt x="405" y="327"/>
                  </a:cubicBezTo>
                  <a:cubicBezTo>
                    <a:pt x="404" y="328"/>
                    <a:pt x="404" y="328"/>
                    <a:pt x="404" y="328"/>
                  </a:cubicBezTo>
                  <a:cubicBezTo>
                    <a:pt x="403" y="328"/>
                    <a:pt x="403" y="327"/>
                    <a:pt x="403" y="327"/>
                  </a:cubicBezTo>
                  <a:cubicBezTo>
                    <a:pt x="403" y="326"/>
                    <a:pt x="403" y="326"/>
                    <a:pt x="403" y="325"/>
                  </a:cubicBezTo>
                  <a:cubicBezTo>
                    <a:pt x="403" y="325"/>
                    <a:pt x="403" y="324"/>
                    <a:pt x="403" y="324"/>
                  </a:cubicBezTo>
                  <a:cubicBezTo>
                    <a:pt x="403" y="324"/>
                    <a:pt x="402" y="324"/>
                    <a:pt x="402" y="323"/>
                  </a:cubicBezTo>
                  <a:cubicBezTo>
                    <a:pt x="402" y="323"/>
                    <a:pt x="402" y="323"/>
                    <a:pt x="401" y="323"/>
                  </a:cubicBezTo>
                  <a:cubicBezTo>
                    <a:pt x="401" y="323"/>
                    <a:pt x="401" y="323"/>
                    <a:pt x="401" y="322"/>
                  </a:cubicBezTo>
                  <a:cubicBezTo>
                    <a:pt x="401" y="320"/>
                    <a:pt x="401" y="319"/>
                    <a:pt x="401" y="318"/>
                  </a:cubicBezTo>
                  <a:cubicBezTo>
                    <a:pt x="401" y="318"/>
                    <a:pt x="401" y="318"/>
                    <a:pt x="401" y="317"/>
                  </a:cubicBezTo>
                  <a:cubicBezTo>
                    <a:pt x="401" y="317"/>
                    <a:pt x="400" y="317"/>
                    <a:pt x="400" y="317"/>
                  </a:cubicBezTo>
                  <a:cubicBezTo>
                    <a:pt x="400" y="317"/>
                    <a:pt x="401" y="315"/>
                    <a:pt x="401" y="314"/>
                  </a:cubicBezTo>
                  <a:cubicBezTo>
                    <a:pt x="401" y="313"/>
                    <a:pt x="401" y="313"/>
                    <a:pt x="401" y="312"/>
                  </a:cubicBezTo>
                  <a:cubicBezTo>
                    <a:pt x="401" y="312"/>
                    <a:pt x="400" y="311"/>
                    <a:pt x="400" y="311"/>
                  </a:cubicBezTo>
                  <a:cubicBezTo>
                    <a:pt x="400" y="310"/>
                    <a:pt x="400" y="310"/>
                    <a:pt x="401" y="309"/>
                  </a:cubicBezTo>
                  <a:cubicBezTo>
                    <a:pt x="401" y="309"/>
                    <a:pt x="400" y="308"/>
                    <a:pt x="400" y="308"/>
                  </a:cubicBezTo>
                  <a:cubicBezTo>
                    <a:pt x="400" y="306"/>
                    <a:pt x="400" y="305"/>
                    <a:pt x="400" y="304"/>
                  </a:cubicBezTo>
                  <a:cubicBezTo>
                    <a:pt x="400" y="303"/>
                    <a:pt x="400" y="303"/>
                    <a:pt x="400" y="303"/>
                  </a:cubicBezTo>
                  <a:cubicBezTo>
                    <a:pt x="400" y="303"/>
                    <a:pt x="401" y="303"/>
                    <a:pt x="401" y="303"/>
                  </a:cubicBezTo>
                  <a:cubicBezTo>
                    <a:pt x="401" y="302"/>
                    <a:pt x="401" y="302"/>
                    <a:pt x="401" y="303"/>
                  </a:cubicBezTo>
                  <a:cubicBezTo>
                    <a:pt x="401" y="303"/>
                    <a:pt x="401" y="303"/>
                    <a:pt x="401" y="304"/>
                  </a:cubicBezTo>
                  <a:cubicBezTo>
                    <a:pt x="401" y="305"/>
                    <a:pt x="401" y="306"/>
                    <a:pt x="402" y="307"/>
                  </a:cubicBezTo>
                  <a:cubicBezTo>
                    <a:pt x="402" y="307"/>
                    <a:pt x="402" y="308"/>
                    <a:pt x="403" y="309"/>
                  </a:cubicBezTo>
                  <a:cubicBezTo>
                    <a:pt x="403" y="310"/>
                    <a:pt x="403" y="310"/>
                    <a:pt x="403" y="310"/>
                  </a:cubicBezTo>
                  <a:cubicBezTo>
                    <a:pt x="403" y="311"/>
                    <a:pt x="403" y="311"/>
                    <a:pt x="403" y="312"/>
                  </a:cubicBezTo>
                  <a:cubicBezTo>
                    <a:pt x="403" y="313"/>
                    <a:pt x="402" y="313"/>
                    <a:pt x="402" y="314"/>
                  </a:cubicBezTo>
                  <a:cubicBezTo>
                    <a:pt x="402" y="314"/>
                    <a:pt x="403" y="314"/>
                    <a:pt x="403" y="314"/>
                  </a:cubicBezTo>
                  <a:cubicBezTo>
                    <a:pt x="403" y="315"/>
                    <a:pt x="403" y="316"/>
                    <a:pt x="403" y="317"/>
                  </a:cubicBezTo>
                  <a:cubicBezTo>
                    <a:pt x="403" y="318"/>
                    <a:pt x="404" y="318"/>
                    <a:pt x="404" y="320"/>
                  </a:cubicBezTo>
                  <a:cubicBezTo>
                    <a:pt x="404" y="321"/>
                    <a:pt x="404" y="321"/>
                    <a:pt x="403" y="323"/>
                  </a:cubicBezTo>
                  <a:cubicBezTo>
                    <a:pt x="403" y="323"/>
                    <a:pt x="404" y="324"/>
                    <a:pt x="404" y="324"/>
                  </a:cubicBezTo>
                  <a:cubicBezTo>
                    <a:pt x="404" y="324"/>
                    <a:pt x="404" y="324"/>
                    <a:pt x="405" y="324"/>
                  </a:cubicBezTo>
                  <a:cubicBezTo>
                    <a:pt x="405" y="323"/>
                    <a:pt x="405" y="323"/>
                    <a:pt x="405" y="323"/>
                  </a:cubicBezTo>
                  <a:cubicBezTo>
                    <a:pt x="406" y="323"/>
                    <a:pt x="406" y="323"/>
                    <a:pt x="407" y="322"/>
                  </a:cubicBezTo>
                  <a:cubicBezTo>
                    <a:pt x="407" y="322"/>
                    <a:pt x="407" y="322"/>
                    <a:pt x="408" y="321"/>
                  </a:cubicBezTo>
                  <a:cubicBezTo>
                    <a:pt x="408" y="321"/>
                    <a:pt x="408" y="320"/>
                    <a:pt x="408" y="320"/>
                  </a:cubicBezTo>
                  <a:cubicBezTo>
                    <a:pt x="408" y="320"/>
                    <a:pt x="409" y="320"/>
                    <a:pt x="409" y="320"/>
                  </a:cubicBezTo>
                  <a:cubicBezTo>
                    <a:pt x="410" y="319"/>
                    <a:pt x="410" y="319"/>
                    <a:pt x="411" y="318"/>
                  </a:cubicBezTo>
                  <a:cubicBezTo>
                    <a:pt x="411" y="317"/>
                    <a:pt x="412" y="317"/>
                    <a:pt x="412" y="316"/>
                  </a:cubicBezTo>
                  <a:cubicBezTo>
                    <a:pt x="412" y="316"/>
                    <a:pt x="412" y="316"/>
                    <a:pt x="412" y="316"/>
                  </a:cubicBezTo>
                  <a:cubicBezTo>
                    <a:pt x="413" y="316"/>
                    <a:pt x="413" y="315"/>
                    <a:pt x="413" y="314"/>
                  </a:cubicBezTo>
                  <a:cubicBezTo>
                    <a:pt x="414" y="314"/>
                    <a:pt x="414" y="313"/>
                    <a:pt x="415" y="313"/>
                  </a:cubicBezTo>
                  <a:cubicBezTo>
                    <a:pt x="415" y="312"/>
                    <a:pt x="415" y="312"/>
                    <a:pt x="416" y="312"/>
                  </a:cubicBezTo>
                  <a:cubicBezTo>
                    <a:pt x="416" y="312"/>
                    <a:pt x="416" y="311"/>
                    <a:pt x="416" y="310"/>
                  </a:cubicBezTo>
                  <a:cubicBezTo>
                    <a:pt x="416" y="310"/>
                    <a:pt x="416" y="310"/>
                    <a:pt x="417" y="309"/>
                  </a:cubicBezTo>
                  <a:cubicBezTo>
                    <a:pt x="417" y="309"/>
                    <a:pt x="417" y="308"/>
                    <a:pt x="417" y="308"/>
                  </a:cubicBezTo>
                  <a:cubicBezTo>
                    <a:pt x="418" y="307"/>
                    <a:pt x="419" y="306"/>
                    <a:pt x="418" y="305"/>
                  </a:cubicBezTo>
                  <a:cubicBezTo>
                    <a:pt x="418" y="305"/>
                    <a:pt x="418" y="304"/>
                    <a:pt x="418" y="304"/>
                  </a:cubicBezTo>
                  <a:cubicBezTo>
                    <a:pt x="418" y="303"/>
                    <a:pt x="418" y="304"/>
                    <a:pt x="418" y="304"/>
                  </a:cubicBezTo>
                  <a:cubicBezTo>
                    <a:pt x="417" y="303"/>
                    <a:pt x="417" y="303"/>
                    <a:pt x="416" y="303"/>
                  </a:cubicBezTo>
                  <a:cubicBezTo>
                    <a:pt x="416" y="302"/>
                    <a:pt x="417" y="300"/>
                    <a:pt x="417" y="300"/>
                  </a:cubicBezTo>
                  <a:cubicBezTo>
                    <a:pt x="417" y="300"/>
                    <a:pt x="416" y="302"/>
                    <a:pt x="416" y="302"/>
                  </a:cubicBezTo>
                  <a:cubicBezTo>
                    <a:pt x="416" y="302"/>
                    <a:pt x="416" y="303"/>
                    <a:pt x="415" y="303"/>
                  </a:cubicBezTo>
                  <a:cubicBezTo>
                    <a:pt x="415" y="303"/>
                    <a:pt x="415" y="304"/>
                    <a:pt x="414" y="304"/>
                  </a:cubicBezTo>
                  <a:cubicBezTo>
                    <a:pt x="414" y="305"/>
                    <a:pt x="413" y="305"/>
                    <a:pt x="413" y="305"/>
                  </a:cubicBezTo>
                  <a:cubicBezTo>
                    <a:pt x="413" y="305"/>
                    <a:pt x="413" y="304"/>
                    <a:pt x="413" y="304"/>
                  </a:cubicBezTo>
                  <a:cubicBezTo>
                    <a:pt x="413" y="303"/>
                    <a:pt x="413" y="303"/>
                    <a:pt x="413" y="303"/>
                  </a:cubicBezTo>
                  <a:cubicBezTo>
                    <a:pt x="412" y="301"/>
                    <a:pt x="412" y="301"/>
                    <a:pt x="412" y="300"/>
                  </a:cubicBezTo>
                  <a:cubicBezTo>
                    <a:pt x="412" y="299"/>
                    <a:pt x="412" y="298"/>
                    <a:pt x="412" y="297"/>
                  </a:cubicBezTo>
                  <a:cubicBezTo>
                    <a:pt x="412" y="296"/>
                    <a:pt x="412" y="295"/>
                    <a:pt x="412" y="295"/>
                  </a:cubicBezTo>
                  <a:cubicBezTo>
                    <a:pt x="413" y="295"/>
                    <a:pt x="413" y="295"/>
                    <a:pt x="413" y="296"/>
                  </a:cubicBezTo>
                  <a:cubicBezTo>
                    <a:pt x="413" y="296"/>
                    <a:pt x="413" y="296"/>
                    <a:pt x="414" y="297"/>
                  </a:cubicBezTo>
                  <a:cubicBezTo>
                    <a:pt x="414" y="297"/>
                    <a:pt x="414" y="297"/>
                    <a:pt x="414" y="298"/>
                  </a:cubicBezTo>
                  <a:cubicBezTo>
                    <a:pt x="414" y="299"/>
                    <a:pt x="414" y="299"/>
                    <a:pt x="415" y="300"/>
                  </a:cubicBezTo>
                  <a:cubicBezTo>
                    <a:pt x="415" y="301"/>
                    <a:pt x="416" y="300"/>
                    <a:pt x="416" y="300"/>
                  </a:cubicBezTo>
                  <a:cubicBezTo>
                    <a:pt x="416" y="300"/>
                    <a:pt x="416" y="300"/>
                    <a:pt x="417" y="299"/>
                  </a:cubicBezTo>
                  <a:cubicBezTo>
                    <a:pt x="417" y="299"/>
                    <a:pt x="417" y="298"/>
                    <a:pt x="417" y="298"/>
                  </a:cubicBezTo>
                  <a:cubicBezTo>
                    <a:pt x="418" y="298"/>
                    <a:pt x="418" y="300"/>
                    <a:pt x="418" y="300"/>
                  </a:cubicBezTo>
                  <a:cubicBezTo>
                    <a:pt x="418" y="301"/>
                    <a:pt x="418" y="301"/>
                    <a:pt x="419" y="301"/>
                  </a:cubicBezTo>
                  <a:cubicBezTo>
                    <a:pt x="419" y="301"/>
                    <a:pt x="419" y="300"/>
                    <a:pt x="420" y="300"/>
                  </a:cubicBezTo>
                  <a:cubicBezTo>
                    <a:pt x="420" y="300"/>
                    <a:pt x="420" y="300"/>
                    <a:pt x="421" y="300"/>
                  </a:cubicBezTo>
                  <a:cubicBezTo>
                    <a:pt x="421" y="300"/>
                    <a:pt x="421" y="300"/>
                    <a:pt x="422" y="300"/>
                  </a:cubicBezTo>
                  <a:cubicBezTo>
                    <a:pt x="422" y="300"/>
                    <a:pt x="422" y="300"/>
                    <a:pt x="423" y="300"/>
                  </a:cubicBezTo>
                  <a:cubicBezTo>
                    <a:pt x="423" y="300"/>
                    <a:pt x="423" y="299"/>
                    <a:pt x="423" y="299"/>
                  </a:cubicBezTo>
                  <a:cubicBezTo>
                    <a:pt x="424" y="299"/>
                    <a:pt x="424" y="300"/>
                    <a:pt x="424" y="300"/>
                  </a:cubicBezTo>
                  <a:cubicBezTo>
                    <a:pt x="424" y="300"/>
                    <a:pt x="424" y="301"/>
                    <a:pt x="424" y="301"/>
                  </a:cubicBezTo>
                  <a:cubicBezTo>
                    <a:pt x="424" y="301"/>
                    <a:pt x="424" y="302"/>
                    <a:pt x="424" y="302"/>
                  </a:cubicBezTo>
                  <a:cubicBezTo>
                    <a:pt x="425" y="302"/>
                    <a:pt x="425" y="302"/>
                    <a:pt x="425" y="303"/>
                  </a:cubicBezTo>
                  <a:cubicBezTo>
                    <a:pt x="425" y="303"/>
                    <a:pt x="425" y="303"/>
                    <a:pt x="425" y="304"/>
                  </a:cubicBezTo>
                  <a:cubicBezTo>
                    <a:pt x="425" y="305"/>
                    <a:pt x="425" y="306"/>
                    <a:pt x="425" y="306"/>
                  </a:cubicBezTo>
                  <a:cubicBezTo>
                    <a:pt x="426" y="306"/>
                    <a:pt x="426" y="305"/>
                    <a:pt x="427" y="304"/>
                  </a:cubicBezTo>
                  <a:cubicBezTo>
                    <a:pt x="427" y="303"/>
                    <a:pt x="427" y="304"/>
                    <a:pt x="427" y="304"/>
                  </a:cubicBezTo>
                  <a:cubicBezTo>
                    <a:pt x="427" y="305"/>
                    <a:pt x="427" y="306"/>
                    <a:pt x="427" y="307"/>
                  </a:cubicBezTo>
                  <a:cubicBezTo>
                    <a:pt x="427" y="307"/>
                    <a:pt x="427" y="308"/>
                    <a:pt x="427" y="308"/>
                  </a:cubicBezTo>
                  <a:cubicBezTo>
                    <a:pt x="427" y="309"/>
                    <a:pt x="427" y="310"/>
                    <a:pt x="427" y="310"/>
                  </a:cubicBezTo>
                  <a:cubicBezTo>
                    <a:pt x="426" y="311"/>
                    <a:pt x="427" y="313"/>
                    <a:pt x="427" y="313"/>
                  </a:cubicBezTo>
                  <a:cubicBezTo>
                    <a:pt x="427" y="315"/>
                    <a:pt x="427" y="316"/>
                    <a:pt x="427" y="317"/>
                  </a:cubicBezTo>
                  <a:cubicBezTo>
                    <a:pt x="427" y="317"/>
                    <a:pt x="427" y="319"/>
                    <a:pt x="427" y="320"/>
                  </a:cubicBezTo>
                  <a:cubicBezTo>
                    <a:pt x="427" y="320"/>
                    <a:pt x="427" y="320"/>
                    <a:pt x="427" y="321"/>
                  </a:cubicBezTo>
                  <a:cubicBezTo>
                    <a:pt x="427" y="321"/>
                    <a:pt x="427" y="322"/>
                    <a:pt x="427" y="322"/>
                  </a:cubicBezTo>
                  <a:cubicBezTo>
                    <a:pt x="427" y="323"/>
                    <a:pt x="428" y="320"/>
                    <a:pt x="428" y="320"/>
                  </a:cubicBezTo>
                  <a:cubicBezTo>
                    <a:pt x="429" y="319"/>
                    <a:pt x="429" y="319"/>
                    <a:pt x="429" y="318"/>
                  </a:cubicBezTo>
                  <a:cubicBezTo>
                    <a:pt x="429" y="318"/>
                    <a:pt x="429" y="318"/>
                    <a:pt x="430" y="317"/>
                  </a:cubicBezTo>
                  <a:cubicBezTo>
                    <a:pt x="430" y="317"/>
                    <a:pt x="430" y="316"/>
                    <a:pt x="430" y="316"/>
                  </a:cubicBezTo>
                  <a:cubicBezTo>
                    <a:pt x="430" y="315"/>
                    <a:pt x="431" y="314"/>
                    <a:pt x="431" y="314"/>
                  </a:cubicBezTo>
                  <a:cubicBezTo>
                    <a:pt x="431" y="314"/>
                    <a:pt x="431" y="314"/>
                    <a:pt x="431" y="313"/>
                  </a:cubicBezTo>
                  <a:cubicBezTo>
                    <a:pt x="431" y="313"/>
                    <a:pt x="431" y="313"/>
                    <a:pt x="431" y="312"/>
                  </a:cubicBezTo>
                  <a:cubicBezTo>
                    <a:pt x="431" y="311"/>
                    <a:pt x="432" y="310"/>
                    <a:pt x="432" y="310"/>
                  </a:cubicBezTo>
                  <a:cubicBezTo>
                    <a:pt x="433" y="310"/>
                    <a:pt x="433" y="308"/>
                    <a:pt x="434" y="307"/>
                  </a:cubicBezTo>
                  <a:cubicBezTo>
                    <a:pt x="434" y="307"/>
                    <a:pt x="434" y="307"/>
                    <a:pt x="434" y="306"/>
                  </a:cubicBezTo>
                  <a:cubicBezTo>
                    <a:pt x="435" y="306"/>
                    <a:pt x="435" y="306"/>
                    <a:pt x="435" y="305"/>
                  </a:cubicBezTo>
                  <a:cubicBezTo>
                    <a:pt x="435" y="305"/>
                    <a:pt x="435" y="304"/>
                    <a:pt x="436" y="304"/>
                  </a:cubicBezTo>
                  <a:cubicBezTo>
                    <a:pt x="436" y="304"/>
                    <a:pt x="436" y="303"/>
                    <a:pt x="437" y="303"/>
                  </a:cubicBezTo>
                  <a:cubicBezTo>
                    <a:pt x="437" y="302"/>
                    <a:pt x="438" y="301"/>
                    <a:pt x="438" y="301"/>
                  </a:cubicBezTo>
                  <a:cubicBezTo>
                    <a:pt x="439" y="301"/>
                    <a:pt x="439" y="300"/>
                    <a:pt x="440" y="300"/>
                  </a:cubicBezTo>
                  <a:cubicBezTo>
                    <a:pt x="440" y="299"/>
                    <a:pt x="440" y="299"/>
                    <a:pt x="440" y="299"/>
                  </a:cubicBezTo>
                  <a:cubicBezTo>
                    <a:pt x="440" y="299"/>
                    <a:pt x="440" y="299"/>
                    <a:pt x="440" y="299"/>
                  </a:cubicBezTo>
                  <a:cubicBezTo>
                    <a:pt x="446" y="282"/>
                    <a:pt x="449" y="265"/>
                    <a:pt x="450" y="247"/>
                  </a:cubicBezTo>
                  <a:cubicBezTo>
                    <a:pt x="450" y="244"/>
                    <a:pt x="450" y="241"/>
                    <a:pt x="450" y="238"/>
                  </a:cubicBezTo>
                  <a:cubicBezTo>
                    <a:pt x="450" y="235"/>
                    <a:pt x="450" y="232"/>
                    <a:pt x="450" y="230"/>
                  </a:cubicBezTo>
                  <a:cubicBezTo>
                    <a:pt x="448" y="231"/>
                    <a:pt x="447" y="231"/>
                    <a:pt x="446" y="232"/>
                  </a:cubicBezTo>
                  <a:cubicBezTo>
                    <a:pt x="434" y="240"/>
                    <a:pt x="422" y="251"/>
                    <a:pt x="408" y="262"/>
                  </a:cubicBezTo>
                  <a:close/>
                  <a:moveTo>
                    <a:pt x="377" y="334"/>
                  </a:moveTo>
                  <a:cubicBezTo>
                    <a:pt x="377" y="335"/>
                    <a:pt x="376" y="335"/>
                    <a:pt x="376" y="335"/>
                  </a:cubicBezTo>
                  <a:cubicBezTo>
                    <a:pt x="376" y="335"/>
                    <a:pt x="375" y="334"/>
                    <a:pt x="375" y="334"/>
                  </a:cubicBezTo>
                  <a:cubicBezTo>
                    <a:pt x="376" y="333"/>
                    <a:pt x="376" y="334"/>
                    <a:pt x="376" y="334"/>
                  </a:cubicBezTo>
                  <a:cubicBezTo>
                    <a:pt x="377" y="334"/>
                    <a:pt x="378" y="334"/>
                    <a:pt x="377" y="334"/>
                  </a:cubicBezTo>
                  <a:close/>
                  <a:moveTo>
                    <a:pt x="384" y="354"/>
                  </a:moveTo>
                  <a:cubicBezTo>
                    <a:pt x="384" y="355"/>
                    <a:pt x="384" y="355"/>
                    <a:pt x="384" y="355"/>
                  </a:cubicBezTo>
                  <a:cubicBezTo>
                    <a:pt x="384" y="356"/>
                    <a:pt x="384" y="356"/>
                    <a:pt x="384" y="357"/>
                  </a:cubicBezTo>
                  <a:cubicBezTo>
                    <a:pt x="384" y="357"/>
                    <a:pt x="384" y="358"/>
                    <a:pt x="384" y="358"/>
                  </a:cubicBezTo>
                  <a:cubicBezTo>
                    <a:pt x="384" y="358"/>
                    <a:pt x="384" y="358"/>
                    <a:pt x="384" y="358"/>
                  </a:cubicBezTo>
                  <a:cubicBezTo>
                    <a:pt x="383" y="358"/>
                    <a:pt x="383" y="358"/>
                    <a:pt x="383" y="356"/>
                  </a:cubicBezTo>
                  <a:cubicBezTo>
                    <a:pt x="384" y="356"/>
                    <a:pt x="384" y="355"/>
                    <a:pt x="384" y="355"/>
                  </a:cubicBezTo>
                  <a:cubicBezTo>
                    <a:pt x="384" y="354"/>
                    <a:pt x="384" y="354"/>
                    <a:pt x="384" y="354"/>
                  </a:cubicBezTo>
                  <a:close/>
                  <a:moveTo>
                    <a:pt x="386" y="361"/>
                  </a:moveTo>
                  <a:cubicBezTo>
                    <a:pt x="386" y="362"/>
                    <a:pt x="386" y="363"/>
                    <a:pt x="386" y="363"/>
                  </a:cubicBezTo>
                  <a:cubicBezTo>
                    <a:pt x="386" y="364"/>
                    <a:pt x="385" y="364"/>
                    <a:pt x="385" y="364"/>
                  </a:cubicBezTo>
                  <a:cubicBezTo>
                    <a:pt x="385" y="365"/>
                    <a:pt x="385" y="365"/>
                    <a:pt x="385" y="365"/>
                  </a:cubicBezTo>
                  <a:cubicBezTo>
                    <a:pt x="385" y="365"/>
                    <a:pt x="385" y="363"/>
                    <a:pt x="386" y="362"/>
                  </a:cubicBezTo>
                  <a:cubicBezTo>
                    <a:pt x="386" y="362"/>
                    <a:pt x="386" y="361"/>
                    <a:pt x="386" y="361"/>
                  </a:cubicBezTo>
                  <a:cubicBezTo>
                    <a:pt x="386" y="361"/>
                    <a:pt x="386" y="361"/>
                    <a:pt x="386" y="360"/>
                  </a:cubicBezTo>
                  <a:cubicBezTo>
                    <a:pt x="386" y="360"/>
                    <a:pt x="386" y="359"/>
                    <a:pt x="387" y="359"/>
                  </a:cubicBezTo>
                  <a:cubicBezTo>
                    <a:pt x="387" y="359"/>
                    <a:pt x="387" y="359"/>
                    <a:pt x="387" y="359"/>
                  </a:cubicBezTo>
                  <a:cubicBezTo>
                    <a:pt x="387" y="359"/>
                    <a:pt x="386" y="361"/>
                    <a:pt x="386" y="361"/>
                  </a:cubicBezTo>
                  <a:close/>
                  <a:moveTo>
                    <a:pt x="390" y="347"/>
                  </a:moveTo>
                  <a:cubicBezTo>
                    <a:pt x="390" y="348"/>
                    <a:pt x="390" y="348"/>
                    <a:pt x="389" y="349"/>
                  </a:cubicBezTo>
                  <a:cubicBezTo>
                    <a:pt x="389" y="349"/>
                    <a:pt x="389" y="349"/>
                    <a:pt x="389" y="349"/>
                  </a:cubicBezTo>
                  <a:cubicBezTo>
                    <a:pt x="389" y="350"/>
                    <a:pt x="389" y="350"/>
                    <a:pt x="388" y="350"/>
                  </a:cubicBezTo>
                  <a:cubicBezTo>
                    <a:pt x="388" y="350"/>
                    <a:pt x="388" y="350"/>
                    <a:pt x="387" y="350"/>
                  </a:cubicBezTo>
                  <a:cubicBezTo>
                    <a:pt x="387" y="350"/>
                    <a:pt x="388" y="348"/>
                    <a:pt x="388" y="347"/>
                  </a:cubicBezTo>
                  <a:cubicBezTo>
                    <a:pt x="389" y="347"/>
                    <a:pt x="389" y="347"/>
                    <a:pt x="389" y="347"/>
                  </a:cubicBezTo>
                  <a:cubicBezTo>
                    <a:pt x="389" y="346"/>
                    <a:pt x="390" y="346"/>
                    <a:pt x="390" y="346"/>
                  </a:cubicBezTo>
                  <a:cubicBezTo>
                    <a:pt x="391" y="346"/>
                    <a:pt x="390" y="347"/>
                    <a:pt x="390" y="347"/>
                  </a:cubicBezTo>
                  <a:close/>
                  <a:moveTo>
                    <a:pt x="419" y="263"/>
                  </a:moveTo>
                  <a:cubicBezTo>
                    <a:pt x="418" y="263"/>
                    <a:pt x="418" y="263"/>
                    <a:pt x="418" y="264"/>
                  </a:cubicBezTo>
                  <a:cubicBezTo>
                    <a:pt x="417" y="264"/>
                    <a:pt x="417" y="265"/>
                    <a:pt x="417" y="266"/>
                  </a:cubicBezTo>
                  <a:cubicBezTo>
                    <a:pt x="417" y="266"/>
                    <a:pt x="417" y="266"/>
                    <a:pt x="417" y="267"/>
                  </a:cubicBezTo>
                  <a:cubicBezTo>
                    <a:pt x="417" y="267"/>
                    <a:pt x="417" y="268"/>
                    <a:pt x="417" y="268"/>
                  </a:cubicBezTo>
                  <a:cubicBezTo>
                    <a:pt x="417" y="269"/>
                    <a:pt x="418" y="269"/>
                    <a:pt x="418" y="269"/>
                  </a:cubicBezTo>
                  <a:cubicBezTo>
                    <a:pt x="418" y="270"/>
                    <a:pt x="418" y="271"/>
                    <a:pt x="418" y="271"/>
                  </a:cubicBezTo>
                  <a:cubicBezTo>
                    <a:pt x="419" y="271"/>
                    <a:pt x="419" y="272"/>
                    <a:pt x="419" y="272"/>
                  </a:cubicBezTo>
                  <a:cubicBezTo>
                    <a:pt x="419" y="272"/>
                    <a:pt x="419" y="273"/>
                    <a:pt x="419" y="274"/>
                  </a:cubicBezTo>
                  <a:cubicBezTo>
                    <a:pt x="419" y="274"/>
                    <a:pt x="418" y="274"/>
                    <a:pt x="418" y="274"/>
                  </a:cubicBezTo>
                  <a:cubicBezTo>
                    <a:pt x="418" y="274"/>
                    <a:pt x="418" y="273"/>
                    <a:pt x="418" y="274"/>
                  </a:cubicBezTo>
                  <a:cubicBezTo>
                    <a:pt x="418" y="275"/>
                    <a:pt x="418" y="275"/>
                    <a:pt x="418" y="275"/>
                  </a:cubicBezTo>
                  <a:cubicBezTo>
                    <a:pt x="418" y="275"/>
                    <a:pt x="418" y="276"/>
                    <a:pt x="418" y="276"/>
                  </a:cubicBezTo>
                  <a:cubicBezTo>
                    <a:pt x="418" y="277"/>
                    <a:pt x="418" y="279"/>
                    <a:pt x="418" y="280"/>
                  </a:cubicBezTo>
                  <a:cubicBezTo>
                    <a:pt x="418" y="281"/>
                    <a:pt x="418" y="281"/>
                    <a:pt x="418" y="281"/>
                  </a:cubicBezTo>
                  <a:cubicBezTo>
                    <a:pt x="417" y="281"/>
                    <a:pt x="417" y="281"/>
                    <a:pt x="417" y="281"/>
                  </a:cubicBezTo>
                  <a:cubicBezTo>
                    <a:pt x="416" y="282"/>
                    <a:pt x="416" y="282"/>
                    <a:pt x="416" y="282"/>
                  </a:cubicBezTo>
                  <a:cubicBezTo>
                    <a:pt x="416" y="282"/>
                    <a:pt x="416" y="282"/>
                    <a:pt x="416" y="281"/>
                  </a:cubicBezTo>
                  <a:cubicBezTo>
                    <a:pt x="416" y="281"/>
                    <a:pt x="415" y="281"/>
                    <a:pt x="415" y="280"/>
                  </a:cubicBezTo>
                  <a:cubicBezTo>
                    <a:pt x="415" y="280"/>
                    <a:pt x="415" y="280"/>
                    <a:pt x="415" y="280"/>
                  </a:cubicBezTo>
                  <a:cubicBezTo>
                    <a:pt x="414" y="279"/>
                    <a:pt x="415" y="279"/>
                    <a:pt x="415" y="279"/>
                  </a:cubicBezTo>
                  <a:cubicBezTo>
                    <a:pt x="415" y="278"/>
                    <a:pt x="415" y="277"/>
                    <a:pt x="415" y="277"/>
                  </a:cubicBezTo>
                  <a:cubicBezTo>
                    <a:pt x="415" y="276"/>
                    <a:pt x="415" y="276"/>
                    <a:pt x="416" y="275"/>
                  </a:cubicBezTo>
                  <a:cubicBezTo>
                    <a:pt x="416" y="274"/>
                    <a:pt x="416" y="274"/>
                    <a:pt x="415" y="273"/>
                  </a:cubicBezTo>
                  <a:cubicBezTo>
                    <a:pt x="415" y="273"/>
                    <a:pt x="415" y="272"/>
                    <a:pt x="415" y="272"/>
                  </a:cubicBezTo>
                  <a:cubicBezTo>
                    <a:pt x="415" y="272"/>
                    <a:pt x="415" y="272"/>
                    <a:pt x="415" y="271"/>
                  </a:cubicBezTo>
                  <a:cubicBezTo>
                    <a:pt x="415" y="270"/>
                    <a:pt x="415" y="270"/>
                    <a:pt x="414" y="269"/>
                  </a:cubicBezTo>
                  <a:cubicBezTo>
                    <a:pt x="414" y="268"/>
                    <a:pt x="414" y="268"/>
                    <a:pt x="414" y="267"/>
                  </a:cubicBezTo>
                  <a:cubicBezTo>
                    <a:pt x="414" y="266"/>
                    <a:pt x="414" y="266"/>
                    <a:pt x="414" y="266"/>
                  </a:cubicBezTo>
                  <a:cubicBezTo>
                    <a:pt x="414" y="265"/>
                    <a:pt x="415" y="264"/>
                    <a:pt x="415" y="263"/>
                  </a:cubicBezTo>
                  <a:cubicBezTo>
                    <a:pt x="415" y="262"/>
                    <a:pt x="415" y="261"/>
                    <a:pt x="416" y="261"/>
                  </a:cubicBezTo>
                  <a:cubicBezTo>
                    <a:pt x="416" y="260"/>
                    <a:pt x="416" y="261"/>
                    <a:pt x="417" y="260"/>
                  </a:cubicBezTo>
                  <a:cubicBezTo>
                    <a:pt x="417" y="260"/>
                    <a:pt x="417" y="260"/>
                    <a:pt x="417" y="259"/>
                  </a:cubicBezTo>
                  <a:cubicBezTo>
                    <a:pt x="418" y="259"/>
                    <a:pt x="418" y="259"/>
                    <a:pt x="418" y="259"/>
                  </a:cubicBezTo>
                  <a:cubicBezTo>
                    <a:pt x="419" y="259"/>
                    <a:pt x="419" y="261"/>
                    <a:pt x="419" y="262"/>
                  </a:cubicBezTo>
                  <a:cubicBezTo>
                    <a:pt x="420" y="262"/>
                    <a:pt x="420" y="263"/>
                    <a:pt x="420" y="263"/>
                  </a:cubicBezTo>
                  <a:cubicBezTo>
                    <a:pt x="420" y="264"/>
                    <a:pt x="419" y="263"/>
                    <a:pt x="419" y="263"/>
                  </a:cubicBezTo>
                  <a:close/>
                  <a:moveTo>
                    <a:pt x="424" y="265"/>
                  </a:moveTo>
                  <a:cubicBezTo>
                    <a:pt x="424" y="265"/>
                    <a:pt x="423" y="266"/>
                    <a:pt x="423" y="266"/>
                  </a:cubicBezTo>
                  <a:cubicBezTo>
                    <a:pt x="423" y="267"/>
                    <a:pt x="423" y="266"/>
                    <a:pt x="423" y="267"/>
                  </a:cubicBezTo>
                  <a:cubicBezTo>
                    <a:pt x="422" y="267"/>
                    <a:pt x="422" y="267"/>
                    <a:pt x="422" y="267"/>
                  </a:cubicBezTo>
                  <a:cubicBezTo>
                    <a:pt x="422" y="266"/>
                    <a:pt x="422" y="265"/>
                    <a:pt x="422" y="265"/>
                  </a:cubicBezTo>
                  <a:cubicBezTo>
                    <a:pt x="422" y="264"/>
                    <a:pt x="422" y="263"/>
                    <a:pt x="422" y="263"/>
                  </a:cubicBezTo>
                  <a:cubicBezTo>
                    <a:pt x="423" y="262"/>
                    <a:pt x="423" y="262"/>
                    <a:pt x="423" y="261"/>
                  </a:cubicBezTo>
                  <a:cubicBezTo>
                    <a:pt x="423" y="261"/>
                    <a:pt x="424" y="260"/>
                    <a:pt x="424" y="261"/>
                  </a:cubicBezTo>
                  <a:cubicBezTo>
                    <a:pt x="424" y="261"/>
                    <a:pt x="424" y="262"/>
                    <a:pt x="424" y="262"/>
                  </a:cubicBezTo>
                  <a:cubicBezTo>
                    <a:pt x="424" y="262"/>
                    <a:pt x="424" y="263"/>
                    <a:pt x="424" y="263"/>
                  </a:cubicBezTo>
                  <a:cubicBezTo>
                    <a:pt x="424" y="264"/>
                    <a:pt x="424" y="264"/>
                    <a:pt x="424" y="265"/>
                  </a:cubicBezTo>
                  <a:close/>
                  <a:moveTo>
                    <a:pt x="435" y="259"/>
                  </a:moveTo>
                  <a:cubicBezTo>
                    <a:pt x="434" y="259"/>
                    <a:pt x="434" y="259"/>
                    <a:pt x="433" y="260"/>
                  </a:cubicBezTo>
                  <a:cubicBezTo>
                    <a:pt x="433" y="260"/>
                    <a:pt x="433" y="260"/>
                    <a:pt x="433" y="261"/>
                  </a:cubicBezTo>
                  <a:cubicBezTo>
                    <a:pt x="433" y="261"/>
                    <a:pt x="432" y="262"/>
                    <a:pt x="432" y="262"/>
                  </a:cubicBezTo>
                  <a:cubicBezTo>
                    <a:pt x="432" y="262"/>
                    <a:pt x="432" y="261"/>
                    <a:pt x="432" y="260"/>
                  </a:cubicBezTo>
                  <a:cubicBezTo>
                    <a:pt x="432" y="260"/>
                    <a:pt x="433" y="259"/>
                    <a:pt x="433" y="259"/>
                  </a:cubicBezTo>
                  <a:cubicBezTo>
                    <a:pt x="433" y="258"/>
                    <a:pt x="434" y="258"/>
                    <a:pt x="434" y="258"/>
                  </a:cubicBezTo>
                  <a:cubicBezTo>
                    <a:pt x="434" y="258"/>
                    <a:pt x="435" y="259"/>
                    <a:pt x="435" y="259"/>
                  </a:cubicBezTo>
                  <a:cubicBezTo>
                    <a:pt x="435" y="259"/>
                    <a:pt x="435" y="259"/>
                    <a:pt x="435" y="259"/>
                  </a:cubicBezTo>
                  <a:close/>
                  <a:moveTo>
                    <a:pt x="328" y="343"/>
                  </a:moveTo>
                  <a:cubicBezTo>
                    <a:pt x="328" y="343"/>
                    <a:pt x="329" y="345"/>
                    <a:pt x="328" y="346"/>
                  </a:cubicBezTo>
                  <a:cubicBezTo>
                    <a:pt x="328" y="347"/>
                    <a:pt x="326" y="346"/>
                    <a:pt x="326" y="346"/>
                  </a:cubicBezTo>
                  <a:cubicBezTo>
                    <a:pt x="325" y="345"/>
                    <a:pt x="327" y="344"/>
                    <a:pt x="328" y="343"/>
                  </a:cubicBezTo>
                  <a:close/>
                  <a:moveTo>
                    <a:pt x="327" y="349"/>
                  </a:moveTo>
                  <a:cubicBezTo>
                    <a:pt x="326" y="349"/>
                    <a:pt x="327" y="347"/>
                    <a:pt x="327" y="347"/>
                  </a:cubicBezTo>
                  <a:cubicBezTo>
                    <a:pt x="328" y="347"/>
                    <a:pt x="327" y="349"/>
                    <a:pt x="327" y="349"/>
                  </a:cubicBezTo>
                  <a:close/>
                  <a:moveTo>
                    <a:pt x="312" y="374"/>
                  </a:moveTo>
                  <a:cubicBezTo>
                    <a:pt x="312" y="374"/>
                    <a:pt x="311" y="375"/>
                    <a:pt x="311" y="375"/>
                  </a:cubicBezTo>
                  <a:cubicBezTo>
                    <a:pt x="311" y="375"/>
                    <a:pt x="311" y="374"/>
                    <a:pt x="312" y="374"/>
                  </a:cubicBezTo>
                  <a:close/>
                  <a:moveTo>
                    <a:pt x="330" y="343"/>
                  </a:moveTo>
                  <a:cubicBezTo>
                    <a:pt x="330" y="344"/>
                    <a:pt x="330" y="346"/>
                    <a:pt x="329" y="345"/>
                  </a:cubicBezTo>
                  <a:cubicBezTo>
                    <a:pt x="329" y="345"/>
                    <a:pt x="329" y="343"/>
                    <a:pt x="329" y="343"/>
                  </a:cubicBezTo>
                  <a:cubicBezTo>
                    <a:pt x="330" y="343"/>
                    <a:pt x="330" y="343"/>
                    <a:pt x="330" y="343"/>
                  </a:cubicBezTo>
                  <a:close/>
                  <a:moveTo>
                    <a:pt x="394" y="290"/>
                  </a:moveTo>
                  <a:cubicBezTo>
                    <a:pt x="394" y="290"/>
                    <a:pt x="396" y="289"/>
                    <a:pt x="396" y="290"/>
                  </a:cubicBezTo>
                  <a:cubicBezTo>
                    <a:pt x="395" y="290"/>
                    <a:pt x="395" y="290"/>
                    <a:pt x="395" y="290"/>
                  </a:cubicBezTo>
                  <a:cubicBezTo>
                    <a:pt x="395" y="290"/>
                    <a:pt x="395" y="290"/>
                    <a:pt x="395" y="290"/>
                  </a:cubicBezTo>
                  <a:cubicBezTo>
                    <a:pt x="394" y="290"/>
                    <a:pt x="394" y="290"/>
                    <a:pt x="394" y="290"/>
                  </a:cubicBezTo>
                  <a:cubicBezTo>
                    <a:pt x="394" y="290"/>
                    <a:pt x="393" y="290"/>
                    <a:pt x="393" y="290"/>
                  </a:cubicBezTo>
                  <a:cubicBezTo>
                    <a:pt x="394" y="289"/>
                    <a:pt x="394" y="290"/>
                    <a:pt x="394" y="290"/>
                  </a:cubicBezTo>
                  <a:close/>
                  <a:moveTo>
                    <a:pt x="399" y="268"/>
                  </a:moveTo>
                  <a:cubicBezTo>
                    <a:pt x="399" y="269"/>
                    <a:pt x="399" y="270"/>
                    <a:pt x="398" y="271"/>
                  </a:cubicBezTo>
                  <a:cubicBezTo>
                    <a:pt x="398" y="272"/>
                    <a:pt x="398" y="272"/>
                    <a:pt x="398" y="273"/>
                  </a:cubicBezTo>
                  <a:cubicBezTo>
                    <a:pt x="398" y="273"/>
                    <a:pt x="398" y="274"/>
                    <a:pt x="398" y="275"/>
                  </a:cubicBezTo>
                  <a:cubicBezTo>
                    <a:pt x="398" y="276"/>
                    <a:pt x="398" y="276"/>
                    <a:pt x="397" y="276"/>
                  </a:cubicBezTo>
                  <a:cubicBezTo>
                    <a:pt x="397" y="276"/>
                    <a:pt x="397" y="276"/>
                    <a:pt x="396" y="277"/>
                  </a:cubicBezTo>
                  <a:cubicBezTo>
                    <a:pt x="396" y="277"/>
                    <a:pt x="396" y="277"/>
                    <a:pt x="396" y="277"/>
                  </a:cubicBezTo>
                  <a:cubicBezTo>
                    <a:pt x="395" y="277"/>
                    <a:pt x="395" y="278"/>
                    <a:pt x="394" y="278"/>
                  </a:cubicBezTo>
                  <a:cubicBezTo>
                    <a:pt x="394" y="279"/>
                    <a:pt x="394" y="280"/>
                    <a:pt x="394" y="280"/>
                  </a:cubicBezTo>
                  <a:cubicBezTo>
                    <a:pt x="393" y="280"/>
                    <a:pt x="393" y="280"/>
                    <a:pt x="393" y="281"/>
                  </a:cubicBezTo>
                  <a:cubicBezTo>
                    <a:pt x="393" y="281"/>
                    <a:pt x="393" y="281"/>
                    <a:pt x="393" y="281"/>
                  </a:cubicBezTo>
                  <a:cubicBezTo>
                    <a:pt x="393" y="282"/>
                    <a:pt x="393" y="282"/>
                    <a:pt x="393" y="283"/>
                  </a:cubicBezTo>
                  <a:cubicBezTo>
                    <a:pt x="393" y="283"/>
                    <a:pt x="393" y="283"/>
                    <a:pt x="394" y="284"/>
                  </a:cubicBezTo>
                  <a:cubicBezTo>
                    <a:pt x="394" y="284"/>
                    <a:pt x="394" y="284"/>
                    <a:pt x="394" y="284"/>
                  </a:cubicBezTo>
                  <a:cubicBezTo>
                    <a:pt x="394" y="284"/>
                    <a:pt x="394" y="285"/>
                    <a:pt x="394" y="285"/>
                  </a:cubicBezTo>
                  <a:cubicBezTo>
                    <a:pt x="394" y="285"/>
                    <a:pt x="393" y="285"/>
                    <a:pt x="393" y="285"/>
                  </a:cubicBezTo>
                  <a:cubicBezTo>
                    <a:pt x="393" y="286"/>
                    <a:pt x="393" y="286"/>
                    <a:pt x="392" y="287"/>
                  </a:cubicBezTo>
                  <a:cubicBezTo>
                    <a:pt x="392" y="288"/>
                    <a:pt x="391" y="287"/>
                    <a:pt x="391" y="287"/>
                  </a:cubicBezTo>
                  <a:cubicBezTo>
                    <a:pt x="391" y="287"/>
                    <a:pt x="391" y="286"/>
                    <a:pt x="391" y="285"/>
                  </a:cubicBezTo>
                  <a:cubicBezTo>
                    <a:pt x="391" y="285"/>
                    <a:pt x="391" y="284"/>
                    <a:pt x="391" y="284"/>
                  </a:cubicBezTo>
                  <a:cubicBezTo>
                    <a:pt x="390" y="284"/>
                    <a:pt x="390" y="284"/>
                    <a:pt x="390" y="284"/>
                  </a:cubicBezTo>
                  <a:cubicBezTo>
                    <a:pt x="389" y="283"/>
                    <a:pt x="390" y="281"/>
                    <a:pt x="390" y="280"/>
                  </a:cubicBezTo>
                  <a:cubicBezTo>
                    <a:pt x="390" y="279"/>
                    <a:pt x="390" y="278"/>
                    <a:pt x="390" y="278"/>
                  </a:cubicBezTo>
                  <a:cubicBezTo>
                    <a:pt x="390" y="277"/>
                    <a:pt x="391" y="277"/>
                    <a:pt x="390" y="276"/>
                  </a:cubicBezTo>
                  <a:cubicBezTo>
                    <a:pt x="390" y="275"/>
                    <a:pt x="390" y="275"/>
                    <a:pt x="389" y="274"/>
                  </a:cubicBezTo>
                  <a:cubicBezTo>
                    <a:pt x="389" y="274"/>
                    <a:pt x="389" y="274"/>
                    <a:pt x="389" y="274"/>
                  </a:cubicBezTo>
                  <a:cubicBezTo>
                    <a:pt x="393" y="272"/>
                    <a:pt x="396" y="270"/>
                    <a:pt x="399" y="267"/>
                  </a:cubicBezTo>
                  <a:cubicBezTo>
                    <a:pt x="399" y="267"/>
                    <a:pt x="399" y="268"/>
                    <a:pt x="399" y="268"/>
                  </a:cubicBezTo>
                  <a:close/>
                  <a:moveTo>
                    <a:pt x="24" y="249"/>
                  </a:moveTo>
                  <a:cubicBezTo>
                    <a:pt x="26" y="249"/>
                    <a:pt x="24" y="250"/>
                    <a:pt x="24" y="250"/>
                  </a:cubicBezTo>
                  <a:cubicBezTo>
                    <a:pt x="24" y="250"/>
                    <a:pt x="24" y="250"/>
                    <a:pt x="24" y="249"/>
                  </a:cubicBezTo>
                  <a:cubicBezTo>
                    <a:pt x="24" y="249"/>
                    <a:pt x="24" y="249"/>
                    <a:pt x="24" y="249"/>
                  </a:cubicBezTo>
                  <a:close/>
                  <a:moveTo>
                    <a:pt x="404" y="265"/>
                  </a:moveTo>
                  <a:cubicBezTo>
                    <a:pt x="404" y="265"/>
                    <a:pt x="404" y="265"/>
                    <a:pt x="404" y="265"/>
                  </a:cubicBezTo>
                  <a:cubicBezTo>
                    <a:pt x="404" y="266"/>
                    <a:pt x="405" y="266"/>
                    <a:pt x="404" y="267"/>
                  </a:cubicBezTo>
                  <a:cubicBezTo>
                    <a:pt x="404" y="267"/>
                    <a:pt x="403" y="268"/>
                    <a:pt x="403" y="268"/>
                  </a:cubicBezTo>
                  <a:cubicBezTo>
                    <a:pt x="403" y="268"/>
                    <a:pt x="403" y="268"/>
                    <a:pt x="403" y="268"/>
                  </a:cubicBezTo>
                  <a:cubicBezTo>
                    <a:pt x="403" y="268"/>
                    <a:pt x="403" y="267"/>
                    <a:pt x="403" y="267"/>
                  </a:cubicBezTo>
                  <a:cubicBezTo>
                    <a:pt x="403" y="267"/>
                    <a:pt x="402" y="267"/>
                    <a:pt x="402" y="267"/>
                  </a:cubicBezTo>
                  <a:cubicBezTo>
                    <a:pt x="402" y="266"/>
                    <a:pt x="402" y="266"/>
                    <a:pt x="402" y="266"/>
                  </a:cubicBezTo>
                  <a:cubicBezTo>
                    <a:pt x="403" y="265"/>
                    <a:pt x="404" y="265"/>
                    <a:pt x="404" y="265"/>
                  </a:cubicBezTo>
                  <a:close/>
                  <a:moveTo>
                    <a:pt x="383" y="287"/>
                  </a:moveTo>
                  <a:cubicBezTo>
                    <a:pt x="383" y="286"/>
                    <a:pt x="383" y="286"/>
                    <a:pt x="384" y="286"/>
                  </a:cubicBezTo>
                  <a:cubicBezTo>
                    <a:pt x="384" y="286"/>
                    <a:pt x="384" y="287"/>
                    <a:pt x="384" y="287"/>
                  </a:cubicBezTo>
                  <a:cubicBezTo>
                    <a:pt x="385" y="287"/>
                    <a:pt x="385" y="287"/>
                    <a:pt x="385" y="287"/>
                  </a:cubicBezTo>
                  <a:cubicBezTo>
                    <a:pt x="385" y="288"/>
                    <a:pt x="385" y="288"/>
                    <a:pt x="385" y="288"/>
                  </a:cubicBezTo>
                  <a:cubicBezTo>
                    <a:pt x="385" y="288"/>
                    <a:pt x="385" y="289"/>
                    <a:pt x="385" y="289"/>
                  </a:cubicBezTo>
                  <a:cubicBezTo>
                    <a:pt x="384" y="289"/>
                    <a:pt x="384" y="289"/>
                    <a:pt x="384" y="289"/>
                  </a:cubicBezTo>
                  <a:cubicBezTo>
                    <a:pt x="384" y="289"/>
                    <a:pt x="384" y="288"/>
                    <a:pt x="383" y="288"/>
                  </a:cubicBezTo>
                  <a:cubicBezTo>
                    <a:pt x="383" y="288"/>
                    <a:pt x="383" y="287"/>
                    <a:pt x="383" y="287"/>
                  </a:cubicBezTo>
                  <a:close/>
                  <a:moveTo>
                    <a:pt x="388" y="280"/>
                  </a:moveTo>
                  <a:cubicBezTo>
                    <a:pt x="388" y="279"/>
                    <a:pt x="388" y="280"/>
                    <a:pt x="388" y="281"/>
                  </a:cubicBezTo>
                  <a:cubicBezTo>
                    <a:pt x="387" y="281"/>
                    <a:pt x="387" y="282"/>
                    <a:pt x="388" y="282"/>
                  </a:cubicBezTo>
                  <a:cubicBezTo>
                    <a:pt x="388" y="283"/>
                    <a:pt x="387" y="284"/>
                    <a:pt x="387" y="285"/>
                  </a:cubicBezTo>
                  <a:cubicBezTo>
                    <a:pt x="387" y="286"/>
                    <a:pt x="386" y="286"/>
                    <a:pt x="386" y="285"/>
                  </a:cubicBezTo>
                  <a:cubicBezTo>
                    <a:pt x="386" y="285"/>
                    <a:pt x="387" y="284"/>
                    <a:pt x="387" y="284"/>
                  </a:cubicBezTo>
                  <a:cubicBezTo>
                    <a:pt x="387" y="283"/>
                    <a:pt x="387" y="282"/>
                    <a:pt x="387" y="282"/>
                  </a:cubicBezTo>
                  <a:cubicBezTo>
                    <a:pt x="387" y="281"/>
                    <a:pt x="386" y="280"/>
                    <a:pt x="386" y="280"/>
                  </a:cubicBezTo>
                  <a:cubicBezTo>
                    <a:pt x="385" y="279"/>
                    <a:pt x="385" y="279"/>
                    <a:pt x="385" y="278"/>
                  </a:cubicBezTo>
                  <a:cubicBezTo>
                    <a:pt x="385" y="278"/>
                    <a:pt x="384" y="278"/>
                    <a:pt x="384" y="278"/>
                  </a:cubicBezTo>
                  <a:cubicBezTo>
                    <a:pt x="384" y="278"/>
                    <a:pt x="384" y="278"/>
                    <a:pt x="384" y="278"/>
                  </a:cubicBezTo>
                  <a:cubicBezTo>
                    <a:pt x="385" y="277"/>
                    <a:pt x="386" y="276"/>
                    <a:pt x="387" y="276"/>
                  </a:cubicBezTo>
                  <a:cubicBezTo>
                    <a:pt x="387" y="276"/>
                    <a:pt x="387" y="276"/>
                    <a:pt x="387" y="276"/>
                  </a:cubicBezTo>
                  <a:cubicBezTo>
                    <a:pt x="387" y="276"/>
                    <a:pt x="388" y="277"/>
                    <a:pt x="388" y="277"/>
                  </a:cubicBezTo>
                  <a:cubicBezTo>
                    <a:pt x="388" y="278"/>
                    <a:pt x="388" y="278"/>
                    <a:pt x="389" y="278"/>
                  </a:cubicBezTo>
                  <a:cubicBezTo>
                    <a:pt x="389" y="278"/>
                    <a:pt x="389" y="280"/>
                    <a:pt x="389" y="281"/>
                  </a:cubicBezTo>
                  <a:cubicBezTo>
                    <a:pt x="389" y="281"/>
                    <a:pt x="389" y="280"/>
                    <a:pt x="388" y="280"/>
                  </a:cubicBezTo>
                  <a:close/>
                  <a:moveTo>
                    <a:pt x="373" y="286"/>
                  </a:moveTo>
                  <a:cubicBezTo>
                    <a:pt x="373" y="286"/>
                    <a:pt x="373" y="286"/>
                    <a:pt x="373" y="286"/>
                  </a:cubicBezTo>
                  <a:cubicBezTo>
                    <a:pt x="372" y="285"/>
                    <a:pt x="373" y="285"/>
                    <a:pt x="373" y="284"/>
                  </a:cubicBezTo>
                  <a:cubicBezTo>
                    <a:pt x="373" y="284"/>
                    <a:pt x="373" y="284"/>
                    <a:pt x="373" y="284"/>
                  </a:cubicBezTo>
                  <a:cubicBezTo>
                    <a:pt x="374" y="284"/>
                    <a:pt x="374" y="286"/>
                    <a:pt x="373" y="286"/>
                  </a:cubicBezTo>
                  <a:close/>
                  <a:moveTo>
                    <a:pt x="372" y="286"/>
                  </a:moveTo>
                  <a:cubicBezTo>
                    <a:pt x="372" y="286"/>
                    <a:pt x="372" y="287"/>
                    <a:pt x="372" y="287"/>
                  </a:cubicBezTo>
                  <a:cubicBezTo>
                    <a:pt x="371" y="288"/>
                    <a:pt x="371" y="286"/>
                    <a:pt x="372" y="286"/>
                  </a:cubicBezTo>
                  <a:close/>
                  <a:moveTo>
                    <a:pt x="375" y="284"/>
                  </a:moveTo>
                  <a:cubicBezTo>
                    <a:pt x="375" y="284"/>
                    <a:pt x="374" y="285"/>
                    <a:pt x="374" y="285"/>
                  </a:cubicBezTo>
                  <a:cubicBezTo>
                    <a:pt x="374" y="284"/>
                    <a:pt x="374" y="284"/>
                    <a:pt x="374" y="284"/>
                  </a:cubicBezTo>
                  <a:cubicBezTo>
                    <a:pt x="374" y="284"/>
                    <a:pt x="375" y="284"/>
                    <a:pt x="375" y="284"/>
                  </a:cubicBezTo>
                  <a:cubicBezTo>
                    <a:pt x="375" y="284"/>
                    <a:pt x="375" y="284"/>
                    <a:pt x="375" y="284"/>
                  </a:cubicBezTo>
                  <a:close/>
                  <a:moveTo>
                    <a:pt x="379" y="286"/>
                  </a:moveTo>
                  <a:cubicBezTo>
                    <a:pt x="379" y="285"/>
                    <a:pt x="379" y="284"/>
                    <a:pt x="379" y="284"/>
                  </a:cubicBezTo>
                  <a:cubicBezTo>
                    <a:pt x="380" y="283"/>
                    <a:pt x="380" y="282"/>
                    <a:pt x="379" y="282"/>
                  </a:cubicBezTo>
                  <a:cubicBezTo>
                    <a:pt x="379" y="282"/>
                    <a:pt x="379" y="281"/>
                    <a:pt x="379" y="281"/>
                  </a:cubicBezTo>
                  <a:cubicBezTo>
                    <a:pt x="380" y="281"/>
                    <a:pt x="380" y="280"/>
                    <a:pt x="381" y="280"/>
                  </a:cubicBezTo>
                  <a:cubicBezTo>
                    <a:pt x="381" y="280"/>
                    <a:pt x="381" y="281"/>
                    <a:pt x="381" y="281"/>
                  </a:cubicBezTo>
                  <a:cubicBezTo>
                    <a:pt x="381" y="281"/>
                    <a:pt x="381" y="282"/>
                    <a:pt x="381" y="282"/>
                  </a:cubicBezTo>
                  <a:cubicBezTo>
                    <a:pt x="381" y="282"/>
                    <a:pt x="381" y="283"/>
                    <a:pt x="381" y="283"/>
                  </a:cubicBezTo>
                  <a:cubicBezTo>
                    <a:pt x="381" y="284"/>
                    <a:pt x="380" y="285"/>
                    <a:pt x="380" y="285"/>
                  </a:cubicBezTo>
                  <a:cubicBezTo>
                    <a:pt x="380" y="286"/>
                    <a:pt x="379" y="286"/>
                    <a:pt x="379" y="286"/>
                  </a:cubicBezTo>
                  <a:close/>
                  <a:moveTo>
                    <a:pt x="214" y="338"/>
                  </a:moveTo>
                  <a:cubicBezTo>
                    <a:pt x="214" y="338"/>
                    <a:pt x="216" y="339"/>
                    <a:pt x="215" y="340"/>
                  </a:cubicBezTo>
                  <a:cubicBezTo>
                    <a:pt x="214" y="340"/>
                    <a:pt x="213" y="339"/>
                    <a:pt x="214" y="338"/>
                  </a:cubicBezTo>
                  <a:close/>
                  <a:moveTo>
                    <a:pt x="247" y="348"/>
                  </a:moveTo>
                  <a:cubicBezTo>
                    <a:pt x="247" y="348"/>
                    <a:pt x="243" y="349"/>
                    <a:pt x="243" y="348"/>
                  </a:cubicBezTo>
                  <a:cubicBezTo>
                    <a:pt x="243" y="347"/>
                    <a:pt x="243" y="347"/>
                    <a:pt x="243" y="348"/>
                  </a:cubicBezTo>
                  <a:cubicBezTo>
                    <a:pt x="244" y="348"/>
                    <a:pt x="244" y="347"/>
                    <a:pt x="245" y="347"/>
                  </a:cubicBezTo>
                  <a:cubicBezTo>
                    <a:pt x="245" y="347"/>
                    <a:pt x="247" y="347"/>
                    <a:pt x="247" y="348"/>
                  </a:cubicBezTo>
                  <a:close/>
                  <a:moveTo>
                    <a:pt x="253" y="349"/>
                  </a:moveTo>
                  <a:cubicBezTo>
                    <a:pt x="253" y="349"/>
                    <a:pt x="252" y="351"/>
                    <a:pt x="252" y="350"/>
                  </a:cubicBezTo>
                  <a:cubicBezTo>
                    <a:pt x="252" y="350"/>
                    <a:pt x="252" y="349"/>
                    <a:pt x="253" y="349"/>
                  </a:cubicBezTo>
                  <a:close/>
                  <a:moveTo>
                    <a:pt x="241" y="370"/>
                  </a:moveTo>
                  <a:cubicBezTo>
                    <a:pt x="241" y="370"/>
                    <a:pt x="242" y="370"/>
                    <a:pt x="243" y="370"/>
                  </a:cubicBezTo>
                  <a:cubicBezTo>
                    <a:pt x="244" y="370"/>
                    <a:pt x="241" y="371"/>
                    <a:pt x="241" y="370"/>
                  </a:cubicBezTo>
                  <a:close/>
                  <a:moveTo>
                    <a:pt x="226" y="345"/>
                  </a:moveTo>
                  <a:cubicBezTo>
                    <a:pt x="225" y="346"/>
                    <a:pt x="225" y="343"/>
                    <a:pt x="226" y="344"/>
                  </a:cubicBezTo>
                  <a:cubicBezTo>
                    <a:pt x="226" y="345"/>
                    <a:pt x="226" y="345"/>
                    <a:pt x="226" y="345"/>
                  </a:cubicBezTo>
                  <a:close/>
                  <a:moveTo>
                    <a:pt x="219" y="343"/>
                  </a:moveTo>
                  <a:cubicBezTo>
                    <a:pt x="218" y="343"/>
                    <a:pt x="220" y="343"/>
                    <a:pt x="220" y="343"/>
                  </a:cubicBezTo>
                  <a:cubicBezTo>
                    <a:pt x="221" y="343"/>
                    <a:pt x="221" y="344"/>
                    <a:pt x="221" y="345"/>
                  </a:cubicBezTo>
                  <a:cubicBezTo>
                    <a:pt x="221" y="347"/>
                    <a:pt x="219" y="344"/>
                    <a:pt x="219" y="343"/>
                  </a:cubicBezTo>
                  <a:close/>
                  <a:moveTo>
                    <a:pt x="225" y="347"/>
                  </a:moveTo>
                  <a:cubicBezTo>
                    <a:pt x="225" y="348"/>
                    <a:pt x="224" y="348"/>
                    <a:pt x="224" y="348"/>
                  </a:cubicBezTo>
                  <a:cubicBezTo>
                    <a:pt x="224" y="347"/>
                    <a:pt x="225" y="347"/>
                    <a:pt x="225" y="347"/>
                  </a:cubicBezTo>
                  <a:close/>
                  <a:moveTo>
                    <a:pt x="230" y="345"/>
                  </a:moveTo>
                  <a:cubicBezTo>
                    <a:pt x="230" y="346"/>
                    <a:pt x="229" y="346"/>
                    <a:pt x="229" y="345"/>
                  </a:cubicBezTo>
                  <a:cubicBezTo>
                    <a:pt x="229" y="344"/>
                    <a:pt x="230" y="345"/>
                    <a:pt x="230" y="345"/>
                  </a:cubicBezTo>
                  <a:close/>
                  <a:moveTo>
                    <a:pt x="250" y="360"/>
                  </a:moveTo>
                  <a:cubicBezTo>
                    <a:pt x="249" y="360"/>
                    <a:pt x="250" y="358"/>
                    <a:pt x="252" y="359"/>
                  </a:cubicBezTo>
                  <a:cubicBezTo>
                    <a:pt x="253" y="359"/>
                    <a:pt x="253" y="360"/>
                    <a:pt x="253" y="360"/>
                  </a:cubicBezTo>
                  <a:cubicBezTo>
                    <a:pt x="253" y="361"/>
                    <a:pt x="253" y="360"/>
                    <a:pt x="254" y="361"/>
                  </a:cubicBezTo>
                  <a:cubicBezTo>
                    <a:pt x="254" y="361"/>
                    <a:pt x="253" y="362"/>
                    <a:pt x="252" y="362"/>
                  </a:cubicBezTo>
                  <a:cubicBezTo>
                    <a:pt x="252" y="361"/>
                    <a:pt x="252" y="361"/>
                    <a:pt x="252" y="361"/>
                  </a:cubicBezTo>
                  <a:cubicBezTo>
                    <a:pt x="252" y="360"/>
                    <a:pt x="251" y="361"/>
                    <a:pt x="251" y="360"/>
                  </a:cubicBezTo>
                  <a:cubicBezTo>
                    <a:pt x="252" y="360"/>
                    <a:pt x="251" y="360"/>
                    <a:pt x="250" y="360"/>
                  </a:cubicBezTo>
                  <a:close/>
                  <a:moveTo>
                    <a:pt x="250" y="358"/>
                  </a:moveTo>
                  <a:cubicBezTo>
                    <a:pt x="250" y="358"/>
                    <a:pt x="249" y="357"/>
                    <a:pt x="250" y="357"/>
                  </a:cubicBezTo>
                  <a:cubicBezTo>
                    <a:pt x="251" y="357"/>
                    <a:pt x="252" y="358"/>
                    <a:pt x="250" y="358"/>
                  </a:cubicBezTo>
                  <a:close/>
                  <a:moveTo>
                    <a:pt x="247" y="322"/>
                  </a:moveTo>
                  <a:cubicBezTo>
                    <a:pt x="248" y="321"/>
                    <a:pt x="249" y="322"/>
                    <a:pt x="249" y="323"/>
                  </a:cubicBezTo>
                  <a:cubicBezTo>
                    <a:pt x="248" y="325"/>
                    <a:pt x="247" y="323"/>
                    <a:pt x="247" y="322"/>
                  </a:cubicBezTo>
                  <a:close/>
                  <a:moveTo>
                    <a:pt x="256" y="353"/>
                  </a:moveTo>
                  <a:cubicBezTo>
                    <a:pt x="256" y="353"/>
                    <a:pt x="254" y="353"/>
                    <a:pt x="254" y="353"/>
                  </a:cubicBezTo>
                  <a:cubicBezTo>
                    <a:pt x="255" y="352"/>
                    <a:pt x="256" y="353"/>
                    <a:pt x="256" y="353"/>
                  </a:cubicBezTo>
                  <a:close/>
                  <a:moveTo>
                    <a:pt x="258" y="323"/>
                  </a:moveTo>
                  <a:cubicBezTo>
                    <a:pt x="259" y="323"/>
                    <a:pt x="257" y="325"/>
                    <a:pt x="256" y="324"/>
                  </a:cubicBezTo>
                  <a:cubicBezTo>
                    <a:pt x="256" y="323"/>
                    <a:pt x="257" y="322"/>
                    <a:pt x="258" y="323"/>
                  </a:cubicBezTo>
                  <a:close/>
                  <a:moveTo>
                    <a:pt x="252" y="448"/>
                  </a:moveTo>
                  <a:cubicBezTo>
                    <a:pt x="253" y="447"/>
                    <a:pt x="252" y="447"/>
                    <a:pt x="252" y="447"/>
                  </a:cubicBezTo>
                  <a:cubicBezTo>
                    <a:pt x="253" y="447"/>
                    <a:pt x="253" y="446"/>
                    <a:pt x="253" y="447"/>
                  </a:cubicBezTo>
                  <a:cubicBezTo>
                    <a:pt x="254" y="447"/>
                    <a:pt x="255" y="446"/>
                    <a:pt x="255" y="447"/>
                  </a:cubicBezTo>
                  <a:cubicBezTo>
                    <a:pt x="255" y="447"/>
                    <a:pt x="256" y="447"/>
                    <a:pt x="255" y="447"/>
                  </a:cubicBezTo>
                  <a:cubicBezTo>
                    <a:pt x="255" y="447"/>
                    <a:pt x="255" y="447"/>
                    <a:pt x="255" y="447"/>
                  </a:cubicBezTo>
                  <a:cubicBezTo>
                    <a:pt x="255" y="448"/>
                    <a:pt x="254" y="448"/>
                    <a:pt x="254" y="448"/>
                  </a:cubicBezTo>
                  <a:cubicBezTo>
                    <a:pt x="254" y="448"/>
                    <a:pt x="254" y="448"/>
                    <a:pt x="254" y="447"/>
                  </a:cubicBezTo>
                  <a:cubicBezTo>
                    <a:pt x="253" y="447"/>
                    <a:pt x="253" y="448"/>
                    <a:pt x="252" y="448"/>
                  </a:cubicBezTo>
                  <a:cubicBezTo>
                    <a:pt x="252" y="448"/>
                    <a:pt x="252" y="448"/>
                    <a:pt x="252" y="448"/>
                  </a:cubicBezTo>
                  <a:close/>
                  <a:moveTo>
                    <a:pt x="302" y="383"/>
                  </a:moveTo>
                  <a:cubicBezTo>
                    <a:pt x="301" y="384"/>
                    <a:pt x="301" y="384"/>
                    <a:pt x="301" y="383"/>
                  </a:cubicBezTo>
                  <a:cubicBezTo>
                    <a:pt x="301" y="383"/>
                    <a:pt x="302" y="383"/>
                    <a:pt x="302" y="383"/>
                  </a:cubicBezTo>
                  <a:close/>
                  <a:moveTo>
                    <a:pt x="254" y="364"/>
                  </a:moveTo>
                  <a:cubicBezTo>
                    <a:pt x="253" y="365"/>
                    <a:pt x="253" y="365"/>
                    <a:pt x="253" y="364"/>
                  </a:cubicBezTo>
                  <a:cubicBezTo>
                    <a:pt x="254" y="363"/>
                    <a:pt x="253" y="363"/>
                    <a:pt x="253" y="363"/>
                  </a:cubicBezTo>
                  <a:cubicBezTo>
                    <a:pt x="253" y="363"/>
                    <a:pt x="253" y="362"/>
                    <a:pt x="253" y="363"/>
                  </a:cubicBezTo>
                  <a:cubicBezTo>
                    <a:pt x="253" y="363"/>
                    <a:pt x="254" y="363"/>
                    <a:pt x="254" y="363"/>
                  </a:cubicBezTo>
                  <a:cubicBezTo>
                    <a:pt x="254" y="363"/>
                    <a:pt x="254" y="364"/>
                    <a:pt x="254" y="364"/>
                  </a:cubicBezTo>
                  <a:close/>
                  <a:moveTo>
                    <a:pt x="250" y="356"/>
                  </a:moveTo>
                  <a:cubicBezTo>
                    <a:pt x="250" y="356"/>
                    <a:pt x="250" y="356"/>
                    <a:pt x="250" y="357"/>
                  </a:cubicBezTo>
                  <a:cubicBezTo>
                    <a:pt x="249" y="357"/>
                    <a:pt x="249" y="356"/>
                    <a:pt x="249" y="356"/>
                  </a:cubicBezTo>
                  <a:cubicBezTo>
                    <a:pt x="249" y="356"/>
                    <a:pt x="250" y="356"/>
                    <a:pt x="250" y="356"/>
                  </a:cubicBezTo>
                  <a:close/>
                  <a:moveTo>
                    <a:pt x="253" y="368"/>
                  </a:moveTo>
                  <a:cubicBezTo>
                    <a:pt x="253" y="367"/>
                    <a:pt x="254" y="368"/>
                    <a:pt x="254" y="368"/>
                  </a:cubicBezTo>
                  <a:cubicBezTo>
                    <a:pt x="253" y="369"/>
                    <a:pt x="252" y="368"/>
                    <a:pt x="253" y="368"/>
                  </a:cubicBez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cxnSp>
        <p:nvCxnSpPr>
          <p:cNvPr id="77" name="Straight Connector 76"/>
          <p:cNvCxnSpPr/>
          <p:nvPr/>
        </p:nvCxnSpPr>
        <p:spPr>
          <a:xfrm flipV="1">
            <a:off x="1528966" y="3545969"/>
            <a:ext cx="78775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568708" y="4708157"/>
            <a:ext cx="0" cy="343159"/>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556076" y="2538282"/>
            <a:ext cx="0" cy="404138"/>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4439395" y="2538785"/>
            <a:ext cx="1341000" cy="922124"/>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flipV="1">
            <a:off x="4439395" y="4221493"/>
            <a:ext cx="1341000" cy="1015656"/>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4525353" y="3835172"/>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7468923" y="3842927"/>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7459331" y="5548498"/>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V="1">
            <a:off x="7426450" y="2231691"/>
            <a:ext cx="1300810" cy="1"/>
          </a:xfrm>
          <a:prstGeom prst="line">
            <a:avLst/>
          </a:prstGeom>
          <a:ln w="25400" cap="rnd" cmpd="sng">
            <a:solidFill>
              <a:srgbClr val="FFFFFF"/>
            </a:solidFill>
            <a:prstDash val="sysDot"/>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2402505" y="2962218"/>
            <a:ext cx="1861850" cy="1699478"/>
            <a:chOff x="4727196" y="1953441"/>
            <a:chExt cx="1913060" cy="1746223"/>
          </a:xfrm>
        </p:grpSpPr>
        <p:grpSp>
          <p:nvGrpSpPr>
            <p:cNvPr id="106" name="Group 105"/>
            <p:cNvGrpSpPr/>
            <p:nvPr/>
          </p:nvGrpSpPr>
          <p:grpSpPr>
            <a:xfrm>
              <a:off x="4727196" y="1953441"/>
              <a:ext cx="1913060" cy="1746223"/>
              <a:chOff x="3577666" y="3115374"/>
              <a:chExt cx="1565257" cy="1428748"/>
            </a:xfrm>
          </p:grpSpPr>
          <p:pic>
            <p:nvPicPr>
              <p:cNvPr id="108" name="Picture 10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77666" y="3902212"/>
                <a:ext cx="1061011" cy="641910"/>
              </a:xfrm>
              <a:prstGeom prst="rect">
                <a:avLst/>
              </a:prstGeom>
            </p:spPr>
          </p:pic>
          <p:pic>
            <p:nvPicPr>
              <p:cNvPr id="109" name="Picture 10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745390" y="3878001"/>
                <a:ext cx="351007" cy="648810"/>
              </a:xfrm>
              <a:prstGeom prst="rect">
                <a:avLst/>
              </a:prstGeom>
            </p:spPr>
          </p:pic>
          <p:pic>
            <p:nvPicPr>
              <p:cNvPr id="110" name="Picture 10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698507" y="3115374"/>
                <a:ext cx="444416" cy="664407"/>
              </a:xfrm>
              <a:prstGeom prst="rect">
                <a:avLst/>
              </a:prstGeom>
            </p:spPr>
          </p:pic>
        </p:grpSp>
        <p:pic>
          <p:nvPicPr>
            <p:cNvPr id="107" name="Picture 10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14946" y="1962709"/>
              <a:ext cx="937254" cy="802914"/>
            </a:xfrm>
            <a:prstGeom prst="rect">
              <a:avLst/>
            </a:prstGeom>
          </p:spPr>
        </p:pic>
      </p:grpSp>
      <p:grpSp>
        <p:nvGrpSpPr>
          <p:cNvPr id="12" name="Group 11"/>
          <p:cNvGrpSpPr/>
          <p:nvPr/>
        </p:nvGrpSpPr>
        <p:grpSpPr>
          <a:xfrm>
            <a:off x="5932811" y="3163135"/>
            <a:ext cx="1983812" cy="1509253"/>
            <a:chOff x="5932770" y="3163088"/>
            <a:chExt cx="1984093" cy="1509467"/>
          </a:xfrm>
        </p:grpSpPr>
        <p:grpSp>
          <p:nvGrpSpPr>
            <p:cNvPr id="5" name="Group 4"/>
            <p:cNvGrpSpPr/>
            <p:nvPr/>
          </p:nvGrpSpPr>
          <p:grpSpPr>
            <a:xfrm>
              <a:off x="5932770" y="4206398"/>
              <a:ext cx="1984093" cy="466157"/>
              <a:chOff x="5990420" y="3901598"/>
              <a:chExt cx="1984093" cy="466157"/>
            </a:xfrm>
          </p:grpSpPr>
          <p:pic>
            <p:nvPicPr>
              <p:cNvPr id="384" name="Picture 383"/>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990420" y="3901598"/>
                <a:ext cx="1440560" cy="338609"/>
              </a:xfrm>
              <a:prstGeom prst="rect">
                <a:avLst/>
              </a:prstGeom>
            </p:spPr>
          </p:pic>
          <p:sp>
            <p:nvSpPr>
              <p:cNvPr id="385" name="Rectangle 384"/>
              <p:cNvSpPr/>
              <p:nvPr/>
            </p:nvSpPr>
            <p:spPr>
              <a:xfrm>
                <a:off x="6161070" y="4179516"/>
                <a:ext cx="1813443"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Web Application Proxy</a:t>
                </a:r>
              </a:p>
            </p:txBody>
          </p:sp>
        </p:grpSp>
        <p:grpSp>
          <p:nvGrpSpPr>
            <p:cNvPr id="7" name="Group 6"/>
            <p:cNvGrpSpPr/>
            <p:nvPr/>
          </p:nvGrpSpPr>
          <p:grpSpPr>
            <a:xfrm>
              <a:off x="6190114" y="3163088"/>
              <a:ext cx="836613" cy="1081087"/>
              <a:chOff x="6190114" y="3163088"/>
              <a:chExt cx="836613" cy="1081087"/>
            </a:xfrm>
          </p:grpSpPr>
          <p:sp>
            <p:nvSpPr>
              <p:cNvPr id="91" name="Freeform 7"/>
              <p:cNvSpPr>
                <a:spLocks noEditPoints="1"/>
              </p:cNvSpPr>
              <p:nvPr/>
            </p:nvSpPr>
            <p:spPr bwMode="auto">
              <a:xfrm>
                <a:off x="6467927" y="31630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2" name="Freeform 8"/>
              <p:cNvSpPr>
                <a:spLocks noEditPoints="1"/>
              </p:cNvSpPr>
              <p:nvPr/>
            </p:nvSpPr>
            <p:spPr bwMode="auto">
              <a:xfrm>
                <a:off x="6190114" y="34059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3" name="Freeform 10"/>
              <p:cNvSpPr>
                <a:spLocks noEditPoints="1"/>
              </p:cNvSpPr>
              <p:nvPr/>
            </p:nvSpPr>
            <p:spPr bwMode="auto">
              <a:xfrm>
                <a:off x="6528252" y="32472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3" name="Group 12"/>
          <p:cNvGrpSpPr/>
          <p:nvPr/>
        </p:nvGrpSpPr>
        <p:grpSpPr>
          <a:xfrm>
            <a:off x="6027067" y="4803753"/>
            <a:ext cx="1440356" cy="1493822"/>
            <a:chOff x="6027040" y="4803938"/>
            <a:chExt cx="1440560" cy="1494033"/>
          </a:xfrm>
        </p:grpSpPr>
        <p:grpSp>
          <p:nvGrpSpPr>
            <p:cNvPr id="351" name="Group 350"/>
            <p:cNvGrpSpPr/>
            <p:nvPr/>
          </p:nvGrpSpPr>
          <p:grpSpPr>
            <a:xfrm>
              <a:off x="6027040" y="5844959"/>
              <a:ext cx="1440560" cy="453012"/>
              <a:chOff x="4789049" y="3095489"/>
              <a:chExt cx="1440560" cy="453012"/>
            </a:xfrm>
          </p:grpSpPr>
          <p:pic>
            <p:nvPicPr>
              <p:cNvPr id="367" name="Picture 366"/>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370" name="Rectangle 369"/>
              <p:cNvSpPr/>
              <p:nvPr/>
            </p:nvSpPr>
            <p:spPr>
              <a:xfrm>
                <a:off x="5036598" y="3360263"/>
                <a:ext cx="1156250" cy="188238"/>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emote Access</a:t>
                </a:r>
              </a:p>
            </p:txBody>
          </p:sp>
        </p:grpSp>
        <p:grpSp>
          <p:nvGrpSpPr>
            <p:cNvPr id="4" name="Group 3"/>
            <p:cNvGrpSpPr/>
            <p:nvPr/>
          </p:nvGrpSpPr>
          <p:grpSpPr>
            <a:xfrm>
              <a:off x="6218374" y="4803938"/>
              <a:ext cx="836613" cy="1081087"/>
              <a:chOff x="6342514" y="3315488"/>
              <a:chExt cx="836613" cy="1081087"/>
            </a:xfrm>
          </p:grpSpPr>
          <p:sp>
            <p:nvSpPr>
              <p:cNvPr id="113" name="Freeform 7"/>
              <p:cNvSpPr>
                <a:spLocks noEditPoints="1"/>
              </p:cNvSpPr>
              <p:nvPr/>
            </p:nvSpPr>
            <p:spPr bwMode="auto">
              <a:xfrm>
                <a:off x="6620327" y="3315488"/>
                <a:ext cx="558800" cy="1081087"/>
              </a:xfrm>
              <a:custGeom>
                <a:avLst/>
                <a:gdLst>
                  <a:gd name="T0" fmla="*/ 1513 w 1760"/>
                  <a:gd name="T1" fmla="*/ 2946 h 3403"/>
                  <a:gd name="T2" fmla="*/ 1569 w 1760"/>
                  <a:gd name="T3" fmla="*/ 3116 h 3403"/>
                  <a:gd name="T4" fmla="*/ 247 w 1760"/>
                  <a:gd name="T5" fmla="*/ 2748 h 3403"/>
                  <a:gd name="T6" fmla="*/ 191 w 1760"/>
                  <a:gd name="T7" fmla="*/ 2632 h 3403"/>
                  <a:gd name="T8" fmla="*/ 191 w 1760"/>
                  <a:gd name="T9" fmla="*/ 2632 h 3403"/>
                  <a:gd name="T10" fmla="*/ 191 w 1760"/>
                  <a:gd name="T11" fmla="*/ 2546 h 3403"/>
                  <a:gd name="T12" fmla="*/ 455 w 1760"/>
                  <a:gd name="T13" fmla="*/ 2490 h 3403"/>
                  <a:gd name="T14" fmla="*/ 191 w 1760"/>
                  <a:gd name="T15" fmla="*/ 622 h 3403"/>
                  <a:gd name="T16" fmla="*/ 266 w 1760"/>
                  <a:gd name="T17" fmla="*/ 797 h 3403"/>
                  <a:gd name="T18" fmla="*/ 247 w 1760"/>
                  <a:gd name="T19" fmla="*/ 825 h 3403"/>
                  <a:gd name="T20" fmla="*/ 1507 w 1760"/>
                  <a:gd name="T21" fmla="*/ 0 h 3403"/>
                  <a:gd name="T22" fmla="*/ 1579 w 1760"/>
                  <a:gd name="T23" fmla="*/ 9 h 3403"/>
                  <a:gd name="T24" fmla="*/ 1644 w 1760"/>
                  <a:gd name="T25" fmla="*/ 36 h 3403"/>
                  <a:gd name="T26" fmla="*/ 1715 w 1760"/>
                  <a:gd name="T27" fmla="*/ 96 h 3403"/>
                  <a:gd name="T28" fmla="*/ 1749 w 1760"/>
                  <a:gd name="T29" fmla="*/ 158 h 3403"/>
                  <a:gd name="T30" fmla="*/ 1760 w 1760"/>
                  <a:gd name="T31" fmla="*/ 207 h 3403"/>
                  <a:gd name="T32" fmla="*/ 1759 w 1760"/>
                  <a:gd name="T33" fmla="*/ 3201 h 3403"/>
                  <a:gd name="T34" fmla="*/ 1742 w 1760"/>
                  <a:gd name="T35" fmla="*/ 3264 h 3403"/>
                  <a:gd name="T36" fmla="*/ 1701 w 1760"/>
                  <a:gd name="T37" fmla="*/ 3322 h 3403"/>
                  <a:gd name="T38" fmla="*/ 1625 w 1760"/>
                  <a:gd name="T39" fmla="*/ 3377 h 3403"/>
                  <a:gd name="T40" fmla="*/ 1558 w 1760"/>
                  <a:gd name="T41" fmla="*/ 3399 h 3403"/>
                  <a:gd name="T42" fmla="*/ 254 w 1760"/>
                  <a:gd name="T43" fmla="*/ 3403 h 3403"/>
                  <a:gd name="T44" fmla="*/ 181 w 1760"/>
                  <a:gd name="T45" fmla="*/ 3394 h 3403"/>
                  <a:gd name="T46" fmla="*/ 116 w 1760"/>
                  <a:gd name="T47" fmla="*/ 3367 h 3403"/>
                  <a:gd name="T48" fmla="*/ 60 w 1760"/>
                  <a:gd name="T49" fmla="*/ 3322 h 3403"/>
                  <a:gd name="T50" fmla="*/ 19 w 1760"/>
                  <a:gd name="T51" fmla="*/ 3264 h 3403"/>
                  <a:gd name="T52" fmla="*/ 2 w 1760"/>
                  <a:gd name="T53" fmla="*/ 3201 h 3403"/>
                  <a:gd name="T54" fmla="*/ 56 w 1760"/>
                  <a:gd name="T55" fmla="*/ 2500 h 3403"/>
                  <a:gd name="T56" fmla="*/ 60 w 1760"/>
                  <a:gd name="T57" fmla="*/ 3210 h 3403"/>
                  <a:gd name="T58" fmla="*/ 80 w 1760"/>
                  <a:gd name="T59" fmla="*/ 3259 h 3403"/>
                  <a:gd name="T60" fmla="*/ 125 w 1760"/>
                  <a:gd name="T61" fmla="*/ 3305 h 3403"/>
                  <a:gd name="T62" fmla="*/ 197 w 1760"/>
                  <a:gd name="T63" fmla="*/ 3340 h 3403"/>
                  <a:gd name="T64" fmla="*/ 232 w 1760"/>
                  <a:gd name="T65" fmla="*/ 3346 h 3403"/>
                  <a:gd name="T66" fmla="*/ 1528 w 1760"/>
                  <a:gd name="T67" fmla="*/ 3346 h 3403"/>
                  <a:gd name="T68" fmla="*/ 1584 w 1760"/>
                  <a:gd name="T69" fmla="*/ 3333 h 3403"/>
                  <a:gd name="T70" fmla="*/ 1647 w 1760"/>
                  <a:gd name="T71" fmla="*/ 3297 h 3403"/>
                  <a:gd name="T72" fmla="*/ 1690 w 1760"/>
                  <a:gd name="T73" fmla="*/ 3242 h 3403"/>
                  <a:gd name="T74" fmla="*/ 1704 w 1760"/>
                  <a:gd name="T75" fmla="*/ 3189 h 3403"/>
                  <a:gd name="T76" fmla="*/ 1704 w 1760"/>
                  <a:gd name="T77" fmla="*/ 214 h 3403"/>
                  <a:gd name="T78" fmla="*/ 1697 w 1760"/>
                  <a:gd name="T79" fmla="*/ 179 h 3403"/>
                  <a:gd name="T80" fmla="*/ 1662 w 1760"/>
                  <a:gd name="T81" fmla="*/ 120 h 3403"/>
                  <a:gd name="T82" fmla="*/ 1603 w 1760"/>
                  <a:gd name="T83" fmla="*/ 78 h 3403"/>
                  <a:gd name="T84" fmla="*/ 1546 w 1760"/>
                  <a:gd name="T85" fmla="*/ 59 h 3403"/>
                  <a:gd name="T86" fmla="*/ 254 w 1760"/>
                  <a:gd name="T87" fmla="*/ 56 h 3403"/>
                  <a:gd name="T88" fmla="*/ 197 w 1760"/>
                  <a:gd name="T89" fmla="*/ 63 h 3403"/>
                  <a:gd name="T90" fmla="*/ 138 w 1760"/>
                  <a:gd name="T91" fmla="*/ 88 h 3403"/>
                  <a:gd name="T92" fmla="*/ 86 w 1760"/>
                  <a:gd name="T93" fmla="*/ 136 h 3403"/>
                  <a:gd name="T94" fmla="*/ 64 w 1760"/>
                  <a:gd name="T95" fmla="*/ 179 h 3403"/>
                  <a:gd name="T96" fmla="*/ 56 w 1760"/>
                  <a:gd name="T97" fmla="*/ 228 h 3403"/>
                  <a:gd name="T98" fmla="*/ 1 w 1760"/>
                  <a:gd name="T99" fmla="*/ 207 h 3403"/>
                  <a:gd name="T100" fmla="*/ 12 w 1760"/>
                  <a:gd name="T101" fmla="*/ 158 h 3403"/>
                  <a:gd name="T102" fmla="*/ 46 w 1760"/>
                  <a:gd name="T103" fmla="*/ 96 h 3403"/>
                  <a:gd name="T104" fmla="*/ 99 w 1760"/>
                  <a:gd name="T105" fmla="*/ 48 h 3403"/>
                  <a:gd name="T106" fmla="*/ 175 w 1760"/>
                  <a:gd name="T107" fmla="*/ 11 h 3403"/>
                  <a:gd name="T108" fmla="*/ 232 w 1760"/>
                  <a:gd name="T109" fmla="*/ 1 h 3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60" h="3403">
                    <a:moveTo>
                      <a:pt x="247" y="2946"/>
                    </a:moveTo>
                    <a:lnTo>
                      <a:pt x="247" y="3060"/>
                    </a:lnTo>
                    <a:lnTo>
                      <a:pt x="1513" y="3060"/>
                    </a:lnTo>
                    <a:lnTo>
                      <a:pt x="1513" y="2946"/>
                    </a:lnTo>
                    <a:lnTo>
                      <a:pt x="247" y="2946"/>
                    </a:lnTo>
                    <a:close/>
                    <a:moveTo>
                      <a:pt x="191" y="2890"/>
                    </a:moveTo>
                    <a:lnTo>
                      <a:pt x="1569" y="2890"/>
                    </a:lnTo>
                    <a:lnTo>
                      <a:pt x="1569" y="3116"/>
                    </a:lnTo>
                    <a:lnTo>
                      <a:pt x="191" y="3116"/>
                    </a:lnTo>
                    <a:lnTo>
                      <a:pt x="191" y="2890"/>
                    </a:lnTo>
                    <a:close/>
                    <a:moveTo>
                      <a:pt x="247" y="2688"/>
                    </a:moveTo>
                    <a:lnTo>
                      <a:pt x="247" y="2748"/>
                    </a:lnTo>
                    <a:lnTo>
                      <a:pt x="455" y="2748"/>
                    </a:lnTo>
                    <a:lnTo>
                      <a:pt x="455" y="2688"/>
                    </a:lnTo>
                    <a:lnTo>
                      <a:pt x="247" y="2688"/>
                    </a:lnTo>
                    <a:close/>
                    <a:moveTo>
                      <a:pt x="191" y="2632"/>
                    </a:moveTo>
                    <a:lnTo>
                      <a:pt x="511" y="2632"/>
                    </a:lnTo>
                    <a:lnTo>
                      <a:pt x="511" y="2804"/>
                    </a:lnTo>
                    <a:lnTo>
                      <a:pt x="191" y="2804"/>
                    </a:lnTo>
                    <a:lnTo>
                      <a:pt x="191" y="2632"/>
                    </a:lnTo>
                    <a:close/>
                    <a:moveTo>
                      <a:pt x="367" y="2373"/>
                    </a:moveTo>
                    <a:lnTo>
                      <a:pt x="511" y="2373"/>
                    </a:lnTo>
                    <a:lnTo>
                      <a:pt x="511" y="2546"/>
                    </a:lnTo>
                    <a:lnTo>
                      <a:pt x="191" y="2546"/>
                    </a:lnTo>
                    <a:lnTo>
                      <a:pt x="191" y="2452"/>
                    </a:lnTo>
                    <a:lnTo>
                      <a:pt x="247" y="2452"/>
                    </a:lnTo>
                    <a:lnTo>
                      <a:pt x="247" y="2490"/>
                    </a:lnTo>
                    <a:lnTo>
                      <a:pt x="455" y="2490"/>
                    </a:lnTo>
                    <a:lnTo>
                      <a:pt x="455" y="2429"/>
                    </a:lnTo>
                    <a:lnTo>
                      <a:pt x="367" y="2429"/>
                    </a:lnTo>
                    <a:lnTo>
                      <a:pt x="367" y="2373"/>
                    </a:lnTo>
                    <a:close/>
                    <a:moveTo>
                      <a:pt x="191" y="622"/>
                    </a:moveTo>
                    <a:lnTo>
                      <a:pt x="1569" y="622"/>
                    </a:lnTo>
                    <a:lnTo>
                      <a:pt x="1569" y="853"/>
                    </a:lnTo>
                    <a:lnTo>
                      <a:pt x="266" y="853"/>
                    </a:lnTo>
                    <a:lnTo>
                      <a:pt x="266" y="797"/>
                    </a:lnTo>
                    <a:lnTo>
                      <a:pt x="1513" y="797"/>
                    </a:lnTo>
                    <a:lnTo>
                      <a:pt x="1513" y="678"/>
                    </a:lnTo>
                    <a:lnTo>
                      <a:pt x="247" y="678"/>
                    </a:lnTo>
                    <a:lnTo>
                      <a:pt x="247" y="825"/>
                    </a:lnTo>
                    <a:lnTo>
                      <a:pt x="191" y="825"/>
                    </a:lnTo>
                    <a:lnTo>
                      <a:pt x="191" y="622"/>
                    </a:lnTo>
                    <a:close/>
                    <a:moveTo>
                      <a:pt x="253" y="0"/>
                    </a:moveTo>
                    <a:lnTo>
                      <a:pt x="1507" y="0"/>
                    </a:lnTo>
                    <a:lnTo>
                      <a:pt x="1528" y="1"/>
                    </a:lnTo>
                    <a:lnTo>
                      <a:pt x="1535" y="2"/>
                    </a:lnTo>
                    <a:lnTo>
                      <a:pt x="1558" y="4"/>
                    </a:lnTo>
                    <a:lnTo>
                      <a:pt x="1579" y="9"/>
                    </a:lnTo>
                    <a:lnTo>
                      <a:pt x="1585" y="11"/>
                    </a:lnTo>
                    <a:lnTo>
                      <a:pt x="1605" y="17"/>
                    </a:lnTo>
                    <a:lnTo>
                      <a:pt x="1625" y="26"/>
                    </a:lnTo>
                    <a:lnTo>
                      <a:pt x="1644" y="36"/>
                    </a:lnTo>
                    <a:lnTo>
                      <a:pt x="1662" y="48"/>
                    </a:lnTo>
                    <a:lnTo>
                      <a:pt x="1687" y="66"/>
                    </a:lnTo>
                    <a:lnTo>
                      <a:pt x="1701" y="81"/>
                    </a:lnTo>
                    <a:lnTo>
                      <a:pt x="1715" y="96"/>
                    </a:lnTo>
                    <a:lnTo>
                      <a:pt x="1726" y="113"/>
                    </a:lnTo>
                    <a:lnTo>
                      <a:pt x="1732" y="121"/>
                    </a:lnTo>
                    <a:lnTo>
                      <a:pt x="1742" y="139"/>
                    </a:lnTo>
                    <a:lnTo>
                      <a:pt x="1749" y="158"/>
                    </a:lnTo>
                    <a:lnTo>
                      <a:pt x="1751" y="163"/>
                    </a:lnTo>
                    <a:lnTo>
                      <a:pt x="1756" y="183"/>
                    </a:lnTo>
                    <a:lnTo>
                      <a:pt x="1759" y="202"/>
                    </a:lnTo>
                    <a:lnTo>
                      <a:pt x="1760" y="207"/>
                    </a:lnTo>
                    <a:lnTo>
                      <a:pt x="1760" y="216"/>
                    </a:lnTo>
                    <a:lnTo>
                      <a:pt x="1760" y="3187"/>
                    </a:lnTo>
                    <a:lnTo>
                      <a:pt x="1760" y="3195"/>
                    </a:lnTo>
                    <a:lnTo>
                      <a:pt x="1759" y="3201"/>
                    </a:lnTo>
                    <a:lnTo>
                      <a:pt x="1756" y="3221"/>
                    </a:lnTo>
                    <a:lnTo>
                      <a:pt x="1751" y="3240"/>
                    </a:lnTo>
                    <a:lnTo>
                      <a:pt x="1749" y="3245"/>
                    </a:lnTo>
                    <a:lnTo>
                      <a:pt x="1742" y="3264"/>
                    </a:lnTo>
                    <a:lnTo>
                      <a:pt x="1732" y="3282"/>
                    </a:lnTo>
                    <a:lnTo>
                      <a:pt x="1726" y="3290"/>
                    </a:lnTo>
                    <a:lnTo>
                      <a:pt x="1715" y="3306"/>
                    </a:lnTo>
                    <a:lnTo>
                      <a:pt x="1701" y="3322"/>
                    </a:lnTo>
                    <a:lnTo>
                      <a:pt x="1687" y="3337"/>
                    </a:lnTo>
                    <a:lnTo>
                      <a:pt x="1662" y="3355"/>
                    </a:lnTo>
                    <a:lnTo>
                      <a:pt x="1644" y="3367"/>
                    </a:lnTo>
                    <a:lnTo>
                      <a:pt x="1625" y="3377"/>
                    </a:lnTo>
                    <a:lnTo>
                      <a:pt x="1605" y="3385"/>
                    </a:lnTo>
                    <a:lnTo>
                      <a:pt x="1585" y="3392"/>
                    </a:lnTo>
                    <a:lnTo>
                      <a:pt x="1579" y="3394"/>
                    </a:lnTo>
                    <a:lnTo>
                      <a:pt x="1558" y="3399"/>
                    </a:lnTo>
                    <a:lnTo>
                      <a:pt x="1535" y="3402"/>
                    </a:lnTo>
                    <a:lnTo>
                      <a:pt x="1528" y="3402"/>
                    </a:lnTo>
                    <a:lnTo>
                      <a:pt x="1506" y="3403"/>
                    </a:lnTo>
                    <a:lnTo>
                      <a:pt x="254" y="3403"/>
                    </a:lnTo>
                    <a:lnTo>
                      <a:pt x="232" y="3402"/>
                    </a:lnTo>
                    <a:lnTo>
                      <a:pt x="225" y="3402"/>
                    </a:lnTo>
                    <a:lnTo>
                      <a:pt x="202" y="3399"/>
                    </a:lnTo>
                    <a:lnTo>
                      <a:pt x="181" y="3394"/>
                    </a:lnTo>
                    <a:lnTo>
                      <a:pt x="175" y="3392"/>
                    </a:lnTo>
                    <a:lnTo>
                      <a:pt x="155" y="3385"/>
                    </a:lnTo>
                    <a:lnTo>
                      <a:pt x="135" y="3377"/>
                    </a:lnTo>
                    <a:lnTo>
                      <a:pt x="116" y="3367"/>
                    </a:lnTo>
                    <a:lnTo>
                      <a:pt x="99" y="3355"/>
                    </a:lnTo>
                    <a:lnTo>
                      <a:pt x="90" y="3349"/>
                    </a:lnTo>
                    <a:lnTo>
                      <a:pt x="74" y="3337"/>
                    </a:lnTo>
                    <a:lnTo>
                      <a:pt x="60" y="3322"/>
                    </a:lnTo>
                    <a:lnTo>
                      <a:pt x="46" y="3306"/>
                    </a:lnTo>
                    <a:lnTo>
                      <a:pt x="35" y="3290"/>
                    </a:lnTo>
                    <a:lnTo>
                      <a:pt x="29" y="3282"/>
                    </a:lnTo>
                    <a:lnTo>
                      <a:pt x="19" y="3264"/>
                    </a:lnTo>
                    <a:lnTo>
                      <a:pt x="12" y="3245"/>
                    </a:lnTo>
                    <a:lnTo>
                      <a:pt x="10" y="3240"/>
                    </a:lnTo>
                    <a:lnTo>
                      <a:pt x="5" y="3221"/>
                    </a:lnTo>
                    <a:lnTo>
                      <a:pt x="2" y="3201"/>
                    </a:lnTo>
                    <a:lnTo>
                      <a:pt x="1" y="3195"/>
                    </a:lnTo>
                    <a:lnTo>
                      <a:pt x="0" y="3175"/>
                    </a:lnTo>
                    <a:lnTo>
                      <a:pt x="0" y="2500"/>
                    </a:lnTo>
                    <a:lnTo>
                      <a:pt x="56" y="2500"/>
                    </a:lnTo>
                    <a:lnTo>
                      <a:pt x="56" y="3175"/>
                    </a:lnTo>
                    <a:lnTo>
                      <a:pt x="57" y="3189"/>
                    </a:lnTo>
                    <a:lnTo>
                      <a:pt x="57" y="3189"/>
                    </a:lnTo>
                    <a:lnTo>
                      <a:pt x="60" y="3210"/>
                    </a:lnTo>
                    <a:lnTo>
                      <a:pt x="64" y="3223"/>
                    </a:lnTo>
                    <a:lnTo>
                      <a:pt x="64" y="3223"/>
                    </a:lnTo>
                    <a:lnTo>
                      <a:pt x="71" y="3242"/>
                    </a:lnTo>
                    <a:lnTo>
                      <a:pt x="80" y="3259"/>
                    </a:lnTo>
                    <a:lnTo>
                      <a:pt x="86" y="3267"/>
                    </a:lnTo>
                    <a:lnTo>
                      <a:pt x="99" y="3283"/>
                    </a:lnTo>
                    <a:lnTo>
                      <a:pt x="114" y="3297"/>
                    </a:lnTo>
                    <a:lnTo>
                      <a:pt x="125" y="3305"/>
                    </a:lnTo>
                    <a:lnTo>
                      <a:pt x="138" y="3315"/>
                    </a:lnTo>
                    <a:lnTo>
                      <a:pt x="157" y="3325"/>
                    </a:lnTo>
                    <a:lnTo>
                      <a:pt x="176" y="3333"/>
                    </a:lnTo>
                    <a:lnTo>
                      <a:pt x="197" y="3340"/>
                    </a:lnTo>
                    <a:lnTo>
                      <a:pt x="197" y="3340"/>
                    </a:lnTo>
                    <a:lnTo>
                      <a:pt x="214" y="3344"/>
                    </a:lnTo>
                    <a:lnTo>
                      <a:pt x="232" y="3346"/>
                    </a:lnTo>
                    <a:lnTo>
                      <a:pt x="232" y="3346"/>
                    </a:lnTo>
                    <a:lnTo>
                      <a:pt x="254" y="3347"/>
                    </a:lnTo>
                    <a:lnTo>
                      <a:pt x="1506" y="3347"/>
                    </a:lnTo>
                    <a:lnTo>
                      <a:pt x="1528" y="3346"/>
                    </a:lnTo>
                    <a:lnTo>
                      <a:pt x="1528" y="3346"/>
                    </a:lnTo>
                    <a:lnTo>
                      <a:pt x="1546" y="3344"/>
                    </a:lnTo>
                    <a:lnTo>
                      <a:pt x="1563" y="3340"/>
                    </a:lnTo>
                    <a:lnTo>
                      <a:pt x="1563" y="3340"/>
                    </a:lnTo>
                    <a:lnTo>
                      <a:pt x="1584" y="3333"/>
                    </a:lnTo>
                    <a:lnTo>
                      <a:pt x="1603" y="3325"/>
                    </a:lnTo>
                    <a:lnTo>
                      <a:pt x="1622" y="3315"/>
                    </a:lnTo>
                    <a:lnTo>
                      <a:pt x="1632" y="3309"/>
                    </a:lnTo>
                    <a:lnTo>
                      <a:pt x="1647" y="3297"/>
                    </a:lnTo>
                    <a:lnTo>
                      <a:pt x="1662" y="3283"/>
                    </a:lnTo>
                    <a:lnTo>
                      <a:pt x="1675" y="3267"/>
                    </a:lnTo>
                    <a:lnTo>
                      <a:pt x="1681" y="3259"/>
                    </a:lnTo>
                    <a:lnTo>
                      <a:pt x="1690" y="3242"/>
                    </a:lnTo>
                    <a:lnTo>
                      <a:pt x="1697" y="3223"/>
                    </a:lnTo>
                    <a:lnTo>
                      <a:pt x="1697" y="3223"/>
                    </a:lnTo>
                    <a:lnTo>
                      <a:pt x="1701" y="3210"/>
                    </a:lnTo>
                    <a:lnTo>
                      <a:pt x="1704" y="3189"/>
                    </a:lnTo>
                    <a:lnTo>
                      <a:pt x="1704" y="3189"/>
                    </a:lnTo>
                    <a:lnTo>
                      <a:pt x="1705" y="3175"/>
                    </a:lnTo>
                    <a:lnTo>
                      <a:pt x="1705" y="228"/>
                    </a:lnTo>
                    <a:lnTo>
                      <a:pt x="1704" y="214"/>
                    </a:lnTo>
                    <a:lnTo>
                      <a:pt x="1704" y="214"/>
                    </a:lnTo>
                    <a:lnTo>
                      <a:pt x="1701" y="194"/>
                    </a:lnTo>
                    <a:lnTo>
                      <a:pt x="1697" y="179"/>
                    </a:lnTo>
                    <a:lnTo>
                      <a:pt x="1697" y="179"/>
                    </a:lnTo>
                    <a:lnTo>
                      <a:pt x="1690" y="161"/>
                    </a:lnTo>
                    <a:lnTo>
                      <a:pt x="1681" y="144"/>
                    </a:lnTo>
                    <a:lnTo>
                      <a:pt x="1675" y="136"/>
                    </a:lnTo>
                    <a:lnTo>
                      <a:pt x="1662" y="120"/>
                    </a:lnTo>
                    <a:lnTo>
                      <a:pt x="1647" y="106"/>
                    </a:lnTo>
                    <a:lnTo>
                      <a:pt x="1632" y="94"/>
                    </a:lnTo>
                    <a:lnTo>
                      <a:pt x="1622" y="88"/>
                    </a:lnTo>
                    <a:lnTo>
                      <a:pt x="1603" y="78"/>
                    </a:lnTo>
                    <a:lnTo>
                      <a:pt x="1584" y="69"/>
                    </a:lnTo>
                    <a:lnTo>
                      <a:pt x="1563" y="63"/>
                    </a:lnTo>
                    <a:lnTo>
                      <a:pt x="1563" y="63"/>
                    </a:lnTo>
                    <a:lnTo>
                      <a:pt x="1546" y="59"/>
                    </a:lnTo>
                    <a:lnTo>
                      <a:pt x="1523" y="57"/>
                    </a:lnTo>
                    <a:lnTo>
                      <a:pt x="1523" y="57"/>
                    </a:lnTo>
                    <a:lnTo>
                      <a:pt x="1506" y="56"/>
                    </a:lnTo>
                    <a:lnTo>
                      <a:pt x="254" y="56"/>
                    </a:lnTo>
                    <a:lnTo>
                      <a:pt x="237" y="57"/>
                    </a:lnTo>
                    <a:lnTo>
                      <a:pt x="237" y="57"/>
                    </a:lnTo>
                    <a:lnTo>
                      <a:pt x="214" y="59"/>
                    </a:lnTo>
                    <a:lnTo>
                      <a:pt x="197" y="63"/>
                    </a:lnTo>
                    <a:lnTo>
                      <a:pt x="197" y="63"/>
                    </a:lnTo>
                    <a:lnTo>
                      <a:pt x="176" y="69"/>
                    </a:lnTo>
                    <a:lnTo>
                      <a:pt x="157" y="78"/>
                    </a:lnTo>
                    <a:lnTo>
                      <a:pt x="138" y="88"/>
                    </a:lnTo>
                    <a:lnTo>
                      <a:pt x="125" y="97"/>
                    </a:lnTo>
                    <a:lnTo>
                      <a:pt x="114" y="106"/>
                    </a:lnTo>
                    <a:lnTo>
                      <a:pt x="99" y="120"/>
                    </a:lnTo>
                    <a:lnTo>
                      <a:pt x="86" y="136"/>
                    </a:lnTo>
                    <a:lnTo>
                      <a:pt x="80" y="144"/>
                    </a:lnTo>
                    <a:lnTo>
                      <a:pt x="71" y="161"/>
                    </a:lnTo>
                    <a:lnTo>
                      <a:pt x="64" y="179"/>
                    </a:lnTo>
                    <a:lnTo>
                      <a:pt x="64" y="179"/>
                    </a:lnTo>
                    <a:lnTo>
                      <a:pt x="60" y="194"/>
                    </a:lnTo>
                    <a:lnTo>
                      <a:pt x="57" y="214"/>
                    </a:lnTo>
                    <a:lnTo>
                      <a:pt x="57" y="214"/>
                    </a:lnTo>
                    <a:lnTo>
                      <a:pt x="56" y="228"/>
                    </a:lnTo>
                    <a:lnTo>
                      <a:pt x="56" y="786"/>
                    </a:lnTo>
                    <a:lnTo>
                      <a:pt x="0" y="786"/>
                    </a:lnTo>
                    <a:lnTo>
                      <a:pt x="0" y="228"/>
                    </a:lnTo>
                    <a:lnTo>
                      <a:pt x="1" y="207"/>
                    </a:lnTo>
                    <a:lnTo>
                      <a:pt x="2" y="202"/>
                    </a:lnTo>
                    <a:lnTo>
                      <a:pt x="5" y="183"/>
                    </a:lnTo>
                    <a:lnTo>
                      <a:pt x="10" y="163"/>
                    </a:lnTo>
                    <a:lnTo>
                      <a:pt x="12" y="158"/>
                    </a:lnTo>
                    <a:lnTo>
                      <a:pt x="19" y="139"/>
                    </a:lnTo>
                    <a:lnTo>
                      <a:pt x="29" y="121"/>
                    </a:lnTo>
                    <a:lnTo>
                      <a:pt x="35" y="113"/>
                    </a:lnTo>
                    <a:lnTo>
                      <a:pt x="46" y="96"/>
                    </a:lnTo>
                    <a:lnTo>
                      <a:pt x="60" y="81"/>
                    </a:lnTo>
                    <a:lnTo>
                      <a:pt x="74" y="66"/>
                    </a:lnTo>
                    <a:lnTo>
                      <a:pt x="90" y="54"/>
                    </a:lnTo>
                    <a:lnTo>
                      <a:pt x="99" y="48"/>
                    </a:lnTo>
                    <a:lnTo>
                      <a:pt x="116" y="36"/>
                    </a:lnTo>
                    <a:lnTo>
                      <a:pt x="135" y="26"/>
                    </a:lnTo>
                    <a:lnTo>
                      <a:pt x="155" y="17"/>
                    </a:lnTo>
                    <a:lnTo>
                      <a:pt x="175" y="11"/>
                    </a:lnTo>
                    <a:lnTo>
                      <a:pt x="181" y="9"/>
                    </a:lnTo>
                    <a:lnTo>
                      <a:pt x="202" y="4"/>
                    </a:lnTo>
                    <a:lnTo>
                      <a:pt x="225" y="2"/>
                    </a:lnTo>
                    <a:lnTo>
                      <a:pt x="232" y="1"/>
                    </a:lnTo>
                    <a:lnTo>
                      <a:pt x="25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4" name="Freeform 8"/>
              <p:cNvSpPr>
                <a:spLocks noEditPoints="1"/>
              </p:cNvSpPr>
              <p:nvPr/>
            </p:nvSpPr>
            <p:spPr bwMode="auto">
              <a:xfrm>
                <a:off x="6342514" y="3558375"/>
                <a:ext cx="557213" cy="552450"/>
              </a:xfrm>
              <a:custGeom>
                <a:avLst/>
                <a:gdLst>
                  <a:gd name="T0" fmla="*/ 1020 w 1753"/>
                  <a:gd name="T1" fmla="*/ 1144 h 1742"/>
                  <a:gd name="T2" fmla="*/ 995 w 1753"/>
                  <a:gd name="T3" fmla="*/ 1224 h 1742"/>
                  <a:gd name="T4" fmla="*/ 705 w 1753"/>
                  <a:gd name="T5" fmla="*/ 1168 h 1742"/>
                  <a:gd name="T6" fmla="*/ 1270 w 1753"/>
                  <a:gd name="T7" fmla="*/ 1070 h 1742"/>
                  <a:gd name="T8" fmla="*/ 1302 w 1753"/>
                  <a:gd name="T9" fmla="*/ 1202 h 1742"/>
                  <a:gd name="T10" fmla="*/ 1183 w 1753"/>
                  <a:gd name="T11" fmla="*/ 1261 h 1742"/>
                  <a:gd name="T12" fmla="*/ 1099 w 1753"/>
                  <a:gd name="T13" fmla="*/ 1179 h 1742"/>
                  <a:gd name="T14" fmla="*/ 1157 w 1753"/>
                  <a:gd name="T15" fmla="*/ 1061 h 1742"/>
                  <a:gd name="T16" fmla="*/ 586 w 1753"/>
                  <a:gd name="T17" fmla="*/ 1059 h 1742"/>
                  <a:gd name="T18" fmla="*/ 619 w 1753"/>
                  <a:gd name="T19" fmla="*/ 1191 h 1742"/>
                  <a:gd name="T20" fmla="*/ 504 w 1753"/>
                  <a:gd name="T21" fmla="*/ 1251 h 1742"/>
                  <a:gd name="T22" fmla="*/ 417 w 1753"/>
                  <a:gd name="T23" fmla="*/ 1172 h 1742"/>
                  <a:gd name="T24" fmla="*/ 472 w 1753"/>
                  <a:gd name="T25" fmla="*/ 1049 h 1742"/>
                  <a:gd name="T26" fmla="*/ 1176 w 1753"/>
                  <a:gd name="T27" fmla="*/ 847 h 1742"/>
                  <a:gd name="T28" fmla="*/ 1157 w 1753"/>
                  <a:gd name="T29" fmla="*/ 978 h 1742"/>
                  <a:gd name="T30" fmla="*/ 1012 w 1753"/>
                  <a:gd name="T31" fmla="*/ 655 h 1742"/>
                  <a:gd name="T32" fmla="*/ 826 w 1753"/>
                  <a:gd name="T33" fmla="*/ 611 h 1742"/>
                  <a:gd name="T34" fmla="*/ 784 w 1753"/>
                  <a:gd name="T35" fmla="*/ 715 h 1742"/>
                  <a:gd name="T36" fmla="*/ 575 w 1753"/>
                  <a:gd name="T37" fmla="*/ 969 h 1742"/>
                  <a:gd name="T38" fmla="*/ 759 w 1753"/>
                  <a:gd name="T39" fmla="*/ 622 h 1742"/>
                  <a:gd name="T40" fmla="*/ 1038 w 1753"/>
                  <a:gd name="T41" fmla="*/ 410 h 1742"/>
                  <a:gd name="T42" fmla="*/ 1040 w 1753"/>
                  <a:gd name="T43" fmla="*/ 544 h 1742"/>
                  <a:gd name="T44" fmla="*/ 910 w 1753"/>
                  <a:gd name="T45" fmla="*/ 576 h 1742"/>
                  <a:gd name="T46" fmla="*/ 848 w 1753"/>
                  <a:gd name="T47" fmla="*/ 480 h 1742"/>
                  <a:gd name="T48" fmla="*/ 929 w 1753"/>
                  <a:gd name="T49" fmla="*/ 375 h 1742"/>
                  <a:gd name="T50" fmla="*/ 658 w 1753"/>
                  <a:gd name="T51" fmla="*/ 158 h 1742"/>
                  <a:gd name="T52" fmla="*/ 872 w 1753"/>
                  <a:gd name="T53" fmla="*/ 313 h 1742"/>
                  <a:gd name="T54" fmla="*/ 683 w 1753"/>
                  <a:gd name="T55" fmla="*/ 258 h 1742"/>
                  <a:gd name="T56" fmla="*/ 398 w 1753"/>
                  <a:gd name="T57" fmla="*/ 298 h 1742"/>
                  <a:gd name="T58" fmla="*/ 185 w 1753"/>
                  <a:gd name="T59" fmla="*/ 580 h 1742"/>
                  <a:gd name="T60" fmla="*/ 127 w 1753"/>
                  <a:gd name="T61" fmla="*/ 892 h 1742"/>
                  <a:gd name="T62" fmla="*/ 314 w 1753"/>
                  <a:gd name="T63" fmla="*/ 1033 h 1742"/>
                  <a:gd name="T64" fmla="*/ 236 w 1753"/>
                  <a:gd name="T65" fmla="*/ 1080 h 1742"/>
                  <a:gd name="T66" fmla="*/ 156 w 1753"/>
                  <a:gd name="T67" fmla="*/ 1079 h 1742"/>
                  <a:gd name="T68" fmla="*/ 333 w 1753"/>
                  <a:gd name="T69" fmla="*/ 1385 h 1742"/>
                  <a:gd name="T70" fmla="*/ 491 w 1753"/>
                  <a:gd name="T71" fmla="*/ 1327 h 1742"/>
                  <a:gd name="T72" fmla="*/ 619 w 1753"/>
                  <a:gd name="T73" fmla="*/ 1572 h 1742"/>
                  <a:gd name="T74" fmla="*/ 996 w 1753"/>
                  <a:gd name="T75" fmla="*/ 1607 h 1742"/>
                  <a:gd name="T76" fmla="*/ 1159 w 1753"/>
                  <a:gd name="T77" fmla="*/ 1433 h 1742"/>
                  <a:gd name="T78" fmla="*/ 1251 w 1753"/>
                  <a:gd name="T79" fmla="*/ 1337 h 1742"/>
                  <a:gd name="T80" fmla="*/ 1310 w 1753"/>
                  <a:gd name="T81" fmla="*/ 1478 h 1742"/>
                  <a:gd name="T82" fmla="*/ 1535 w 1753"/>
                  <a:gd name="T83" fmla="*/ 1226 h 1742"/>
                  <a:gd name="T84" fmla="*/ 1530 w 1753"/>
                  <a:gd name="T85" fmla="*/ 1076 h 1742"/>
                  <a:gd name="T86" fmla="*/ 1369 w 1753"/>
                  <a:gd name="T87" fmla="*/ 1068 h 1742"/>
                  <a:gd name="T88" fmla="*/ 1626 w 1753"/>
                  <a:gd name="T89" fmla="*/ 899 h 1742"/>
                  <a:gd name="T90" fmla="*/ 1577 w 1753"/>
                  <a:gd name="T91" fmla="*/ 605 h 1742"/>
                  <a:gd name="T92" fmla="*/ 1359 w 1753"/>
                  <a:gd name="T93" fmla="*/ 300 h 1742"/>
                  <a:gd name="T94" fmla="*/ 1097 w 1753"/>
                  <a:gd name="T95" fmla="*/ 359 h 1742"/>
                  <a:gd name="T96" fmla="*/ 1172 w 1753"/>
                  <a:gd name="T97" fmla="*/ 187 h 1742"/>
                  <a:gd name="T98" fmla="*/ 863 w 1753"/>
                  <a:gd name="T99" fmla="*/ 0 h 1742"/>
                  <a:gd name="T100" fmla="*/ 1283 w 1753"/>
                  <a:gd name="T101" fmla="*/ 99 h 1742"/>
                  <a:gd name="T102" fmla="*/ 1600 w 1753"/>
                  <a:gd name="T103" fmla="*/ 377 h 1742"/>
                  <a:gd name="T104" fmla="*/ 1749 w 1753"/>
                  <a:gd name="T105" fmla="*/ 783 h 1742"/>
                  <a:gd name="T106" fmla="*/ 1685 w 1753"/>
                  <a:gd name="T107" fmla="*/ 1212 h 1742"/>
                  <a:gd name="T108" fmla="*/ 1431 w 1753"/>
                  <a:gd name="T109" fmla="*/ 1548 h 1742"/>
                  <a:gd name="T110" fmla="*/ 1040 w 1753"/>
                  <a:gd name="T111" fmla="*/ 1727 h 1742"/>
                  <a:gd name="T112" fmla="*/ 600 w 1753"/>
                  <a:gd name="T113" fmla="*/ 1699 h 1742"/>
                  <a:gd name="T114" fmla="*/ 243 w 1753"/>
                  <a:gd name="T115" fmla="*/ 1475 h 1742"/>
                  <a:gd name="T116" fmla="*/ 31 w 1753"/>
                  <a:gd name="T117" fmla="*/ 1106 h 1742"/>
                  <a:gd name="T118" fmla="*/ 24 w 1753"/>
                  <a:gd name="T119" fmla="*/ 665 h 1742"/>
                  <a:gd name="T120" fmla="*/ 219 w 1753"/>
                  <a:gd name="T121" fmla="*/ 294 h 1742"/>
                  <a:gd name="T122" fmla="*/ 571 w 1753"/>
                  <a:gd name="T123" fmla="*/ 5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53" h="1742">
                    <a:moveTo>
                      <a:pt x="707" y="1138"/>
                    </a:moveTo>
                    <a:lnTo>
                      <a:pt x="789" y="1145"/>
                    </a:lnTo>
                    <a:lnTo>
                      <a:pt x="874" y="1148"/>
                    </a:lnTo>
                    <a:lnTo>
                      <a:pt x="957" y="1147"/>
                    </a:lnTo>
                    <a:lnTo>
                      <a:pt x="989" y="1146"/>
                    </a:lnTo>
                    <a:lnTo>
                      <a:pt x="1020" y="1144"/>
                    </a:lnTo>
                    <a:lnTo>
                      <a:pt x="1019" y="1149"/>
                    </a:lnTo>
                    <a:lnTo>
                      <a:pt x="1018" y="1154"/>
                    </a:lnTo>
                    <a:lnTo>
                      <a:pt x="1018" y="1161"/>
                    </a:lnTo>
                    <a:lnTo>
                      <a:pt x="1022" y="1191"/>
                    </a:lnTo>
                    <a:lnTo>
                      <a:pt x="1030" y="1221"/>
                    </a:lnTo>
                    <a:lnTo>
                      <a:pt x="995" y="1224"/>
                    </a:lnTo>
                    <a:lnTo>
                      <a:pt x="959" y="1226"/>
                    </a:lnTo>
                    <a:lnTo>
                      <a:pt x="869" y="1226"/>
                    </a:lnTo>
                    <a:lnTo>
                      <a:pt x="782" y="1223"/>
                    </a:lnTo>
                    <a:lnTo>
                      <a:pt x="694" y="1215"/>
                    </a:lnTo>
                    <a:lnTo>
                      <a:pt x="701" y="1192"/>
                    </a:lnTo>
                    <a:lnTo>
                      <a:pt x="705" y="1168"/>
                    </a:lnTo>
                    <a:lnTo>
                      <a:pt x="707" y="1143"/>
                    </a:lnTo>
                    <a:lnTo>
                      <a:pt x="707" y="1138"/>
                    </a:lnTo>
                    <a:close/>
                    <a:moveTo>
                      <a:pt x="1204" y="1049"/>
                    </a:moveTo>
                    <a:lnTo>
                      <a:pt x="1227" y="1052"/>
                    </a:lnTo>
                    <a:lnTo>
                      <a:pt x="1250" y="1059"/>
                    </a:lnTo>
                    <a:lnTo>
                      <a:pt x="1270" y="1070"/>
                    </a:lnTo>
                    <a:lnTo>
                      <a:pt x="1288" y="1087"/>
                    </a:lnTo>
                    <a:lnTo>
                      <a:pt x="1301" y="1107"/>
                    </a:lnTo>
                    <a:lnTo>
                      <a:pt x="1309" y="1129"/>
                    </a:lnTo>
                    <a:lnTo>
                      <a:pt x="1313" y="1155"/>
                    </a:lnTo>
                    <a:lnTo>
                      <a:pt x="1310" y="1180"/>
                    </a:lnTo>
                    <a:lnTo>
                      <a:pt x="1302" y="1202"/>
                    </a:lnTo>
                    <a:lnTo>
                      <a:pt x="1290" y="1223"/>
                    </a:lnTo>
                    <a:lnTo>
                      <a:pt x="1273" y="1239"/>
                    </a:lnTo>
                    <a:lnTo>
                      <a:pt x="1254" y="1252"/>
                    </a:lnTo>
                    <a:lnTo>
                      <a:pt x="1231" y="1261"/>
                    </a:lnTo>
                    <a:lnTo>
                      <a:pt x="1207" y="1264"/>
                    </a:lnTo>
                    <a:lnTo>
                      <a:pt x="1183" y="1261"/>
                    </a:lnTo>
                    <a:lnTo>
                      <a:pt x="1160" y="1254"/>
                    </a:lnTo>
                    <a:lnTo>
                      <a:pt x="1140" y="1242"/>
                    </a:lnTo>
                    <a:lnTo>
                      <a:pt x="1125" y="1229"/>
                    </a:lnTo>
                    <a:lnTo>
                      <a:pt x="1114" y="1215"/>
                    </a:lnTo>
                    <a:lnTo>
                      <a:pt x="1105" y="1198"/>
                    </a:lnTo>
                    <a:lnTo>
                      <a:pt x="1099" y="1179"/>
                    </a:lnTo>
                    <a:lnTo>
                      <a:pt x="1097" y="1158"/>
                    </a:lnTo>
                    <a:lnTo>
                      <a:pt x="1099" y="1134"/>
                    </a:lnTo>
                    <a:lnTo>
                      <a:pt x="1108" y="1111"/>
                    </a:lnTo>
                    <a:lnTo>
                      <a:pt x="1120" y="1091"/>
                    </a:lnTo>
                    <a:lnTo>
                      <a:pt x="1137" y="1074"/>
                    </a:lnTo>
                    <a:lnTo>
                      <a:pt x="1157" y="1061"/>
                    </a:lnTo>
                    <a:lnTo>
                      <a:pt x="1179" y="1053"/>
                    </a:lnTo>
                    <a:lnTo>
                      <a:pt x="1204" y="1049"/>
                    </a:lnTo>
                    <a:close/>
                    <a:moveTo>
                      <a:pt x="520" y="1038"/>
                    </a:moveTo>
                    <a:lnTo>
                      <a:pt x="544" y="1041"/>
                    </a:lnTo>
                    <a:lnTo>
                      <a:pt x="566" y="1047"/>
                    </a:lnTo>
                    <a:lnTo>
                      <a:pt x="586" y="1059"/>
                    </a:lnTo>
                    <a:lnTo>
                      <a:pt x="603" y="1075"/>
                    </a:lnTo>
                    <a:lnTo>
                      <a:pt x="617" y="1095"/>
                    </a:lnTo>
                    <a:lnTo>
                      <a:pt x="625" y="1119"/>
                    </a:lnTo>
                    <a:lnTo>
                      <a:pt x="629" y="1144"/>
                    </a:lnTo>
                    <a:lnTo>
                      <a:pt x="626" y="1168"/>
                    </a:lnTo>
                    <a:lnTo>
                      <a:pt x="619" y="1191"/>
                    </a:lnTo>
                    <a:lnTo>
                      <a:pt x="606" y="1210"/>
                    </a:lnTo>
                    <a:lnTo>
                      <a:pt x="590" y="1227"/>
                    </a:lnTo>
                    <a:lnTo>
                      <a:pt x="570" y="1241"/>
                    </a:lnTo>
                    <a:lnTo>
                      <a:pt x="547" y="1249"/>
                    </a:lnTo>
                    <a:lnTo>
                      <a:pt x="523" y="1252"/>
                    </a:lnTo>
                    <a:lnTo>
                      <a:pt x="504" y="1251"/>
                    </a:lnTo>
                    <a:lnTo>
                      <a:pt x="488" y="1247"/>
                    </a:lnTo>
                    <a:lnTo>
                      <a:pt x="471" y="1241"/>
                    </a:lnTo>
                    <a:lnTo>
                      <a:pt x="457" y="1231"/>
                    </a:lnTo>
                    <a:lnTo>
                      <a:pt x="439" y="1215"/>
                    </a:lnTo>
                    <a:lnTo>
                      <a:pt x="425" y="1195"/>
                    </a:lnTo>
                    <a:lnTo>
                      <a:pt x="417" y="1172"/>
                    </a:lnTo>
                    <a:lnTo>
                      <a:pt x="413" y="1147"/>
                    </a:lnTo>
                    <a:lnTo>
                      <a:pt x="416" y="1122"/>
                    </a:lnTo>
                    <a:lnTo>
                      <a:pt x="423" y="1099"/>
                    </a:lnTo>
                    <a:lnTo>
                      <a:pt x="436" y="1080"/>
                    </a:lnTo>
                    <a:lnTo>
                      <a:pt x="452" y="1062"/>
                    </a:lnTo>
                    <a:lnTo>
                      <a:pt x="472" y="1049"/>
                    </a:lnTo>
                    <a:lnTo>
                      <a:pt x="495" y="1041"/>
                    </a:lnTo>
                    <a:lnTo>
                      <a:pt x="520" y="1038"/>
                    </a:lnTo>
                    <a:close/>
                    <a:moveTo>
                      <a:pt x="1080" y="614"/>
                    </a:moveTo>
                    <a:lnTo>
                      <a:pt x="1116" y="690"/>
                    </a:lnTo>
                    <a:lnTo>
                      <a:pt x="1148" y="768"/>
                    </a:lnTo>
                    <a:lnTo>
                      <a:pt x="1176" y="847"/>
                    </a:lnTo>
                    <a:lnTo>
                      <a:pt x="1201" y="926"/>
                    </a:lnTo>
                    <a:lnTo>
                      <a:pt x="1206" y="949"/>
                    </a:lnTo>
                    <a:lnTo>
                      <a:pt x="1212" y="973"/>
                    </a:lnTo>
                    <a:lnTo>
                      <a:pt x="1202" y="973"/>
                    </a:lnTo>
                    <a:lnTo>
                      <a:pt x="1178" y="974"/>
                    </a:lnTo>
                    <a:lnTo>
                      <a:pt x="1157" y="978"/>
                    </a:lnTo>
                    <a:lnTo>
                      <a:pt x="1135" y="985"/>
                    </a:lnTo>
                    <a:lnTo>
                      <a:pt x="1125" y="947"/>
                    </a:lnTo>
                    <a:lnTo>
                      <a:pt x="1102" y="872"/>
                    </a:lnTo>
                    <a:lnTo>
                      <a:pt x="1075" y="798"/>
                    </a:lnTo>
                    <a:lnTo>
                      <a:pt x="1045" y="725"/>
                    </a:lnTo>
                    <a:lnTo>
                      <a:pt x="1012" y="655"/>
                    </a:lnTo>
                    <a:lnTo>
                      <a:pt x="1037" y="644"/>
                    </a:lnTo>
                    <a:lnTo>
                      <a:pt x="1060" y="631"/>
                    </a:lnTo>
                    <a:lnTo>
                      <a:pt x="1080" y="614"/>
                    </a:lnTo>
                    <a:close/>
                    <a:moveTo>
                      <a:pt x="799" y="578"/>
                    </a:moveTo>
                    <a:lnTo>
                      <a:pt x="811" y="595"/>
                    </a:lnTo>
                    <a:lnTo>
                      <a:pt x="826" y="611"/>
                    </a:lnTo>
                    <a:lnTo>
                      <a:pt x="845" y="626"/>
                    </a:lnTo>
                    <a:lnTo>
                      <a:pt x="848" y="629"/>
                    </a:lnTo>
                    <a:lnTo>
                      <a:pt x="851" y="631"/>
                    </a:lnTo>
                    <a:lnTo>
                      <a:pt x="854" y="632"/>
                    </a:lnTo>
                    <a:lnTo>
                      <a:pt x="819" y="674"/>
                    </a:lnTo>
                    <a:lnTo>
                      <a:pt x="784" y="715"/>
                    </a:lnTo>
                    <a:lnTo>
                      <a:pt x="738" y="781"/>
                    </a:lnTo>
                    <a:lnTo>
                      <a:pt x="697" y="849"/>
                    </a:lnTo>
                    <a:lnTo>
                      <a:pt x="657" y="919"/>
                    </a:lnTo>
                    <a:lnTo>
                      <a:pt x="623" y="990"/>
                    </a:lnTo>
                    <a:lnTo>
                      <a:pt x="600" y="977"/>
                    </a:lnTo>
                    <a:lnTo>
                      <a:pt x="575" y="969"/>
                    </a:lnTo>
                    <a:lnTo>
                      <a:pt x="549" y="962"/>
                    </a:lnTo>
                    <a:lnTo>
                      <a:pt x="586" y="885"/>
                    </a:lnTo>
                    <a:lnTo>
                      <a:pt x="627" y="811"/>
                    </a:lnTo>
                    <a:lnTo>
                      <a:pt x="673" y="738"/>
                    </a:lnTo>
                    <a:lnTo>
                      <a:pt x="723" y="670"/>
                    </a:lnTo>
                    <a:lnTo>
                      <a:pt x="759" y="622"/>
                    </a:lnTo>
                    <a:lnTo>
                      <a:pt x="799" y="578"/>
                    </a:lnTo>
                    <a:close/>
                    <a:moveTo>
                      <a:pt x="954" y="371"/>
                    </a:moveTo>
                    <a:lnTo>
                      <a:pt x="978" y="374"/>
                    </a:lnTo>
                    <a:lnTo>
                      <a:pt x="999" y="381"/>
                    </a:lnTo>
                    <a:lnTo>
                      <a:pt x="1020" y="393"/>
                    </a:lnTo>
                    <a:lnTo>
                      <a:pt x="1038" y="410"/>
                    </a:lnTo>
                    <a:lnTo>
                      <a:pt x="1050" y="430"/>
                    </a:lnTo>
                    <a:lnTo>
                      <a:pt x="1060" y="453"/>
                    </a:lnTo>
                    <a:lnTo>
                      <a:pt x="1064" y="476"/>
                    </a:lnTo>
                    <a:lnTo>
                      <a:pt x="1061" y="501"/>
                    </a:lnTo>
                    <a:lnTo>
                      <a:pt x="1053" y="524"/>
                    </a:lnTo>
                    <a:lnTo>
                      <a:pt x="1040" y="544"/>
                    </a:lnTo>
                    <a:lnTo>
                      <a:pt x="1024" y="560"/>
                    </a:lnTo>
                    <a:lnTo>
                      <a:pt x="1005" y="574"/>
                    </a:lnTo>
                    <a:lnTo>
                      <a:pt x="982" y="582"/>
                    </a:lnTo>
                    <a:lnTo>
                      <a:pt x="957" y="585"/>
                    </a:lnTo>
                    <a:lnTo>
                      <a:pt x="933" y="583"/>
                    </a:lnTo>
                    <a:lnTo>
                      <a:pt x="910" y="576"/>
                    </a:lnTo>
                    <a:lnTo>
                      <a:pt x="891" y="565"/>
                    </a:lnTo>
                    <a:lnTo>
                      <a:pt x="877" y="552"/>
                    </a:lnTo>
                    <a:lnTo>
                      <a:pt x="864" y="537"/>
                    </a:lnTo>
                    <a:lnTo>
                      <a:pt x="855" y="520"/>
                    </a:lnTo>
                    <a:lnTo>
                      <a:pt x="850" y="500"/>
                    </a:lnTo>
                    <a:lnTo>
                      <a:pt x="848" y="480"/>
                    </a:lnTo>
                    <a:lnTo>
                      <a:pt x="850" y="456"/>
                    </a:lnTo>
                    <a:lnTo>
                      <a:pt x="857" y="433"/>
                    </a:lnTo>
                    <a:lnTo>
                      <a:pt x="869" y="412"/>
                    </a:lnTo>
                    <a:lnTo>
                      <a:pt x="886" y="395"/>
                    </a:lnTo>
                    <a:lnTo>
                      <a:pt x="906" y="383"/>
                    </a:lnTo>
                    <a:lnTo>
                      <a:pt x="929" y="375"/>
                    </a:lnTo>
                    <a:lnTo>
                      <a:pt x="954" y="371"/>
                    </a:lnTo>
                    <a:close/>
                    <a:moveTo>
                      <a:pt x="865" y="127"/>
                    </a:moveTo>
                    <a:lnTo>
                      <a:pt x="812" y="129"/>
                    </a:lnTo>
                    <a:lnTo>
                      <a:pt x="760" y="135"/>
                    </a:lnTo>
                    <a:lnTo>
                      <a:pt x="708" y="144"/>
                    </a:lnTo>
                    <a:lnTo>
                      <a:pt x="658" y="158"/>
                    </a:lnTo>
                    <a:lnTo>
                      <a:pt x="698" y="177"/>
                    </a:lnTo>
                    <a:lnTo>
                      <a:pt x="735" y="200"/>
                    </a:lnTo>
                    <a:lnTo>
                      <a:pt x="773" y="226"/>
                    </a:lnTo>
                    <a:lnTo>
                      <a:pt x="807" y="253"/>
                    </a:lnTo>
                    <a:lnTo>
                      <a:pt x="840" y="282"/>
                    </a:lnTo>
                    <a:lnTo>
                      <a:pt x="872" y="313"/>
                    </a:lnTo>
                    <a:lnTo>
                      <a:pt x="849" y="327"/>
                    </a:lnTo>
                    <a:lnTo>
                      <a:pt x="828" y="344"/>
                    </a:lnTo>
                    <a:lnTo>
                      <a:pt x="810" y="363"/>
                    </a:lnTo>
                    <a:lnTo>
                      <a:pt x="769" y="323"/>
                    </a:lnTo>
                    <a:lnTo>
                      <a:pt x="726" y="287"/>
                    </a:lnTo>
                    <a:lnTo>
                      <a:pt x="683" y="258"/>
                    </a:lnTo>
                    <a:lnTo>
                      <a:pt x="640" y="235"/>
                    </a:lnTo>
                    <a:lnTo>
                      <a:pt x="594" y="215"/>
                    </a:lnTo>
                    <a:lnTo>
                      <a:pt x="549" y="201"/>
                    </a:lnTo>
                    <a:lnTo>
                      <a:pt x="496" y="229"/>
                    </a:lnTo>
                    <a:lnTo>
                      <a:pt x="445" y="261"/>
                    </a:lnTo>
                    <a:lnTo>
                      <a:pt x="398" y="298"/>
                    </a:lnTo>
                    <a:lnTo>
                      <a:pt x="354" y="337"/>
                    </a:lnTo>
                    <a:lnTo>
                      <a:pt x="313" y="380"/>
                    </a:lnTo>
                    <a:lnTo>
                      <a:pt x="276" y="426"/>
                    </a:lnTo>
                    <a:lnTo>
                      <a:pt x="241" y="474"/>
                    </a:lnTo>
                    <a:lnTo>
                      <a:pt x="211" y="526"/>
                    </a:lnTo>
                    <a:lnTo>
                      <a:pt x="185" y="580"/>
                    </a:lnTo>
                    <a:lnTo>
                      <a:pt x="163" y="637"/>
                    </a:lnTo>
                    <a:lnTo>
                      <a:pt x="147" y="695"/>
                    </a:lnTo>
                    <a:lnTo>
                      <a:pt x="135" y="757"/>
                    </a:lnTo>
                    <a:lnTo>
                      <a:pt x="128" y="819"/>
                    </a:lnTo>
                    <a:lnTo>
                      <a:pt x="126" y="882"/>
                    </a:lnTo>
                    <a:lnTo>
                      <a:pt x="127" y="892"/>
                    </a:lnTo>
                    <a:lnTo>
                      <a:pt x="127" y="902"/>
                    </a:lnTo>
                    <a:lnTo>
                      <a:pt x="158" y="932"/>
                    </a:lnTo>
                    <a:lnTo>
                      <a:pt x="193" y="961"/>
                    </a:lnTo>
                    <a:lnTo>
                      <a:pt x="230" y="987"/>
                    </a:lnTo>
                    <a:lnTo>
                      <a:pt x="270" y="1010"/>
                    </a:lnTo>
                    <a:lnTo>
                      <a:pt x="314" y="1033"/>
                    </a:lnTo>
                    <a:lnTo>
                      <a:pt x="361" y="1053"/>
                    </a:lnTo>
                    <a:lnTo>
                      <a:pt x="349" y="1076"/>
                    </a:lnTo>
                    <a:lnTo>
                      <a:pt x="341" y="1100"/>
                    </a:lnTo>
                    <a:lnTo>
                      <a:pt x="337" y="1126"/>
                    </a:lnTo>
                    <a:lnTo>
                      <a:pt x="285" y="1105"/>
                    </a:lnTo>
                    <a:lnTo>
                      <a:pt x="236" y="1080"/>
                    </a:lnTo>
                    <a:lnTo>
                      <a:pt x="189" y="1053"/>
                    </a:lnTo>
                    <a:lnTo>
                      <a:pt x="147" y="1022"/>
                    </a:lnTo>
                    <a:lnTo>
                      <a:pt x="145" y="1021"/>
                    </a:lnTo>
                    <a:lnTo>
                      <a:pt x="144" y="1020"/>
                    </a:lnTo>
                    <a:lnTo>
                      <a:pt x="141" y="1018"/>
                    </a:lnTo>
                    <a:lnTo>
                      <a:pt x="156" y="1079"/>
                    </a:lnTo>
                    <a:lnTo>
                      <a:pt x="175" y="1136"/>
                    </a:lnTo>
                    <a:lnTo>
                      <a:pt x="199" y="1191"/>
                    </a:lnTo>
                    <a:lnTo>
                      <a:pt x="227" y="1244"/>
                    </a:lnTo>
                    <a:lnTo>
                      <a:pt x="259" y="1293"/>
                    </a:lnTo>
                    <a:lnTo>
                      <a:pt x="294" y="1340"/>
                    </a:lnTo>
                    <a:lnTo>
                      <a:pt x="333" y="1385"/>
                    </a:lnTo>
                    <a:lnTo>
                      <a:pt x="375" y="1425"/>
                    </a:lnTo>
                    <a:lnTo>
                      <a:pt x="421" y="1464"/>
                    </a:lnTo>
                    <a:lnTo>
                      <a:pt x="428" y="1388"/>
                    </a:lnTo>
                    <a:lnTo>
                      <a:pt x="441" y="1311"/>
                    </a:lnTo>
                    <a:lnTo>
                      <a:pt x="465" y="1320"/>
                    </a:lnTo>
                    <a:lnTo>
                      <a:pt x="491" y="1327"/>
                    </a:lnTo>
                    <a:lnTo>
                      <a:pt x="516" y="1330"/>
                    </a:lnTo>
                    <a:lnTo>
                      <a:pt x="508" y="1391"/>
                    </a:lnTo>
                    <a:lnTo>
                      <a:pt x="501" y="1453"/>
                    </a:lnTo>
                    <a:lnTo>
                      <a:pt x="498" y="1515"/>
                    </a:lnTo>
                    <a:lnTo>
                      <a:pt x="557" y="1546"/>
                    </a:lnTo>
                    <a:lnTo>
                      <a:pt x="619" y="1572"/>
                    </a:lnTo>
                    <a:lnTo>
                      <a:pt x="683" y="1591"/>
                    </a:lnTo>
                    <a:lnTo>
                      <a:pt x="749" y="1606"/>
                    </a:lnTo>
                    <a:lnTo>
                      <a:pt x="817" y="1615"/>
                    </a:lnTo>
                    <a:lnTo>
                      <a:pt x="887" y="1617"/>
                    </a:lnTo>
                    <a:lnTo>
                      <a:pt x="942" y="1614"/>
                    </a:lnTo>
                    <a:lnTo>
                      <a:pt x="996" y="1607"/>
                    </a:lnTo>
                    <a:lnTo>
                      <a:pt x="1049" y="1596"/>
                    </a:lnTo>
                    <a:lnTo>
                      <a:pt x="1100" y="1582"/>
                    </a:lnTo>
                    <a:lnTo>
                      <a:pt x="1120" y="1551"/>
                    </a:lnTo>
                    <a:lnTo>
                      <a:pt x="1136" y="1516"/>
                    </a:lnTo>
                    <a:lnTo>
                      <a:pt x="1149" y="1476"/>
                    </a:lnTo>
                    <a:lnTo>
                      <a:pt x="1159" y="1433"/>
                    </a:lnTo>
                    <a:lnTo>
                      <a:pt x="1166" y="1387"/>
                    </a:lnTo>
                    <a:lnTo>
                      <a:pt x="1170" y="1338"/>
                    </a:lnTo>
                    <a:lnTo>
                      <a:pt x="1190" y="1341"/>
                    </a:lnTo>
                    <a:lnTo>
                      <a:pt x="1207" y="1341"/>
                    </a:lnTo>
                    <a:lnTo>
                      <a:pt x="1229" y="1340"/>
                    </a:lnTo>
                    <a:lnTo>
                      <a:pt x="1251" y="1337"/>
                    </a:lnTo>
                    <a:lnTo>
                      <a:pt x="1246" y="1390"/>
                    </a:lnTo>
                    <a:lnTo>
                      <a:pt x="1238" y="1442"/>
                    </a:lnTo>
                    <a:lnTo>
                      <a:pt x="1226" y="1492"/>
                    </a:lnTo>
                    <a:lnTo>
                      <a:pt x="1211" y="1538"/>
                    </a:lnTo>
                    <a:lnTo>
                      <a:pt x="1262" y="1510"/>
                    </a:lnTo>
                    <a:lnTo>
                      <a:pt x="1310" y="1478"/>
                    </a:lnTo>
                    <a:lnTo>
                      <a:pt x="1357" y="1443"/>
                    </a:lnTo>
                    <a:lnTo>
                      <a:pt x="1400" y="1405"/>
                    </a:lnTo>
                    <a:lnTo>
                      <a:pt x="1440" y="1362"/>
                    </a:lnTo>
                    <a:lnTo>
                      <a:pt x="1477" y="1317"/>
                    </a:lnTo>
                    <a:lnTo>
                      <a:pt x="1508" y="1273"/>
                    </a:lnTo>
                    <a:lnTo>
                      <a:pt x="1535" y="1226"/>
                    </a:lnTo>
                    <a:lnTo>
                      <a:pt x="1560" y="1178"/>
                    </a:lnTo>
                    <a:lnTo>
                      <a:pt x="1581" y="1127"/>
                    </a:lnTo>
                    <a:lnTo>
                      <a:pt x="1597" y="1074"/>
                    </a:lnTo>
                    <a:lnTo>
                      <a:pt x="1611" y="1020"/>
                    </a:lnTo>
                    <a:lnTo>
                      <a:pt x="1571" y="1051"/>
                    </a:lnTo>
                    <a:lnTo>
                      <a:pt x="1530" y="1076"/>
                    </a:lnTo>
                    <a:lnTo>
                      <a:pt x="1486" y="1101"/>
                    </a:lnTo>
                    <a:lnTo>
                      <a:pt x="1439" y="1124"/>
                    </a:lnTo>
                    <a:lnTo>
                      <a:pt x="1389" y="1144"/>
                    </a:lnTo>
                    <a:lnTo>
                      <a:pt x="1386" y="1117"/>
                    </a:lnTo>
                    <a:lnTo>
                      <a:pt x="1379" y="1092"/>
                    </a:lnTo>
                    <a:lnTo>
                      <a:pt x="1369" y="1068"/>
                    </a:lnTo>
                    <a:lnTo>
                      <a:pt x="1421" y="1046"/>
                    </a:lnTo>
                    <a:lnTo>
                      <a:pt x="1470" y="1022"/>
                    </a:lnTo>
                    <a:lnTo>
                      <a:pt x="1514" y="996"/>
                    </a:lnTo>
                    <a:lnTo>
                      <a:pt x="1556" y="965"/>
                    </a:lnTo>
                    <a:lnTo>
                      <a:pt x="1593" y="933"/>
                    </a:lnTo>
                    <a:lnTo>
                      <a:pt x="1626" y="899"/>
                    </a:lnTo>
                    <a:lnTo>
                      <a:pt x="1627" y="879"/>
                    </a:lnTo>
                    <a:lnTo>
                      <a:pt x="1627" y="861"/>
                    </a:lnTo>
                    <a:lnTo>
                      <a:pt x="1622" y="793"/>
                    </a:lnTo>
                    <a:lnTo>
                      <a:pt x="1613" y="729"/>
                    </a:lnTo>
                    <a:lnTo>
                      <a:pt x="1597" y="665"/>
                    </a:lnTo>
                    <a:lnTo>
                      <a:pt x="1577" y="605"/>
                    </a:lnTo>
                    <a:lnTo>
                      <a:pt x="1552" y="546"/>
                    </a:lnTo>
                    <a:lnTo>
                      <a:pt x="1522" y="491"/>
                    </a:lnTo>
                    <a:lnTo>
                      <a:pt x="1486" y="438"/>
                    </a:lnTo>
                    <a:lnTo>
                      <a:pt x="1448" y="388"/>
                    </a:lnTo>
                    <a:lnTo>
                      <a:pt x="1405" y="342"/>
                    </a:lnTo>
                    <a:lnTo>
                      <a:pt x="1359" y="300"/>
                    </a:lnTo>
                    <a:lnTo>
                      <a:pt x="1298" y="320"/>
                    </a:lnTo>
                    <a:lnTo>
                      <a:pt x="1239" y="344"/>
                    </a:lnTo>
                    <a:lnTo>
                      <a:pt x="1181" y="372"/>
                    </a:lnTo>
                    <a:lnTo>
                      <a:pt x="1125" y="403"/>
                    </a:lnTo>
                    <a:lnTo>
                      <a:pt x="1113" y="381"/>
                    </a:lnTo>
                    <a:lnTo>
                      <a:pt x="1097" y="359"/>
                    </a:lnTo>
                    <a:lnTo>
                      <a:pt x="1079" y="340"/>
                    </a:lnTo>
                    <a:lnTo>
                      <a:pt x="1144" y="303"/>
                    </a:lnTo>
                    <a:lnTo>
                      <a:pt x="1212" y="271"/>
                    </a:lnTo>
                    <a:lnTo>
                      <a:pt x="1280" y="244"/>
                    </a:lnTo>
                    <a:lnTo>
                      <a:pt x="1227" y="213"/>
                    </a:lnTo>
                    <a:lnTo>
                      <a:pt x="1172" y="187"/>
                    </a:lnTo>
                    <a:lnTo>
                      <a:pt x="1115" y="165"/>
                    </a:lnTo>
                    <a:lnTo>
                      <a:pt x="1056" y="147"/>
                    </a:lnTo>
                    <a:lnTo>
                      <a:pt x="993" y="135"/>
                    </a:lnTo>
                    <a:lnTo>
                      <a:pt x="930" y="129"/>
                    </a:lnTo>
                    <a:lnTo>
                      <a:pt x="865" y="127"/>
                    </a:lnTo>
                    <a:close/>
                    <a:moveTo>
                      <a:pt x="863" y="0"/>
                    </a:moveTo>
                    <a:lnTo>
                      <a:pt x="938" y="2"/>
                    </a:lnTo>
                    <a:lnTo>
                      <a:pt x="1012" y="10"/>
                    </a:lnTo>
                    <a:lnTo>
                      <a:pt x="1083" y="24"/>
                    </a:lnTo>
                    <a:lnTo>
                      <a:pt x="1152" y="43"/>
                    </a:lnTo>
                    <a:lnTo>
                      <a:pt x="1219" y="68"/>
                    </a:lnTo>
                    <a:lnTo>
                      <a:pt x="1283" y="99"/>
                    </a:lnTo>
                    <a:lnTo>
                      <a:pt x="1345" y="134"/>
                    </a:lnTo>
                    <a:lnTo>
                      <a:pt x="1403" y="173"/>
                    </a:lnTo>
                    <a:lnTo>
                      <a:pt x="1458" y="218"/>
                    </a:lnTo>
                    <a:lnTo>
                      <a:pt x="1509" y="268"/>
                    </a:lnTo>
                    <a:lnTo>
                      <a:pt x="1557" y="321"/>
                    </a:lnTo>
                    <a:lnTo>
                      <a:pt x="1600" y="377"/>
                    </a:lnTo>
                    <a:lnTo>
                      <a:pt x="1638" y="438"/>
                    </a:lnTo>
                    <a:lnTo>
                      <a:pt x="1671" y="501"/>
                    </a:lnTo>
                    <a:lnTo>
                      <a:pt x="1699" y="568"/>
                    </a:lnTo>
                    <a:lnTo>
                      <a:pt x="1721" y="637"/>
                    </a:lnTo>
                    <a:lnTo>
                      <a:pt x="1738" y="709"/>
                    </a:lnTo>
                    <a:lnTo>
                      <a:pt x="1749" y="783"/>
                    </a:lnTo>
                    <a:lnTo>
                      <a:pt x="1753" y="858"/>
                    </a:lnTo>
                    <a:lnTo>
                      <a:pt x="1751" y="933"/>
                    </a:lnTo>
                    <a:lnTo>
                      <a:pt x="1743" y="1006"/>
                    </a:lnTo>
                    <a:lnTo>
                      <a:pt x="1730" y="1076"/>
                    </a:lnTo>
                    <a:lnTo>
                      <a:pt x="1710" y="1146"/>
                    </a:lnTo>
                    <a:lnTo>
                      <a:pt x="1685" y="1212"/>
                    </a:lnTo>
                    <a:lnTo>
                      <a:pt x="1654" y="1276"/>
                    </a:lnTo>
                    <a:lnTo>
                      <a:pt x="1618" y="1337"/>
                    </a:lnTo>
                    <a:lnTo>
                      <a:pt x="1579" y="1394"/>
                    </a:lnTo>
                    <a:lnTo>
                      <a:pt x="1534" y="1449"/>
                    </a:lnTo>
                    <a:lnTo>
                      <a:pt x="1484" y="1500"/>
                    </a:lnTo>
                    <a:lnTo>
                      <a:pt x="1431" y="1548"/>
                    </a:lnTo>
                    <a:lnTo>
                      <a:pt x="1374" y="1590"/>
                    </a:lnTo>
                    <a:lnTo>
                      <a:pt x="1313" y="1628"/>
                    </a:lnTo>
                    <a:lnTo>
                      <a:pt x="1249" y="1661"/>
                    </a:lnTo>
                    <a:lnTo>
                      <a:pt x="1181" y="1689"/>
                    </a:lnTo>
                    <a:lnTo>
                      <a:pt x="1112" y="1711"/>
                    </a:lnTo>
                    <a:lnTo>
                      <a:pt x="1040" y="1727"/>
                    </a:lnTo>
                    <a:lnTo>
                      <a:pt x="965" y="1738"/>
                    </a:lnTo>
                    <a:lnTo>
                      <a:pt x="889" y="1742"/>
                    </a:lnTo>
                    <a:lnTo>
                      <a:pt x="814" y="1741"/>
                    </a:lnTo>
                    <a:lnTo>
                      <a:pt x="742" y="1733"/>
                    </a:lnTo>
                    <a:lnTo>
                      <a:pt x="670" y="1718"/>
                    </a:lnTo>
                    <a:lnTo>
                      <a:pt x="600" y="1699"/>
                    </a:lnTo>
                    <a:lnTo>
                      <a:pt x="534" y="1674"/>
                    </a:lnTo>
                    <a:lnTo>
                      <a:pt x="469" y="1644"/>
                    </a:lnTo>
                    <a:lnTo>
                      <a:pt x="408" y="1609"/>
                    </a:lnTo>
                    <a:lnTo>
                      <a:pt x="350" y="1569"/>
                    </a:lnTo>
                    <a:lnTo>
                      <a:pt x="294" y="1524"/>
                    </a:lnTo>
                    <a:lnTo>
                      <a:pt x="243" y="1475"/>
                    </a:lnTo>
                    <a:lnTo>
                      <a:pt x="196" y="1422"/>
                    </a:lnTo>
                    <a:lnTo>
                      <a:pt x="153" y="1365"/>
                    </a:lnTo>
                    <a:lnTo>
                      <a:pt x="114" y="1305"/>
                    </a:lnTo>
                    <a:lnTo>
                      <a:pt x="81" y="1242"/>
                    </a:lnTo>
                    <a:lnTo>
                      <a:pt x="53" y="1175"/>
                    </a:lnTo>
                    <a:lnTo>
                      <a:pt x="31" y="1106"/>
                    </a:lnTo>
                    <a:lnTo>
                      <a:pt x="15" y="1034"/>
                    </a:lnTo>
                    <a:lnTo>
                      <a:pt x="4" y="960"/>
                    </a:lnTo>
                    <a:lnTo>
                      <a:pt x="0" y="884"/>
                    </a:lnTo>
                    <a:lnTo>
                      <a:pt x="2" y="810"/>
                    </a:lnTo>
                    <a:lnTo>
                      <a:pt x="9" y="737"/>
                    </a:lnTo>
                    <a:lnTo>
                      <a:pt x="24" y="665"/>
                    </a:lnTo>
                    <a:lnTo>
                      <a:pt x="44" y="597"/>
                    </a:lnTo>
                    <a:lnTo>
                      <a:pt x="69" y="530"/>
                    </a:lnTo>
                    <a:lnTo>
                      <a:pt x="99" y="467"/>
                    </a:lnTo>
                    <a:lnTo>
                      <a:pt x="134" y="406"/>
                    </a:lnTo>
                    <a:lnTo>
                      <a:pt x="174" y="349"/>
                    </a:lnTo>
                    <a:lnTo>
                      <a:pt x="219" y="294"/>
                    </a:lnTo>
                    <a:lnTo>
                      <a:pt x="268" y="242"/>
                    </a:lnTo>
                    <a:lnTo>
                      <a:pt x="321" y="195"/>
                    </a:lnTo>
                    <a:lnTo>
                      <a:pt x="380" y="152"/>
                    </a:lnTo>
                    <a:lnTo>
                      <a:pt x="440" y="114"/>
                    </a:lnTo>
                    <a:lnTo>
                      <a:pt x="504" y="82"/>
                    </a:lnTo>
                    <a:lnTo>
                      <a:pt x="571" y="54"/>
                    </a:lnTo>
                    <a:lnTo>
                      <a:pt x="641" y="31"/>
                    </a:lnTo>
                    <a:lnTo>
                      <a:pt x="712" y="14"/>
                    </a:lnTo>
                    <a:lnTo>
                      <a:pt x="787" y="4"/>
                    </a:lnTo>
                    <a:lnTo>
                      <a:pt x="863"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5" name="Freeform 10"/>
              <p:cNvSpPr>
                <a:spLocks noEditPoints="1"/>
              </p:cNvSpPr>
              <p:nvPr/>
            </p:nvSpPr>
            <p:spPr bwMode="auto">
              <a:xfrm>
                <a:off x="6680652" y="3399625"/>
                <a:ext cx="436563" cy="73025"/>
              </a:xfrm>
              <a:custGeom>
                <a:avLst/>
                <a:gdLst>
                  <a:gd name="T0" fmla="*/ 56 w 1378"/>
                  <a:gd name="T1" fmla="*/ 56 h 231"/>
                  <a:gd name="T2" fmla="*/ 56 w 1378"/>
                  <a:gd name="T3" fmla="*/ 175 h 231"/>
                  <a:gd name="T4" fmla="*/ 1322 w 1378"/>
                  <a:gd name="T5" fmla="*/ 175 h 231"/>
                  <a:gd name="T6" fmla="*/ 1322 w 1378"/>
                  <a:gd name="T7" fmla="*/ 56 h 231"/>
                  <a:gd name="T8" fmla="*/ 56 w 1378"/>
                  <a:gd name="T9" fmla="*/ 56 h 231"/>
                  <a:gd name="T10" fmla="*/ 0 w 1378"/>
                  <a:gd name="T11" fmla="*/ 0 h 231"/>
                  <a:gd name="T12" fmla="*/ 1378 w 1378"/>
                  <a:gd name="T13" fmla="*/ 0 h 231"/>
                  <a:gd name="T14" fmla="*/ 1378 w 1378"/>
                  <a:gd name="T15" fmla="*/ 231 h 231"/>
                  <a:gd name="T16" fmla="*/ 0 w 1378"/>
                  <a:gd name="T17" fmla="*/ 231 h 231"/>
                  <a:gd name="T18" fmla="*/ 0 w 1378"/>
                  <a:gd name="T19"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8" h="231">
                    <a:moveTo>
                      <a:pt x="56" y="56"/>
                    </a:moveTo>
                    <a:lnTo>
                      <a:pt x="56" y="175"/>
                    </a:lnTo>
                    <a:lnTo>
                      <a:pt x="1322" y="175"/>
                    </a:lnTo>
                    <a:lnTo>
                      <a:pt x="1322" y="56"/>
                    </a:lnTo>
                    <a:lnTo>
                      <a:pt x="56" y="56"/>
                    </a:lnTo>
                    <a:close/>
                    <a:moveTo>
                      <a:pt x="0" y="0"/>
                    </a:moveTo>
                    <a:lnTo>
                      <a:pt x="1378" y="0"/>
                    </a:lnTo>
                    <a:lnTo>
                      <a:pt x="1378" y="231"/>
                    </a:lnTo>
                    <a:lnTo>
                      <a:pt x="0" y="231"/>
                    </a:lnTo>
                    <a:lnTo>
                      <a:pt x="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6" name="Group 5"/>
          <p:cNvGrpSpPr/>
          <p:nvPr/>
        </p:nvGrpSpPr>
        <p:grpSpPr>
          <a:xfrm>
            <a:off x="5932810" y="1394342"/>
            <a:ext cx="1440356" cy="1553545"/>
            <a:chOff x="5932770" y="1394043"/>
            <a:chExt cx="1440560" cy="1553766"/>
          </a:xfrm>
        </p:grpSpPr>
        <p:grpSp>
          <p:nvGrpSpPr>
            <p:cNvPr id="386" name="Group 385"/>
            <p:cNvGrpSpPr/>
            <p:nvPr/>
          </p:nvGrpSpPr>
          <p:grpSpPr>
            <a:xfrm>
              <a:off x="5932770" y="2515081"/>
              <a:ext cx="1440560" cy="432728"/>
              <a:chOff x="4789049" y="3095489"/>
              <a:chExt cx="1440560" cy="432728"/>
            </a:xfrm>
          </p:grpSpPr>
          <p:pic>
            <p:nvPicPr>
              <p:cNvPr id="396" name="Picture 395"/>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789049" y="3095489"/>
                <a:ext cx="1440560" cy="338609"/>
              </a:xfrm>
              <a:prstGeom prst="rect">
                <a:avLst/>
              </a:prstGeom>
            </p:spPr>
          </p:pic>
          <p:sp>
            <p:nvSpPr>
              <p:cNvPr id="409" name="Rectangle 408"/>
              <p:cNvSpPr/>
              <p:nvPr/>
            </p:nvSpPr>
            <p:spPr>
              <a:xfrm>
                <a:off x="4989021" y="3339978"/>
                <a:ext cx="1156250" cy="188239"/>
              </a:xfrm>
              <a:prstGeom prst="rect">
                <a:avLst/>
              </a:prstGeom>
              <a:ln>
                <a:noFill/>
              </a:ln>
            </p:spPr>
            <p:txBody>
              <a:bodyPr wrap="square" lIns="0" tIns="0" rIns="0" bIns="0" anchor="ctr">
                <a:spAutoFit/>
              </a:bodyPr>
              <a:lstStyle/>
              <a:p>
                <a:pPr algn="ctr" defTabSz="1096480" fontAlgn="base">
                  <a:spcBef>
                    <a:spcPts val="1440"/>
                  </a:spcBef>
                  <a:spcAft>
                    <a:spcPct val="0"/>
                  </a:spcAft>
                </a:pPr>
                <a:r>
                  <a:rPr lang="en-US" sz="1199" dirty="0">
                    <a:ln>
                      <a:solidFill>
                        <a:srgbClr val="FFFFFF">
                          <a:alpha val="0"/>
                        </a:srgbClr>
                      </a:solidFill>
                    </a:ln>
                    <a:solidFill>
                      <a:srgbClr val="FFFFFF"/>
                    </a:solidFill>
                  </a:rPr>
                  <a:t>RDS Gateway</a:t>
                </a:r>
              </a:p>
            </p:txBody>
          </p:sp>
        </p:grpSp>
        <p:grpSp>
          <p:nvGrpSpPr>
            <p:cNvPr id="116" name="Group 4"/>
            <p:cNvGrpSpPr>
              <a:grpSpLocks noChangeAspect="1"/>
            </p:cNvGrpSpPr>
            <p:nvPr/>
          </p:nvGrpSpPr>
          <p:grpSpPr bwMode="auto">
            <a:xfrm>
              <a:off x="6200283" y="1394043"/>
              <a:ext cx="811213" cy="1130465"/>
              <a:chOff x="4012" y="1218"/>
              <a:chExt cx="620" cy="864"/>
            </a:xfrm>
            <a:solidFill>
              <a:schemeClr val="accent3"/>
            </a:solidFill>
          </p:grpSpPr>
          <p:sp>
            <p:nvSpPr>
              <p:cNvPr id="117" name="Freeform 6"/>
              <p:cNvSpPr>
                <a:spLocks noEditPoints="1"/>
              </p:cNvSpPr>
              <p:nvPr/>
            </p:nvSpPr>
            <p:spPr bwMode="auto">
              <a:xfrm>
                <a:off x="4190" y="1218"/>
                <a:ext cx="442" cy="864"/>
              </a:xfrm>
              <a:custGeom>
                <a:avLst/>
                <a:gdLst>
                  <a:gd name="T0" fmla="*/ 1547 w 1766"/>
                  <a:gd name="T1" fmla="*/ 3217 h 3458"/>
                  <a:gd name="T2" fmla="*/ 195 w 1766"/>
                  <a:gd name="T3" fmla="*/ 3054 h 3458"/>
                  <a:gd name="T4" fmla="*/ 195 w 1766"/>
                  <a:gd name="T5" fmla="*/ 3240 h 3458"/>
                  <a:gd name="T6" fmla="*/ 218 w 1766"/>
                  <a:gd name="T7" fmla="*/ 2908 h 3458"/>
                  <a:gd name="T8" fmla="*/ 218 w 1766"/>
                  <a:gd name="T9" fmla="*/ 2724 h 3458"/>
                  <a:gd name="T10" fmla="*/ 489 w 1766"/>
                  <a:gd name="T11" fmla="*/ 2931 h 3458"/>
                  <a:gd name="T12" fmla="*/ 314 w 1766"/>
                  <a:gd name="T13" fmla="*/ 2348 h 3458"/>
                  <a:gd name="T14" fmla="*/ 195 w 1766"/>
                  <a:gd name="T15" fmla="*/ 2578 h 3458"/>
                  <a:gd name="T16" fmla="*/ 218 w 1766"/>
                  <a:gd name="T17" fmla="*/ 2556 h 3458"/>
                  <a:gd name="T18" fmla="*/ 316 w 1766"/>
                  <a:gd name="T19" fmla="*/ 2372 h 3458"/>
                  <a:gd name="T20" fmla="*/ 22 w 1766"/>
                  <a:gd name="T21" fmla="*/ 1204 h 3458"/>
                  <a:gd name="T22" fmla="*/ 0 w 1766"/>
                  <a:gd name="T23" fmla="*/ 1204 h 3458"/>
                  <a:gd name="T24" fmla="*/ 1547 w 1766"/>
                  <a:gd name="T25" fmla="*/ 775 h 3458"/>
                  <a:gd name="T26" fmla="*/ 195 w 1766"/>
                  <a:gd name="T27" fmla="*/ 595 h 3458"/>
                  <a:gd name="T28" fmla="*/ 195 w 1766"/>
                  <a:gd name="T29" fmla="*/ 797 h 3458"/>
                  <a:gd name="T30" fmla="*/ 218 w 1766"/>
                  <a:gd name="T31" fmla="*/ 429 h 3458"/>
                  <a:gd name="T32" fmla="*/ 218 w 1766"/>
                  <a:gd name="T33" fmla="*/ 288 h 3458"/>
                  <a:gd name="T34" fmla="*/ 1569 w 1766"/>
                  <a:gd name="T35" fmla="*/ 452 h 3458"/>
                  <a:gd name="T36" fmla="*/ 243 w 1766"/>
                  <a:gd name="T37" fmla="*/ 0 h 3458"/>
                  <a:gd name="T38" fmla="*/ 1599 w 1766"/>
                  <a:gd name="T39" fmla="*/ 12 h 3458"/>
                  <a:gd name="T40" fmla="*/ 1694 w 1766"/>
                  <a:gd name="T41" fmla="*/ 64 h 3458"/>
                  <a:gd name="T42" fmla="*/ 1753 w 1766"/>
                  <a:gd name="T43" fmla="*/ 149 h 3458"/>
                  <a:gd name="T44" fmla="*/ 1766 w 1766"/>
                  <a:gd name="T45" fmla="*/ 3241 h 3458"/>
                  <a:gd name="T46" fmla="*/ 1739 w 1766"/>
                  <a:gd name="T47" fmla="*/ 3340 h 3458"/>
                  <a:gd name="T48" fmla="*/ 1666 w 1766"/>
                  <a:gd name="T49" fmla="*/ 3416 h 3458"/>
                  <a:gd name="T50" fmla="*/ 1562 w 1766"/>
                  <a:gd name="T51" fmla="*/ 3455 h 3458"/>
                  <a:gd name="T52" fmla="*/ 204 w 1766"/>
                  <a:gd name="T53" fmla="*/ 3455 h 3458"/>
                  <a:gd name="T54" fmla="*/ 100 w 1766"/>
                  <a:gd name="T55" fmla="*/ 3416 h 3458"/>
                  <a:gd name="T56" fmla="*/ 27 w 1766"/>
                  <a:gd name="T57" fmla="*/ 3340 h 3458"/>
                  <a:gd name="T58" fmla="*/ 0 w 1766"/>
                  <a:gd name="T59" fmla="*/ 3241 h 3458"/>
                  <a:gd name="T60" fmla="*/ 22 w 1766"/>
                  <a:gd name="T61" fmla="*/ 3241 h 3458"/>
                  <a:gd name="T62" fmla="*/ 47 w 1766"/>
                  <a:gd name="T63" fmla="*/ 3330 h 3458"/>
                  <a:gd name="T64" fmla="*/ 112 w 1766"/>
                  <a:gd name="T65" fmla="*/ 3398 h 3458"/>
                  <a:gd name="T66" fmla="*/ 207 w 1766"/>
                  <a:gd name="T67" fmla="*/ 3433 h 3458"/>
                  <a:gd name="T68" fmla="*/ 1558 w 1766"/>
                  <a:gd name="T69" fmla="*/ 3433 h 3458"/>
                  <a:gd name="T70" fmla="*/ 1652 w 1766"/>
                  <a:gd name="T71" fmla="*/ 3398 h 3458"/>
                  <a:gd name="T72" fmla="*/ 1719 w 1766"/>
                  <a:gd name="T73" fmla="*/ 3330 h 3458"/>
                  <a:gd name="T74" fmla="*/ 1743 w 1766"/>
                  <a:gd name="T75" fmla="*/ 3241 h 3458"/>
                  <a:gd name="T76" fmla="*/ 1731 w 1766"/>
                  <a:gd name="T77" fmla="*/ 156 h 3458"/>
                  <a:gd name="T78" fmla="*/ 1678 w 1766"/>
                  <a:gd name="T79" fmla="*/ 80 h 3458"/>
                  <a:gd name="T80" fmla="*/ 1591 w 1766"/>
                  <a:gd name="T81" fmla="*/ 33 h 3458"/>
                  <a:gd name="T82" fmla="*/ 243 w 1766"/>
                  <a:gd name="T83" fmla="*/ 23 h 3458"/>
                  <a:gd name="T84" fmla="*/ 142 w 1766"/>
                  <a:gd name="T85" fmla="*/ 45 h 3458"/>
                  <a:gd name="T86" fmla="*/ 65 w 1766"/>
                  <a:gd name="T87" fmla="*/ 103 h 3458"/>
                  <a:gd name="T88" fmla="*/ 25 w 1766"/>
                  <a:gd name="T89" fmla="*/ 186 h 3458"/>
                  <a:gd name="T90" fmla="*/ 0 w 1766"/>
                  <a:gd name="T91" fmla="*/ 1011 h 3458"/>
                  <a:gd name="T92" fmla="*/ 12 w 1766"/>
                  <a:gd name="T93" fmla="*/ 149 h 3458"/>
                  <a:gd name="T94" fmla="*/ 71 w 1766"/>
                  <a:gd name="T95" fmla="*/ 64 h 3458"/>
                  <a:gd name="T96" fmla="*/ 166 w 1766"/>
                  <a:gd name="T97" fmla="*/ 12 h 3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6" h="3458">
                    <a:moveTo>
                      <a:pt x="218" y="3076"/>
                    </a:moveTo>
                    <a:lnTo>
                      <a:pt x="218" y="3217"/>
                    </a:lnTo>
                    <a:lnTo>
                      <a:pt x="1547" y="3217"/>
                    </a:lnTo>
                    <a:lnTo>
                      <a:pt x="1547" y="3076"/>
                    </a:lnTo>
                    <a:lnTo>
                      <a:pt x="218" y="3076"/>
                    </a:lnTo>
                    <a:close/>
                    <a:moveTo>
                      <a:pt x="195" y="3054"/>
                    </a:moveTo>
                    <a:lnTo>
                      <a:pt x="1569" y="3054"/>
                    </a:lnTo>
                    <a:lnTo>
                      <a:pt x="1569" y="3240"/>
                    </a:lnTo>
                    <a:lnTo>
                      <a:pt x="195" y="3240"/>
                    </a:lnTo>
                    <a:lnTo>
                      <a:pt x="195" y="3054"/>
                    </a:lnTo>
                    <a:close/>
                    <a:moveTo>
                      <a:pt x="218" y="2724"/>
                    </a:moveTo>
                    <a:lnTo>
                      <a:pt x="218" y="2908"/>
                    </a:lnTo>
                    <a:lnTo>
                      <a:pt x="465" y="2908"/>
                    </a:lnTo>
                    <a:lnTo>
                      <a:pt x="465" y="2724"/>
                    </a:lnTo>
                    <a:lnTo>
                      <a:pt x="218" y="2724"/>
                    </a:lnTo>
                    <a:close/>
                    <a:moveTo>
                      <a:pt x="195" y="2701"/>
                    </a:moveTo>
                    <a:lnTo>
                      <a:pt x="489" y="2701"/>
                    </a:lnTo>
                    <a:lnTo>
                      <a:pt x="489" y="2931"/>
                    </a:lnTo>
                    <a:lnTo>
                      <a:pt x="195" y="2931"/>
                    </a:lnTo>
                    <a:lnTo>
                      <a:pt x="195" y="2701"/>
                    </a:lnTo>
                    <a:close/>
                    <a:moveTo>
                      <a:pt x="314" y="2348"/>
                    </a:moveTo>
                    <a:lnTo>
                      <a:pt x="489" y="2348"/>
                    </a:lnTo>
                    <a:lnTo>
                      <a:pt x="489" y="2578"/>
                    </a:lnTo>
                    <a:lnTo>
                      <a:pt x="195" y="2578"/>
                    </a:lnTo>
                    <a:lnTo>
                      <a:pt x="195" y="2445"/>
                    </a:lnTo>
                    <a:lnTo>
                      <a:pt x="218" y="2445"/>
                    </a:lnTo>
                    <a:lnTo>
                      <a:pt x="218" y="2556"/>
                    </a:lnTo>
                    <a:lnTo>
                      <a:pt x="465" y="2556"/>
                    </a:lnTo>
                    <a:lnTo>
                      <a:pt x="465" y="2372"/>
                    </a:lnTo>
                    <a:lnTo>
                      <a:pt x="316" y="2372"/>
                    </a:lnTo>
                    <a:lnTo>
                      <a:pt x="314" y="2348"/>
                    </a:lnTo>
                    <a:close/>
                    <a:moveTo>
                      <a:pt x="0" y="1204"/>
                    </a:moveTo>
                    <a:lnTo>
                      <a:pt x="22" y="1204"/>
                    </a:lnTo>
                    <a:lnTo>
                      <a:pt x="22" y="1558"/>
                    </a:lnTo>
                    <a:lnTo>
                      <a:pt x="0" y="1558"/>
                    </a:lnTo>
                    <a:lnTo>
                      <a:pt x="0" y="1204"/>
                    </a:lnTo>
                    <a:close/>
                    <a:moveTo>
                      <a:pt x="218" y="618"/>
                    </a:moveTo>
                    <a:lnTo>
                      <a:pt x="218" y="775"/>
                    </a:lnTo>
                    <a:lnTo>
                      <a:pt x="1547" y="775"/>
                    </a:lnTo>
                    <a:lnTo>
                      <a:pt x="1547" y="618"/>
                    </a:lnTo>
                    <a:lnTo>
                      <a:pt x="218" y="618"/>
                    </a:lnTo>
                    <a:close/>
                    <a:moveTo>
                      <a:pt x="195" y="595"/>
                    </a:moveTo>
                    <a:lnTo>
                      <a:pt x="1569" y="595"/>
                    </a:lnTo>
                    <a:lnTo>
                      <a:pt x="1569" y="797"/>
                    </a:lnTo>
                    <a:lnTo>
                      <a:pt x="195" y="797"/>
                    </a:lnTo>
                    <a:lnTo>
                      <a:pt x="195" y="595"/>
                    </a:lnTo>
                    <a:close/>
                    <a:moveTo>
                      <a:pt x="218" y="288"/>
                    </a:moveTo>
                    <a:lnTo>
                      <a:pt x="218" y="429"/>
                    </a:lnTo>
                    <a:lnTo>
                      <a:pt x="1547" y="429"/>
                    </a:lnTo>
                    <a:lnTo>
                      <a:pt x="1547" y="288"/>
                    </a:lnTo>
                    <a:lnTo>
                      <a:pt x="218" y="288"/>
                    </a:lnTo>
                    <a:close/>
                    <a:moveTo>
                      <a:pt x="195" y="265"/>
                    </a:moveTo>
                    <a:lnTo>
                      <a:pt x="1569" y="265"/>
                    </a:lnTo>
                    <a:lnTo>
                      <a:pt x="1569" y="452"/>
                    </a:lnTo>
                    <a:lnTo>
                      <a:pt x="195" y="452"/>
                    </a:lnTo>
                    <a:lnTo>
                      <a:pt x="195" y="265"/>
                    </a:lnTo>
                    <a:close/>
                    <a:moveTo>
                      <a:pt x="243" y="0"/>
                    </a:moveTo>
                    <a:lnTo>
                      <a:pt x="1522" y="0"/>
                    </a:lnTo>
                    <a:lnTo>
                      <a:pt x="1562" y="3"/>
                    </a:lnTo>
                    <a:lnTo>
                      <a:pt x="1599" y="12"/>
                    </a:lnTo>
                    <a:lnTo>
                      <a:pt x="1635" y="24"/>
                    </a:lnTo>
                    <a:lnTo>
                      <a:pt x="1666" y="42"/>
                    </a:lnTo>
                    <a:lnTo>
                      <a:pt x="1694" y="64"/>
                    </a:lnTo>
                    <a:lnTo>
                      <a:pt x="1719" y="90"/>
                    </a:lnTo>
                    <a:lnTo>
                      <a:pt x="1739" y="118"/>
                    </a:lnTo>
                    <a:lnTo>
                      <a:pt x="1753" y="149"/>
                    </a:lnTo>
                    <a:lnTo>
                      <a:pt x="1763" y="182"/>
                    </a:lnTo>
                    <a:lnTo>
                      <a:pt x="1766" y="218"/>
                    </a:lnTo>
                    <a:lnTo>
                      <a:pt x="1766" y="3241"/>
                    </a:lnTo>
                    <a:lnTo>
                      <a:pt x="1763" y="3276"/>
                    </a:lnTo>
                    <a:lnTo>
                      <a:pt x="1753" y="3310"/>
                    </a:lnTo>
                    <a:lnTo>
                      <a:pt x="1739" y="3340"/>
                    </a:lnTo>
                    <a:lnTo>
                      <a:pt x="1719" y="3369"/>
                    </a:lnTo>
                    <a:lnTo>
                      <a:pt x="1694" y="3394"/>
                    </a:lnTo>
                    <a:lnTo>
                      <a:pt x="1666" y="3416"/>
                    </a:lnTo>
                    <a:lnTo>
                      <a:pt x="1635" y="3434"/>
                    </a:lnTo>
                    <a:lnTo>
                      <a:pt x="1599" y="3446"/>
                    </a:lnTo>
                    <a:lnTo>
                      <a:pt x="1562" y="3455"/>
                    </a:lnTo>
                    <a:lnTo>
                      <a:pt x="1522" y="3458"/>
                    </a:lnTo>
                    <a:lnTo>
                      <a:pt x="243" y="3458"/>
                    </a:lnTo>
                    <a:lnTo>
                      <a:pt x="204" y="3455"/>
                    </a:lnTo>
                    <a:lnTo>
                      <a:pt x="166" y="3446"/>
                    </a:lnTo>
                    <a:lnTo>
                      <a:pt x="131" y="3434"/>
                    </a:lnTo>
                    <a:lnTo>
                      <a:pt x="100" y="3416"/>
                    </a:lnTo>
                    <a:lnTo>
                      <a:pt x="71" y="3394"/>
                    </a:lnTo>
                    <a:lnTo>
                      <a:pt x="46" y="3369"/>
                    </a:lnTo>
                    <a:lnTo>
                      <a:pt x="27" y="3340"/>
                    </a:lnTo>
                    <a:lnTo>
                      <a:pt x="12" y="3310"/>
                    </a:lnTo>
                    <a:lnTo>
                      <a:pt x="3" y="3276"/>
                    </a:lnTo>
                    <a:lnTo>
                      <a:pt x="0" y="3241"/>
                    </a:lnTo>
                    <a:lnTo>
                      <a:pt x="0" y="2408"/>
                    </a:lnTo>
                    <a:lnTo>
                      <a:pt x="22" y="2408"/>
                    </a:lnTo>
                    <a:lnTo>
                      <a:pt x="22" y="3241"/>
                    </a:lnTo>
                    <a:lnTo>
                      <a:pt x="25" y="3272"/>
                    </a:lnTo>
                    <a:lnTo>
                      <a:pt x="33" y="3303"/>
                    </a:lnTo>
                    <a:lnTo>
                      <a:pt x="47" y="3330"/>
                    </a:lnTo>
                    <a:lnTo>
                      <a:pt x="65" y="3356"/>
                    </a:lnTo>
                    <a:lnTo>
                      <a:pt x="87" y="3378"/>
                    </a:lnTo>
                    <a:lnTo>
                      <a:pt x="112" y="3398"/>
                    </a:lnTo>
                    <a:lnTo>
                      <a:pt x="142" y="3414"/>
                    </a:lnTo>
                    <a:lnTo>
                      <a:pt x="173" y="3425"/>
                    </a:lnTo>
                    <a:lnTo>
                      <a:pt x="207" y="3433"/>
                    </a:lnTo>
                    <a:lnTo>
                      <a:pt x="243" y="3435"/>
                    </a:lnTo>
                    <a:lnTo>
                      <a:pt x="1522" y="3435"/>
                    </a:lnTo>
                    <a:lnTo>
                      <a:pt x="1558" y="3433"/>
                    </a:lnTo>
                    <a:lnTo>
                      <a:pt x="1591" y="3425"/>
                    </a:lnTo>
                    <a:lnTo>
                      <a:pt x="1624" y="3414"/>
                    </a:lnTo>
                    <a:lnTo>
                      <a:pt x="1652" y="3398"/>
                    </a:lnTo>
                    <a:lnTo>
                      <a:pt x="1678" y="3378"/>
                    </a:lnTo>
                    <a:lnTo>
                      <a:pt x="1700" y="3356"/>
                    </a:lnTo>
                    <a:lnTo>
                      <a:pt x="1719" y="3330"/>
                    </a:lnTo>
                    <a:lnTo>
                      <a:pt x="1731" y="3303"/>
                    </a:lnTo>
                    <a:lnTo>
                      <a:pt x="1740" y="3272"/>
                    </a:lnTo>
                    <a:lnTo>
                      <a:pt x="1743" y="3241"/>
                    </a:lnTo>
                    <a:lnTo>
                      <a:pt x="1743" y="218"/>
                    </a:lnTo>
                    <a:lnTo>
                      <a:pt x="1740" y="186"/>
                    </a:lnTo>
                    <a:lnTo>
                      <a:pt x="1731" y="156"/>
                    </a:lnTo>
                    <a:lnTo>
                      <a:pt x="1719" y="128"/>
                    </a:lnTo>
                    <a:lnTo>
                      <a:pt x="1700" y="103"/>
                    </a:lnTo>
                    <a:lnTo>
                      <a:pt x="1678" y="80"/>
                    </a:lnTo>
                    <a:lnTo>
                      <a:pt x="1652" y="61"/>
                    </a:lnTo>
                    <a:lnTo>
                      <a:pt x="1624" y="45"/>
                    </a:lnTo>
                    <a:lnTo>
                      <a:pt x="1591" y="33"/>
                    </a:lnTo>
                    <a:lnTo>
                      <a:pt x="1558" y="25"/>
                    </a:lnTo>
                    <a:lnTo>
                      <a:pt x="1522" y="23"/>
                    </a:lnTo>
                    <a:lnTo>
                      <a:pt x="243" y="23"/>
                    </a:lnTo>
                    <a:lnTo>
                      <a:pt x="207" y="25"/>
                    </a:lnTo>
                    <a:lnTo>
                      <a:pt x="173" y="33"/>
                    </a:lnTo>
                    <a:lnTo>
                      <a:pt x="142" y="45"/>
                    </a:lnTo>
                    <a:lnTo>
                      <a:pt x="112" y="61"/>
                    </a:lnTo>
                    <a:lnTo>
                      <a:pt x="87" y="80"/>
                    </a:lnTo>
                    <a:lnTo>
                      <a:pt x="65" y="103"/>
                    </a:lnTo>
                    <a:lnTo>
                      <a:pt x="47" y="128"/>
                    </a:lnTo>
                    <a:lnTo>
                      <a:pt x="33" y="156"/>
                    </a:lnTo>
                    <a:lnTo>
                      <a:pt x="25" y="186"/>
                    </a:lnTo>
                    <a:lnTo>
                      <a:pt x="22" y="218"/>
                    </a:lnTo>
                    <a:lnTo>
                      <a:pt x="22" y="1011"/>
                    </a:lnTo>
                    <a:lnTo>
                      <a:pt x="0" y="1011"/>
                    </a:lnTo>
                    <a:lnTo>
                      <a:pt x="0" y="218"/>
                    </a:lnTo>
                    <a:lnTo>
                      <a:pt x="3" y="182"/>
                    </a:lnTo>
                    <a:lnTo>
                      <a:pt x="12" y="149"/>
                    </a:lnTo>
                    <a:lnTo>
                      <a:pt x="27" y="118"/>
                    </a:lnTo>
                    <a:lnTo>
                      <a:pt x="46" y="90"/>
                    </a:lnTo>
                    <a:lnTo>
                      <a:pt x="71" y="64"/>
                    </a:lnTo>
                    <a:lnTo>
                      <a:pt x="100" y="42"/>
                    </a:lnTo>
                    <a:lnTo>
                      <a:pt x="131" y="24"/>
                    </a:lnTo>
                    <a:lnTo>
                      <a:pt x="166" y="12"/>
                    </a:lnTo>
                    <a:lnTo>
                      <a:pt x="204" y="3"/>
                    </a:lnTo>
                    <a:lnTo>
                      <a:pt x="243"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18" name="Freeform 7"/>
              <p:cNvSpPr>
                <a:spLocks noEditPoints="1"/>
              </p:cNvSpPr>
              <p:nvPr/>
            </p:nvSpPr>
            <p:spPr bwMode="auto">
              <a:xfrm>
                <a:off x="4012" y="1465"/>
                <a:ext cx="300" cy="370"/>
              </a:xfrm>
              <a:custGeom>
                <a:avLst/>
                <a:gdLst>
                  <a:gd name="T0" fmla="*/ 630 w 1202"/>
                  <a:gd name="T1" fmla="*/ 234 h 1478"/>
                  <a:gd name="T2" fmla="*/ 596 w 1202"/>
                  <a:gd name="T3" fmla="*/ 255 h 1478"/>
                  <a:gd name="T4" fmla="*/ 555 w 1202"/>
                  <a:gd name="T5" fmla="*/ 347 h 1478"/>
                  <a:gd name="T6" fmla="*/ 927 w 1202"/>
                  <a:gd name="T7" fmla="*/ 616 h 1478"/>
                  <a:gd name="T8" fmla="*/ 967 w 1202"/>
                  <a:gd name="T9" fmla="*/ 468 h 1478"/>
                  <a:gd name="T10" fmla="*/ 981 w 1202"/>
                  <a:gd name="T11" fmla="*/ 375 h 1478"/>
                  <a:gd name="T12" fmla="*/ 965 w 1202"/>
                  <a:gd name="T13" fmla="*/ 331 h 1478"/>
                  <a:gd name="T14" fmla="*/ 935 w 1202"/>
                  <a:gd name="T15" fmla="*/ 292 h 1478"/>
                  <a:gd name="T16" fmla="*/ 846 w 1202"/>
                  <a:gd name="T17" fmla="*/ 258 h 1478"/>
                  <a:gd name="T18" fmla="*/ 721 w 1202"/>
                  <a:gd name="T19" fmla="*/ 226 h 1478"/>
                  <a:gd name="T20" fmla="*/ 697 w 1202"/>
                  <a:gd name="T21" fmla="*/ 199 h 1478"/>
                  <a:gd name="T22" fmla="*/ 824 w 1202"/>
                  <a:gd name="T23" fmla="*/ 229 h 1478"/>
                  <a:gd name="T24" fmla="*/ 930 w 1202"/>
                  <a:gd name="T25" fmla="*/ 264 h 1478"/>
                  <a:gd name="T26" fmla="*/ 985 w 1202"/>
                  <a:gd name="T27" fmla="*/ 319 h 1478"/>
                  <a:gd name="T28" fmla="*/ 1004 w 1202"/>
                  <a:gd name="T29" fmla="*/ 390 h 1478"/>
                  <a:gd name="T30" fmla="*/ 984 w 1202"/>
                  <a:gd name="T31" fmla="*/ 495 h 1478"/>
                  <a:gd name="T32" fmla="*/ 484 w 1202"/>
                  <a:gd name="T33" fmla="*/ 517 h 1478"/>
                  <a:gd name="T34" fmla="*/ 541 w 1202"/>
                  <a:gd name="T35" fmla="*/ 314 h 1478"/>
                  <a:gd name="T36" fmla="*/ 586 w 1202"/>
                  <a:gd name="T37" fmla="*/ 233 h 1478"/>
                  <a:gd name="T38" fmla="*/ 651 w 1202"/>
                  <a:gd name="T39" fmla="*/ 199 h 1478"/>
                  <a:gd name="T40" fmla="*/ 592 w 1202"/>
                  <a:gd name="T41" fmla="*/ 32 h 1478"/>
                  <a:gd name="T42" fmla="*/ 463 w 1202"/>
                  <a:gd name="T43" fmla="*/ 106 h 1478"/>
                  <a:gd name="T44" fmla="*/ 389 w 1202"/>
                  <a:gd name="T45" fmla="*/ 230 h 1478"/>
                  <a:gd name="T46" fmla="*/ 342 w 1202"/>
                  <a:gd name="T47" fmla="*/ 380 h 1478"/>
                  <a:gd name="T48" fmla="*/ 253 w 1202"/>
                  <a:gd name="T49" fmla="*/ 477 h 1478"/>
                  <a:gd name="T50" fmla="*/ 190 w 1202"/>
                  <a:gd name="T51" fmla="*/ 529 h 1478"/>
                  <a:gd name="T52" fmla="*/ 31 w 1202"/>
                  <a:gd name="T53" fmla="*/ 1172 h 1478"/>
                  <a:gd name="T54" fmla="*/ 92 w 1202"/>
                  <a:gd name="T55" fmla="*/ 1228 h 1478"/>
                  <a:gd name="T56" fmla="*/ 920 w 1202"/>
                  <a:gd name="T57" fmla="*/ 1456 h 1478"/>
                  <a:gd name="T58" fmla="*/ 973 w 1202"/>
                  <a:gd name="T59" fmla="*/ 1438 h 1478"/>
                  <a:gd name="T60" fmla="*/ 1169 w 1202"/>
                  <a:gd name="T61" fmla="*/ 802 h 1478"/>
                  <a:gd name="T62" fmla="*/ 1147 w 1202"/>
                  <a:gd name="T63" fmla="*/ 734 h 1478"/>
                  <a:gd name="T64" fmla="*/ 1134 w 1202"/>
                  <a:gd name="T65" fmla="*/ 601 h 1478"/>
                  <a:gd name="T66" fmla="*/ 1176 w 1202"/>
                  <a:gd name="T67" fmla="*/ 411 h 1478"/>
                  <a:gd name="T68" fmla="*/ 1150 w 1202"/>
                  <a:gd name="T69" fmla="*/ 233 h 1478"/>
                  <a:gd name="T70" fmla="*/ 1022 w 1202"/>
                  <a:gd name="T71" fmla="*/ 114 h 1478"/>
                  <a:gd name="T72" fmla="*/ 820 w 1202"/>
                  <a:gd name="T73" fmla="*/ 40 h 1478"/>
                  <a:gd name="T74" fmla="*/ 678 w 1202"/>
                  <a:gd name="T75" fmla="*/ 0 h 1478"/>
                  <a:gd name="T76" fmla="*/ 880 w 1202"/>
                  <a:gd name="T77" fmla="*/ 32 h 1478"/>
                  <a:gd name="T78" fmla="*/ 1056 w 1202"/>
                  <a:gd name="T79" fmla="*/ 109 h 1478"/>
                  <a:gd name="T80" fmla="*/ 1170 w 1202"/>
                  <a:gd name="T81" fmla="*/ 222 h 1478"/>
                  <a:gd name="T82" fmla="*/ 1202 w 1202"/>
                  <a:gd name="T83" fmla="*/ 348 h 1478"/>
                  <a:gd name="T84" fmla="*/ 1181 w 1202"/>
                  <a:gd name="T85" fmla="*/ 518 h 1478"/>
                  <a:gd name="T86" fmla="*/ 1149 w 1202"/>
                  <a:gd name="T87" fmla="*/ 706 h 1478"/>
                  <a:gd name="T88" fmla="*/ 1191 w 1202"/>
                  <a:gd name="T89" fmla="*/ 771 h 1478"/>
                  <a:gd name="T90" fmla="*/ 1018 w 1202"/>
                  <a:gd name="T91" fmla="*/ 1419 h 1478"/>
                  <a:gd name="T92" fmla="*/ 944 w 1202"/>
                  <a:gd name="T93" fmla="*/ 1476 h 1478"/>
                  <a:gd name="T94" fmla="*/ 880 w 1202"/>
                  <a:gd name="T95" fmla="*/ 1473 h 1478"/>
                  <a:gd name="T96" fmla="*/ 40 w 1202"/>
                  <a:gd name="T97" fmla="*/ 1221 h 1478"/>
                  <a:gd name="T98" fmla="*/ 0 w 1202"/>
                  <a:gd name="T99" fmla="*/ 1134 h 1478"/>
                  <a:gd name="T100" fmla="*/ 188 w 1202"/>
                  <a:gd name="T101" fmla="*/ 489 h 1478"/>
                  <a:gd name="T102" fmla="*/ 272 w 1202"/>
                  <a:gd name="T103" fmla="*/ 448 h 1478"/>
                  <a:gd name="T104" fmla="*/ 343 w 1202"/>
                  <a:gd name="T105" fmla="*/ 293 h 1478"/>
                  <a:gd name="T106" fmla="*/ 403 w 1202"/>
                  <a:gd name="T107" fmla="*/ 150 h 1478"/>
                  <a:gd name="T108" fmla="*/ 507 w 1202"/>
                  <a:gd name="T109" fmla="*/ 38 h 1478"/>
                  <a:gd name="T110" fmla="*/ 630 w 1202"/>
                  <a:gd name="T111" fmla="*/ 2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2" h="1478">
                    <a:moveTo>
                      <a:pt x="673" y="220"/>
                    </a:moveTo>
                    <a:lnTo>
                      <a:pt x="655" y="222"/>
                    </a:lnTo>
                    <a:lnTo>
                      <a:pt x="641" y="226"/>
                    </a:lnTo>
                    <a:lnTo>
                      <a:pt x="630" y="234"/>
                    </a:lnTo>
                    <a:lnTo>
                      <a:pt x="628" y="237"/>
                    </a:lnTo>
                    <a:lnTo>
                      <a:pt x="623" y="237"/>
                    </a:lnTo>
                    <a:lnTo>
                      <a:pt x="609" y="244"/>
                    </a:lnTo>
                    <a:lnTo>
                      <a:pt x="596" y="255"/>
                    </a:lnTo>
                    <a:lnTo>
                      <a:pt x="584" y="271"/>
                    </a:lnTo>
                    <a:lnTo>
                      <a:pt x="574" y="293"/>
                    </a:lnTo>
                    <a:lnTo>
                      <a:pt x="564" y="318"/>
                    </a:lnTo>
                    <a:lnTo>
                      <a:pt x="555" y="347"/>
                    </a:lnTo>
                    <a:lnTo>
                      <a:pt x="546" y="378"/>
                    </a:lnTo>
                    <a:lnTo>
                      <a:pt x="536" y="413"/>
                    </a:lnTo>
                    <a:lnTo>
                      <a:pt x="512" y="501"/>
                    </a:lnTo>
                    <a:lnTo>
                      <a:pt x="927" y="616"/>
                    </a:lnTo>
                    <a:lnTo>
                      <a:pt x="946" y="548"/>
                    </a:lnTo>
                    <a:lnTo>
                      <a:pt x="953" y="522"/>
                    </a:lnTo>
                    <a:lnTo>
                      <a:pt x="961" y="495"/>
                    </a:lnTo>
                    <a:lnTo>
                      <a:pt x="967" y="468"/>
                    </a:lnTo>
                    <a:lnTo>
                      <a:pt x="973" y="442"/>
                    </a:lnTo>
                    <a:lnTo>
                      <a:pt x="978" y="418"/>
                    </a:lnTo>
                    <a:lnTo>
                      <a:pt x="980" y="396"/>
                    </a:lnTo>
                    <a:lnTo>
                      <a:pt x="981" y="375"/>
                    </a:lnTo>
                    <a:lnTo>
                      <a:pt x="980" y="358"/>
                    </a:lnTo>
                    <a:lnTo>
                      <a:pt x="974" y="343"/>
                    </a:lnTo>
                    <a:lnTo>
                      <a:pt x="967" y="334"/>
                    </a:lnTo>
                    <a:lnTo>
                      <a:pt x="965" y="331"/>
                    </a:lnTo>
                    <a:lnTo>
                      <a:pt x="964" y="328"/>
                    </a:lnTo>
                    <a:lnTo>
                      <a:pt x="958" y="314"/>
                    </a:lnTo>
                    <a:lnTo>
                      <a:pt x="948" y="302"/>
                    </a:lnTo>
                    <a:lnTo>
                      <a:pt x="935" y="292"/>
                    </a:lnTo>
                    <a:lnTo>
                      <a:pt x="917" y="283"/>
                    </a:lnTo>
                    <a:lnTo>
                      <a:pt x="896" y="274"/>
                    </a:lnTo>
                    <a:lnTo>
                      <a:pt x="871" y="267"/>
                    </a:lnTo>
                    <a:lnTo>
                      <a:pt x="846" y="258"/>
                    </a:lnTo>
                    <a:lnTo>
                      <a:pt x="818" y="251"/>
                    </a:lnTo>
                    <a:lnTo>
                      <a:pt x="782" y="241"/>
                    </a:lnTo>
                    <a:lnTo>
                      <a:pt x="750" y="232"/>
                    </a:lnTo>
                    <a:lnTo>
                      <a:pt x="721" y="226"/>
                    </a:lnTo>
                    <a:lnTo>
                      <a:pt x="695" y="222"/>
                    </a:lnTo>
                    <a:lnTo>
                      <a:pt x="673" y="220"/>
                    </a:lnTo>
                    <a:close/>
                    <a:moveTo>
                      <a:pt x="673" y="196"/>
                    </a:moveTo>
                    <a:lnTo>
                      <a:pt x="697" y="199"/>
                    </a:lnTo>
                    <a:lnTo>
                      <a:pt x="723" y="203"/>
                    </a:lnTo>
                    <a:lnTo>
                      <a:pt x="753" y="209"/>
                    </a:lnTo>
                    <a:lnTo>
                      <a:pt x="786" y="218"/>
                    </a:lnTo>
                    <a:lnTo>
                      <a:pt x="824" y="229"/>
                    </a:lnTo>
                    <a:lnTo>
                      <a:pt x="854" y="237"/>
                    </a:lnTo>
                    <a:lnTo>
                      <a:pt x="882" y="246"/>
                    </a:lnTo>
                    <a:lnTo>
                      <a:pt x="907" y="254"/>
                    </a:lnTo>
                    <a:lnTo>
                      <a:pt x="930" y="264"/>
                    </a:lnTo>
                    <a:lnTo>
                      <a:pt x="950" y="275"/>
                    </a:lnTo>
                    <a:lnTo>
                      <a:pt x="966" y="288"/>
                    </a:lnTo>
                    <a:lnTo>
                      <a:pt x="978" y="302"/>
                    </a:lnTo>
                    <a:lnTo>
                      <a:pt x="985" y="319"/>
                    </a:lnTo>
                    <a:lnTo>
                      <a:pt x="994" y="332"/>
                    </a:lnTo>
                    <a:lnTo>
                      <a:pt x="1001" y="349"/>
                    </a:lnTo>
                    <a:lnTo>
                      <a:pt x="1004" y="368"/>
                    </a:lnTo>
                    <a:lnTo>
                      <a:pt x="1004" y="390"/>
                    </a:lnTo>
                    <a:lnTo>
                      <a:pt x="1001" y="413"/>
                    </a:lnTo>
                    <a:lnTo>
                      <a:pt x="997" y="439"/>
                    </a:lnTo>
                    <a:lnTo>
                      <a:pt x="991" y="466"/>
                    </a:lnTo>
                    <a:lnTo>
                      <a:pt x="984" y="495"/>
                    </a:lnTo>
                    <a:lnTo>
                      <a:pt x="977" y="524"/>
                    </a:lnTo>
                    <a:lnTo>
                      <a:pt x="968" y="554"/>
                    </a:lnTo>
                    <a:lnTo>
                      <a:pt x="943" y="645"/>
                    </a:lnTo>
                    <a:lnTo>
                      <a:pt x="484" y="517"/>
                    </a:lnTo>
                    <a:lnTo>
                      <a:pt x="514" y="406"/>
                    </a:lnTo>
                    <a:lnTo>
                      <a:pt x="523" y="373"/>
                    </a:lnTo>
                    <a:lnTo>
                      <a:pt x="533" y="342"/>
                    </a:lnTo>
                    <a:lnTo>
                      <a:pt x="541" y="314"/>
                    </a:lnTo>
                    <a:lnTo>
                      <a:pt x="551" y="289"/>
                    </a:lnTo>
                    <a:lnTo>
                      <a:pt x="561" y="267"/>
                    </a:lnTo>
                    <a:lnTo>
                      <a:pt x="573" y="248"/>
                    </a:lnTo>
                    <a:lnTo>
                      <a:pt x="586" y="233"/>
                    </a:lnTo>
                    <a:lnTo>
                      <a:pt x="599" y="223"/>
                    </a:lnTo>
                    <a:lnTo>
                      <a:pt x="616" y="216"/>
                    </a:lnTo>
                    <a:lnTo>
                      <a:pt x="632" y="206"/>
                    </a:lnTo>
                    <a:lnTo>
                      <a:pt x="651" y="199"/>
                    </a:lnTo>
                    <a:lnTo>
                      <a:pt x="673" y="196"/>
                    </a:lnTo>
                    <a:close/>
                    <a:moveTo>
                      <a:pt x="678" y="22"/>
                    </a:moveTo>
                    <a:lnTo>
                      <a:pt x="633" y="25"/>
                    </a:lnTo>
                    <a:lnTo>
                      <a:pt x="592" y="32"/>
                    </a:lnTo>
                    <a:lnTo>
                      <a:pt x="554" y="42"/>
                    </a:lnTo>
                    <a:lnTo>
                      <a:pt x="519" y="57"/>
                    </a:lnTo>
                    <a:lnTo>
                      <a:pt x="489" y="80"/>
                    </a:lnTo>
                    <a:lnTo>
                      <a:pt x="463" y="106"/>
                    </a:lnTo>
                    <a:lnTo>
                      <a:pt x="440" y="133"/>
                    </a:lnTo>
                    <a:lnTo>
                      <a:pt x="420" y="164"/>
                    </a:lnTo>
                    <a:lnTo>
                      <a:pt x="404" y="195"/>
                    </a:lnTo>
                    <a:lnTo>
                      <a:pt x="389" y="230"/>
                    </a:lnTo>
                    <a:lnTo>
                      <a:pt x="376" y="265"/>
                    </a:lnTo>
                    <a:lnTo>
                      <a:pt x="365" y="302"/>
                    </a:lnTo>
                    <a:lnTo>
                      <a:pt x="353" y="340"/>
                    </a:lnTo>
                    <a:lnTo>
                      <a:pt x="342" y="380"/>
                    </a:lnTo>
                    <a:lnTo>
                      <a:pt x="317" y="467"/>
                    </a:lnTo>
                    <a:lnTo>
                      <a:pt x="309" y="467"/>
                    </a:lnTo>
                    <a:lnTo>
                      <a:pt x="280" y="470"/>
                    </a:lnTo>
                    <a:lnTo>
                      <a:pt x="253" y="477"/>
                    </a:lnTo>
                    <a:lnTo>
                      <a:pt x="230" y="486"/>
                    </a:lnTo>
                    <a:lnTo>
                      <a:pt x="211" y="498"/>
                    </a:lnTo>
                    <a:lnTo>
                      <a:pt x="199" y="512"/>
                    </a:lnTo>
                    <a:lnTo>
                      <a:pt x="190" y="529"/>
                    </a:lnTo>
                    <a:lnTo>
                      <a:pt x="26" y="1117"/>
                    </a:lnTo>
                    <a:lnTo>
                      <a:pt x="23" y="1135"/>
                    </a:lnTo>
                    <a:lnTo>
                      <a:pt x="25" y="1154"/>
                    </a:lnTo>
                    <a:lnTo>
                      <a:pt x="31" y="1172"/>
                    </a:lnTo>
                    <a:lnTo>
                      <a:pt x="42" y="1188"/>
                    </a:lnTo>
                    <a:lnTo>
                      <a:pt x="56" y="1204"/>
                    </a:lnTo>
                    <a:lnTo>
                      <a:pt x="72" y="1218"/>
                    </a:lnTo>
                    <a:lnTo>
                      <a:pt x="92" y="1228"/>
                    </a:lnTo>
                    <a:lnTo>
                      <a:pt x="113" y="1236"/>
                    </a:lnTo>
                    <a:lnTo>
                      <a:pt x="886" y="1451"/>
                    </a:lnTo>
                    <a:lnTo>
                      <a:pt x="903" y="1455"/>
                    </a:lnTo>
                    <a:lnTo>
                      <a:pt x="920" y="1456"/>
                    </a:lnTo>
                    <a:lnTo>
                      <a:pt x="920" y="1456"/>
                    </a:lnTo>
                    <a:lnTo>
                      <a:pt x="940" y="1454"/>
                    </a:lnTo>
                    <a:lnTo>
                      <a:pt x="958" y="1448"/>
                    </a:lnTo>
                    <a:lnTo>
                      <a:pt x="973" y="1438"/>
                    </a:lnTo>
                    <a:lnTo>
                      <a:pt x="986" y="1425"/>
                    </a:lnTo>
                    <a:lnTo>
                      <a:pt x="998" y="1409"/>
                    </a:lnTo>
                    <a:lnTo>
                      <a:pt x="1005" y="1389"/>
                    </a:lnTo>
                    <a:lnTo>
                      <a:pt x="1169" y="802"/>
                    </a:lnTo>
                    <a:lnTo>
                      <a:pt x="1170" y="784"/>
                    </a:lnTo>
                    <a:lnTo>
                      <a:pt x="1167" y="766"/>
                    </a:lnTo>
                    <a:lnTo>
                      <a:pt x="1158" y="749"/>
                    </a:lnTo>
                    <a:lnTo>
                      <a:pt x="1147" y="734"/>
                    </a:lnTo>
                    <a:lnTo>
                      <a:pt x="1132" y="721"/>
                    </a:lnTo>
                    <a:lnTo>
                      <a:pt x="1114" y="714"/>
                    </a:lnTo>
                    <a:lnTo>
                      <a:pt x="1104" y="711"/>
                    </a:lnTo>
                    <a:lnTo>
                      <a:pt x="1134" y="601"/>
                    </a:lnTo>
                    <a:lnTo>
                      <a:pt x="1148" y="551"/>
                    </a:lnTo>
                    <a:lnTo>
                      <a:pt x="1161" y="504"/>
                    </a:lnTo>
                    <a:lnTo>
                      <a:pt x="1170" y="457"/>
                    </a:lnTo>
                    <a:lnTo>
                      <a:pt x="1176" y="411"/>
                    </a:lnTo>
                    <a:lnTo>
                      <a:pt x="1178" y="367"/>
                    </a:lnTo>
                    <a:lnTo>
                      <a:pt x="1176" y="321"/>
                    </a:lnTo>
                    <a:lnTo>
                      <a:pt x="1167" y="277"/>
                    </a:lnTo>
                    <a:lnTo>
                      <a:pt x="1150" y="233"/>
                    </a:lnTo>
                    <a:lnTo>
                      <a:pt x="1127" y="200"/>
                    </a:lnTo>
                    <a:lnTo>
                      <a:pt x="1096" y="169"/>
                    </a:lnTo>
                    <a:lnTo>
                      <a:pt x="1062" y="140"/>
                    </a:lnTo>
                    <a:lnTo>
                      <a:pt x="1022" y="114"/>
                    </a:lnTo>
                    <a:lnTo>
                      <a:pt x="977" y="90"/>
                    </a:lnTo>
                    <a:lnTo>
                      <a:pt x="927" y="70"/>
                    </a:lnTo>
                    <a:lnTo>
                      <a:pt x="874" y="53"/>
                    </a:lnTo>
                    <a:lnTo>
                      <a:pt x="820" y="40"/>
                    </a:lnTo>
                    <a:lnTo>
                      <a:pt x="769" y="31"/>
                    </a:lnTo>
                    <a:lnTo>
                      <a:pt x="722" y="24"/>
                    </a:lnTo>
                    <a:lnTo>
                      <a:pt x="678" y="22"/>
                    </a:lnTo>
                    <a:close/>
                    <a:moveTo>
                      <a:pt x="678" y="0"/>
                    </a:moveTo>
                    <a:lnTo>
                      <a:pt x="724" y="2"/>
                    </a:lnTo>
                    <a:lnTo>
                      <a:pt x="773" y="8"/>
                    </a:lnTo>
                    <a:lnTo>
                      <a:pt x="825" y="18"/>
                    </a:lnTo>
                    <a:lnTo>
                      <a:pt x="880" y="32"/>
                    </a:lnTo>
                    <a:lnTo>
                      <a:pt x="929" y="46"/>
                    </a:lnTo>
                    <a:lnTo>
                      <a:pt x="976" y="65"/>
                    </a:lnTo>
                    <a:lnTo>
                      <a:pt x="1018" y="86"/>
                    </a:lnTo>
                    <a:lnTo>
                      <a:pt x="1056" y="109"/>
                    </a:lnTo>
                    <a:lnTo>
                      <a:pt x="1091" y="135"/>
                    </a:lnTo>
                    <a:lnTo>
                      <a:pt x="1122" y="162"/>
                    </a:lnTo>
                    <a:lnTo>
                      <a:pt x="1148" y="191"/>
                    </a:lnTo>
                    <a:lnTo>
                      <a:pt x="1170" y="222"/>
                    </a:lnTo>
                    <a:lnTo>
                      <a:pt x="1171" y="223"/>
                    </a:lnTo>
                    <a:lnTo>
                      <a:pt x="1187" y="265"/>
                    </a:lnTo>
                    <a:lnTo>
                      <a:pt x="1196" y="307"/>
                    </a:lnTo>
                    <a:lnTo>
                      <a:pt x="1202" y="348"/>
                    </a:lnTo>
                    <a:lnTo>
                      <a:pt x="1202" y="390"/>
                    </a:lnTo>
                    <a:lnTo>
                      <a:pt x="1197" y="432"/>
                    </a:lnTo>
                    <a:lnTo>
                      <a:pt x="1190" y="474"/>
                    </a:lnTo>
                    <a:lnTo>
                      <a:pt x="1181" y="518"/>
                    </a:lnTo>
                    <a:lnTo>
                      <a:pt x="1169" y="562"/>
                    </a:lnTo>
                    <a:lnTo>
                      <a:pt x="1156" y="607"/>
                    </a:lnTo>
                    <a:lnTo>
                      <a:pt x="1132" y="696"/>
                    </a:lnTo>
                    <a:lnTo>
                      <a:pt x="1149" y="706"/>
                    </a:lnTo>
                    <a:lnTo>
                      <a:pt x="1164" y="718"/>
                    </a:lnTo>
                    <a:lnTo>
                      <a:pt x="1176" y="735"/>
                    </a:lnTo>
                    <a:lnTo>
                      <a:pt x="1186" y="752"/>
                    </a:lnTo>
                    <a:lnTo>
                      <a:pt x="1191" y="771"/>
                    </a:lnTo>
                    <a:lnTo>
                      <a:pt x="1193" y="790"/>
                    </a:lnTo>
                    <a:lnTo>
                      <a:pt x="1191" y="808"/>
                    </a:lnTo>
                    <a:lnTo>
                      <a:pt x="1027" y="1395"/>
                    </a:lnTo>
                    <a:lnTo>
                      <a:pt x="1018" y="1419"/>
                    </a:lnTo>
                    <a:lnTo>
                      <a:pt x="1004" y="1440"/>
                    </a:lnTo>
                    <a:lnTo>
                      <a:pt x="987" y="1456"/>
                    </a:lnTo>
                    <a:lnTo>
                      <a:pt x="967" y="1469"/>
                    </a:lnTo>
                    <a:lnTo>
                      <a:pt x="944" y="1476"/>
                    </a:lnTo>
                    <a:lnTo>
                      <a:pt x="920" y="1478"/>
                    </a:lnTo>
                    <a:lnTo>
                      <a:pt x="920" y="1478"/>
                    </a:lnTo>
                    <a:lnTo>
                      <a:pt x="900" y="1477"/>
                    </a:lnTo>
                    <a:lnTo>
                      <a:pt x="880" y="1473"/>
                    </a:lnTo>
                    <a:lnTo>
                      <a:pt x="107" y="1258"/>
                    </a:lnTo>
                    <a:lnTo>
                      <a:pt x="83" y="1248"/>
                    </a:lnTo>
                    <a:lnTo>
                      <a:pt x="60" y="1236"/>
                    </a:lnTo>
                    <a:lnTo>
                      <a:pt x="40" y="1221"/>
                    </a:lnTo>
                    <a:lnTo>
                      <a:pt x="24" y="1203"/>
                    </a:lnTo>
                    <a:lnTo>
                      <a:pt x="10" y="1181"/>
                    </a:lnTo>
                    <a:lnTo>
                      <a:pt x="2" y="1158"/>
                    </a:lnTo>
                    <a:lnTo>
                      <a:pt x="0" y="1134"/>
                    </a:lnTo>
                    <a:lnTo>
                      <a:pt x="4" y="1111"/>
                    </a:lnTo>
                    <a:lnTo>
                      <a:pt x="168" y="523"/>
                    </a:lnTo>
                    <a:lnTo>
                      <a:pt x="176" y="505"/>
                    </a:lnTo>
                    <a:lnTo>
                      <a:pt x="188" y="489"/>
                    </a:lnTo>
                    <a:lnTo>
                      <a:pt x="204" y="476"/>
                    </a:lnTo>
                    <a:lnTo>
                      <a:pt x="223" y="464"/>
                    </a:lnTo>
                    <a:lnTo>
                      <a:pt x="246" y="455"/>
                    </a:lnTo>
                    <a:lnTo>
                      <a:pt x="272" y="448"/>
                    </a:lnTo>
                    <a:lnTo>
                      <a:pt x="300" y="445"/>
                    </a:lnTo>
                    <a:lnTo>
                      <a:pt x="320" y="374"/>
                    </a:lnTo>
                    <a:lnTo>
                      <a:pt x="331" y="333"/>
                    </a:lnTo>
                    <a:lnTo>
                      <a:pt x="343" y="293"/>
                    </a:lnTo>
                    <a:lnTo>
                      <a:pt x="355" y="255"/>
                    </a:lnTo>
                    <a:lnTo>
                      <a:pt x="369" y="218"/>
                    </a:lnTo>
                    <a:lnTo>
                      <a:pt x="385" y="183"/>
                    </a:lnTo>
                    <a:lnTo>
                      <a:pt x="403" y="150"/>
                    </a:lnTo>
                    <a:lnTo>
                      <a:pt x="423" y="119"/>
                    </a:lnTo>
                    <a:lnTo>
                      <a:pt x="447" y="89"/>
                    </a:lnTo>
                    <a:lnTo>
                      <a:pt x="475" y="62"/>
                    </a:lnTo>
                    <a:lnTo>
                      <a:pt x="507" y="38"/>
                    </a:lnTo>
                    <a:lnTo>
                      <a:pt x="508" y="37"/>
                    </a:lnTo>
                    <a:lnTo>
                      <a:pt x="546" y="21"/>
                    </a:lnTo>
                    <a:lnTo>
                      <a:pt x="586" y="10"/>
                    </a:lnTo>
                    <a:lnTo>
                      <a:pt x="630" y="2"/>
                    </a:lnTo>
                    <a:lnTo>
                      <a:pt x="678"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19" name="Group 118"/>
          <p:cNvGrpSpPr/>
          <p:nvPr/>
        </p:nvGrpSpPr>
        <p:grpSpPr>
          <a:xfrm>
            <a:off x="9094929" y="1659189"/>
            <a:ext cx="2068362" cy="1275431"/>
            <a:chOff x="9347023" y="2283998"/>
            <a:chExt cx="2068655" cy="1275612"/>
          </a:xfrm>
        </p:grpSpPr>
        <p:sp>
          <p:nvSpPr>
            <p:cNvPr id="120" name="Rectangle 119"/>
            <p:cNvSpPr/>
            <p:nvPr/>
          </p:nvSpPr>
          <p:spPr>
            <a:xfrm>
              <a:off x="9451799" y="3367447"/>
              <a:ext cx="657526"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VDI</a:t>
              </a:r>
            </a:p>
          </p:txBody>
        </p:sp>
        <p:sp>
          <p:nvSpPr>
            <p:cNvPr id="121" name="Rectangle 120"/>
            <p:cNvSpPr/>
            <p:nvPr/>
          </p:nvSpPr>
          <p:spPr>
            <a:xfrm>
              <a:off x="9930237" y="3363521"/>
              <a:ext cx="1485441" cy="192163"/>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Session host</a:t>
              </a:r>
            </a:p>
          </p:txBody>
        </p:sp>
        <p:grpSp>
          <p:nvGrpSpPr>
            <p:cNvPr id="122" name="Group 734"/>
            <p:cNvGrpSpPr>
              <a:grpSpLocks noChangeAspect="1"/>
            </p:cNvGrpSpPr>
            <p:nvPr/>
          </p:nvGrpSpPr>
          <p:grpSpPr bwMode="auto">
            <a:xfrm>
              <a:off x="9347023" y="2283998"/>
              <a:ext cx="802705" cy="1004332"/>
              <a:chOff x="918" y="3077"/>
              <a:chExt cx="1266" cy="1584"/>
            </a:xfrm>
            <a:solidFill>
              <a:schemeClr val="accent3"/>
            </a:solidFill>
          </p:grpSpPr>
          <p:sp>
            <p:nvSpPr>
              <p:cNvPr id="126" name="Freeform 737"/>
              <p:cNvSpPr>
                <a:spLocks noEditPoints="1"/>
              </p:cNvSpPr>
              <p:nvPr/>
            </p:nvSpPr>
            <p:spPr bwMode="auto">
              <a:xfrm>
                <a:off x="1347" y="3077"/>
                <a:ext cx="837" cy="1584"/>
              </a:xfrm>
              <a:custGeom>
                <a:avLst/>
                <a:gdLst>
                  <a:gd name="T0" fmla="*/ 2164 w 2511"/>
                  <a:gd name="T1" fmla="*/ 4112 h 4751"/>
                  <a:gd name="T2" fmla="*/ 2236 w 2511"/>
                  <a:gd name="T3" fmla="*/ 4275 h 4751"/>
                  <a:gd name="T4" fmla="*/ 346 w 2511"/>
                  <a:gd name="T5" fmla="*/ 3842 h 4751"/>
                  <a:gd name="T6" fmla="*/ 274 w 2511"/>
                  <a:gd name="T7" fmla="*/ 3678 h 4751"/>
                  <a:gd name="T8" fmla="*/ 274 w 2511"/>
                  <a:gd name="T9" fmla="*/ 3678 h 4751"/>
                  <a:gd name="T10" fmla="*/ 653 w 2511"/>
                  <a:gd name="T11" fmla="*/ 3390 h 4751"/>
                  <a:gd name="T12" fmla="*/ 725 w 2511"/>
                  <a:gd name="T13" fmla="*/ 3554 h 4751"/>
                  <a:gd name="T14" fmla="*/ 346 w 2511"/>
                  <a:gd name="T15" fmla="*/ 1042 h 4751"/>
                  <a:gd name="T16" fmla="*/ 274 w 2511"/>
                  <a:gd name="T17" fmla="*/ 798 h 4751"/>
                  <a:gd name="T18" fmla="*/ 274 w 2511"/>
                  <a:gd name="T19" fmla="*/ 798 h 4751"/>
                  <a:gd name="T20" fmla="*/ 2164 w 2511"/>
                  <a:gd name="T21" fmla="*/ 503 h 4751"/>
                  <a:gd name="T22" fmla="*/ 2236 w 2511"/>
                  <a:gd name="T23" fmla="*/ 750 h 4751"/>
                  <a:gd name="T24" fmla="*/ 2152 w 2511"/>
                  <a:gd name="T25" fmla="*/ 0 h 4751"/>
                  <a:gd name="T26" fmla="*/ 2254 w 2511"/>
                  <a:gd name="T27" fmla="*/ 13 h 4751"/>
                  <a:gd name="T28" fmla="*/ 2346 w 2511"/>
                  <a:gd name="T29" fmla="*/ 50 h 4751"/>
                  <a:gd name="T30" fmla="*/ 2445 w 2511"/>
                  <a:gd name="T31" fmla="*/ 134 h 4751"/>
                  <a:gd name="T32" fmla="*/ 2494 w 2511"/>
                  <a:gd name="T33" fmla="*/ 218 h 4751"/>
                  <a:gd name="T34" fmla="*/ 2510 w 2511"/>
                  <a:gd name="T35" fmla="*/ 286 h 4751"/>
                  <a:gd name="T36" fmla="*/ 2508 w 2511"/>
                  <a:gd name="T37" fmla="*/ 4472 h 4751"/>
                  <a:gd name="T38" fmla="*/ 2482 w 2511"/>
                  <a:gd name="T39" fmla="*/ 4557 h 4751"/>
                  <a:gd name="T40" fmla="*/ 2426 w 2511"/>
                  <a:gd name="T41" fmla="*/ 4638 h 4751"/>
                  <a:gd name="T42" fmla="*/ 2319 w 2511"/>
                  <a:gd name="T43" fmla="*/ 4715 h 4751"/>
                  <a:gd name="T44" fmla="*/ 2223 w 2511"/>
                  <a:gd name="T45" fmla="*/ 4745 h 4751"/>
                  <a:gd name="T46" fmla="*/ 360 w 2511"/>
                  <a:gd name="T47" fmla="*/ 4751 h 4751"/>
                  <a:gd name="T48" fmla="*/ 256 w 2511"/>
                  <a:gd name="T49" fmla="*/ 4738 h 4751"/>
                  <a:gd name="T50" fmla="*/ 139 w 2511"/>
                  <a:gd name="T51" fmla="*/ 4686 h 4751"/>
                  <a:gd name="T52" fmla="*/ 67 w 2511"/>
                  <a:gd name="T53" fmla="*/ 4624 h 4751"/>
                  <a:gd name="T54" fmla="*/ 17 w 2511"/>
                  <a:gd name="T55" fmla="*/ 4547 h 4751"/>
                  <a:gd name="T56" fmla="*/ 2 w 2511"/>
                  <a:gd name="T57" fmla="*/ 4486 h 4751"/>
                  <a:gd name="T58" fmla="*/ 72 w 2511"/>
                  <a:gd name="T59" fmla="*/ 4463 h 4751"/>
                  <a:gd name="T60" fmla="*/ 84 w 2511"/>
                  <a:gd name="T61" fmla="*/ 4520 h 4751"/>
                  <a:gd name="T62" fmla="*/ 136 w 2511"/>
                  <a:gd name="T63" fmla="*/ 4592 h 4751"/>
                  <a:gd name="T64" fmla="*/ 194 w 2511"/>
                  <a:gd name="T65" fmla="*/ 4635 h 4751"/>
                  <a:gd name="T66" fmla="*/ 271 w 2511"/>
                  <a:gd name="T67" fmla="*/ 4667 h 4751"/>
                  <a:gd name="T68" fmla="*/ 360 w 2511"/>
                  <a:gd name="T69" fmla="*/ 4679 h 4751"/>
                  <a:gd name="T70" fmla="*/ 2209 w 2511"/>
                  <a:gd name="T71" fmla="*/ 4674 h 4751"/>
                  <a:gd name="T72" fmla="*/ 2317 w 2511"/>
                  <a:gd name="T73" fmla="*/ 4634 h 4751"/>
                  <a:gd name="T74" fmla="*/ 2394 w 2511"/>
                  <a:gd name="T75" fmla="*/ 4566 h 4751"/>
                  <a:gd name="T76" fmla="*/ 2424 w 2511"/>
                  <a:gd name="T77" fmla="*/ 4511 h 4751"/>
                  <a:gd name="T78" fmla="*/ 2439 w 2511"/>
                  <a:gd name="T79" fmla="*/ 4436 h 4751"/>
                  <a:gd name="T80" fmla="*/ 2433 w 2511"/>
                  <a:gd name="T81" fmla="*/ 266 h 4751"/>
                  <a:gd name="T82" fmla="*/ 2406 w 2511"/>
                  <a:gd name="T83" fmla="*/ 201 h 4751"/>
                  <a:gd name="T84" fmla="*/ 2339 w 2511"/>
                  <a:gd name="T85" fmla="*/ 130 h 4751"/>
                  <a:gd name="T86" fmla="*/ 2239 w 2511"/>
                  <a:gd name="T87" fmla="*/ 84 h 4751"/>
                  <a:gd name="T88" fmla="*/ 2151 w 2511"/>
                  <a:gd name="T89" fmla="*/ 72 h 4751"/>
                  <a:gd name="T90" fmla="*/ 303 w 2511"/>
                  <a:gd name="T91" fmla="*/ 78 h 4751"/>
                  <a:gd name="T92" fmla="*/ 194 w 2511"/>
                  <a:gd name="T93" fmla="*/ 118 h 4751"/>
                  <a:gd name="T94" fmla="*/ 136 w 2511"/>
                  <a:gd name="T95" fmla="*/ 169 h 4751"/>
                  <a:gd name="T96" fmla="*/ 96 w 2511"/>
                  <a:gd name="T97" fmla="*/ 233 h 4751"/>
                  <a:gd name="T98" fmla="*/ 74 w 2511"/>
                  <a:gd name="T99" fmla="*/ 318 h 4751"/>
                  <a:gd name="T100" fmla="*/ 0 w 2511"/>
                  <a:gd name="T101" fmla="*/ 1120 h 4751"/>
                  <a:gd name="T102" fmla="*/ 7 w 2511"/>
                  <a:gd name="T103" fmla="*/ 272 h 4751"/>
                  <a:gd name="T104" fmla="*/ 42 w 2511"/>
                  <a:gd name="T105" fmla="*/ 178 h 4751"/>
                  <a:gd name="T106" fmla="*/ 106 w 2511"/>
                  <a:gd name="T107" fmla="*/ 97 h 4751"/>
                  <a:gd name="T108" fmla="*/ 191 w 2511"/>
                  <a:gd name="T109" fmla="*/ 37 h 4751"/>
                  <a:gd name="T110" fmla="*/ 288 w 2511"/>
                  <a:gd name="T111" fmla="*/ 7 h 4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11" h="4751">
                    <a:moveTo>
                      <a:pt x="346" y="4112"/>
                    </a:moveTo>
                    <a:lnTo>
                      <a:pt x="346" y="4203"/>
                    </a:lnTo>
                    <a:lnTo>
                      <a:pt x="2164" y="4203"/>
                    </a:lnTo>
                    <a:lnTo>
                      <a:pt x="2164" y="4112"/>
                    </a:lnTo>
                    <a:lnTo>
                      <a:pt x="346" y="4112"/>
                    </a:lnTo>
                    <a:close/>
                    <a:moveTo>
                      <a:pt x="274" y="4040"/>
                    </a:moveTo>
                    <a:lnTo>
                      <a:pt x="2236" y="4040"/>
                    </a:lnTo>
                    <a:lnTo>
                      <a:pt x="2236" y="4275"/>
                    </a:lnTo>
                    <a:lnTo>
                      <a:pt x="274" y="4275"/>
                    </a:lnTo>
                    <a:lnTo>
                      <a:pt x="274" y="4040"/>
                    </a:lnTo>
                    <a:close/>
                    <a:moveTo>
                      <a:pt x="346" y="3750"/>
                    </a:moveTo>
                    <a:lnTo>
                      <a:pt x="346" y="3842"/>
                    </a:lnTo>
                    <a:lnTo>
                      <a:pt x="653" y="3842"/>
                    </a:lnTo>
                    <a:lnTo>
                      <a:pt x="653" y="3750"/>
                    </a:lnTo>
                    <a:lnTo>
                      <a:pt x="346" y="3750"/>
                    </a:lnTo>
                    <a:close/>
                    <a:moveTo>
                      <a:pt x="274" y="3678"/>
                    </a:moveTo>
                    <a:lnTo>
                      <a:pt x="725" y="3678"/>
                    </a:lnTo>
                    <a:lnTo>
                      <a:pt x="725" y="3914"/>
                    </a:lnTo>
                    <a:lnTo>
                      <a:pt x="274" y="3914"/>
                    </a:lnTo>
                    <a:lnTo>
                      <a:pt x="274" y="3678"/>
                    </a:lnTo>
                    <a:close/>
                    <a:moveTo>
                      <a:pt x="346" y="3390"/>
                    </a:moveTo>
                    <a:lnTo>
                      <a:pt x="346" y="3482"/>
                    </a:lnTo>
                    <a:lnTo>
                      <a:pt x="653" y="3482"/>
                    </a:lnTo>
                    <a:lnTo>
                      <a:pt x="653" y="3390"/>
                    </a:lnTo>
                    <a:lnTo>
                      <a:pt x="346" y="3390"/>
                    </a:lnTo>
                    <a:close/>
                    <a:moveTo>
                      <a:pt x="274" y="3318"/>
                    </a:moveTo>
                    <a:lnTo>
                      <a:pt x="725" y="3318"/>
                    </a:lnTo>
                    <a:lnTo>
                      <a:pt x="725" y="3554"/>
                    </a:lnTo>
                    <a:lnTo>
                      <a:pt x="274" y="3554"/>
                    </a:lnTo>
                    <a:lnTo>
                      <a:pt x="274" y="3318"/>
                    </a:lnTo>
                    <a:close/>
                    <a:moveTo>
                      <a:pt x="346" y="870"/>
                    </a:moveTo>
                    <a:lnTo>
                      <a:pt x="346" y="1042"/>
                    </a:lnTo>
                    <a:lnTo>
                      <a:pt x="2164" y="1042"/>
                    </a:lnTo>
                    <a:lnTo>
                      <a:pt x="2164" y="870"/>
                    </a:lnTo>
                    <a:lnTo>
                      <a:pt x="346" y="870"/>
                    </a:lnTo>
                    <a:close/>
                    <a:moveTo>
                      <a:pt x="274" y="798"/>
                    </a:moveTo>
                    <a:lnTo>
                      <a:pt x="2236" y="798"/>
                    </a:lnTo>
                    <a:lnTo>
                      <a:pt x="2236" y="1115"/>
                    </a:lnTo>
                    <a:lnTo>
                      <a:pt x="274" y="1115"/>
                    </a:lnTo>
                    <a:lnTo>
                      <a:pt x="274" y="798"/>
                    </a:lnTo>
                    <a:close/>
                    <a:moveTo>
                      <a:pt x="346" y="503"/>
                    </a:moveTo>
                    <a:lnTo>
                      <a:pt x="346" y="678"/>
                    </a:lnTo>
                    <a:lnTo>
                      <a:pt x="2164" y="678"/>
                    </a:lnTo>
                    <a:lnTo>
                      <a:pt x="2164" y="503"/>
                    </a:lnTo>
                    <a:lnTo>
                      <a:pt x="346" y="503"/>
                    </a:lnTo>
                    <a:close/>
                    <a:moveTo>
                      <a:pt x="274" y="431"/>
                    </a:moveTo>
                    <a:lnTo>
                      <a:pt x="2236" y="431"/>
                    </a:lnTo>
                    <a:lnTo>
                      <a:pt x="2236" y="750"/>
                    </a:lnTo>
                    <a:lnTo>
                      <a:pt x="274" y="750"/>
                    </a:lnTo>
                    <a:lnTo>
                      <a:pt x="274" y="431"/>
                    </a:lnTo>
                    <a:close/>
                    <a:moveTo>
                      <a:pt x="359" y="0"/>
                    </a:moveTo>
                    <a:lnTo>
                      <a:pt x="2152" y="0"/>
                    </a:lnTo>
                    <a:lnTo>
                      <a:pt x="2184" y="1"/>
                    </a:lnTo>
                    <a:lnTo>
                      <a:pt x="2191" y="3"/>
                    </a:lnTo>
                    <a:lnTo>
                      <a:pt x="2223" y="6"/>
                    </a:lnTo>
                    <a:lnTo>
                      <a:pt x="2254" y="13"/>
                    </a:lnTo>
                    <a:lnTo>
                      <a:pt x="2284" y="23"/>
                    </a:lnTo>
                    <a:lnTo>
                      <a:pt x="2291" y="24"/>
                    </a:lnTo>
                    <a:lnTo>
                      <a:pt x="2319" y="36"/>
                    </a:lnTo>
                    <a:lnTo>
                      <a:pt x="2346" y="50"/>
                    </a:lnTo>
                    <a:lnTo>
                      <a:pt x="2371" y="66"/>
                    </a:lnTo>
                    <a:lnTo>
                      <a:pt x="2406" y="92"/>
                    </a:lnTo>
                    <a:lnTo>
                      <a:pt x="2426" y="113"/>
                    </a:lnTo>
                    <a:lnTo>
                      <a:pt x="2445" y="134"/>
                    </a:lnTo>
                    <a:lnTo>
                      <a:pt x="2461" y="157"/>
                    </a:lnTo>
                    <a:lnTo>
                      <a:pt x="2469" y="169"/>
                    </a:lnTo>
                    <a:lnTo>
                      <a:pt x="2482" y="194"/>
                    </a:lnTo>
                    <a:lnTo>
                      <a:pt x="2494" y="218"/>
                    </a:lnTo>
                    <a:lnTo>
                      <a:pt x="2495" y="225"/>
                    </a:lnTo>
                    <a:lnTo>
                      <a:pt x="2504" y="251"/>
                    </a:lnTo>
                    <a:lnTo>
                      <a:pt x="2508" y="279"/>
                    </a:lnTo>
                    <a:lnTo>
                      <a:pt x="2510" y="286"/>
                    </a:lnTo>
                    <a:lnTo>
                      <a:pt x="2511" y="302"/>
                    </a:lnTo>
                    <a:lnTo>
                      <a:pt x="2511" y="4449"/>
                    </a:lnTo>
                    <a:lnTo>
                      <a:pt x="2510" y="4465"/>
                    </a:lnTo>
                    <a:lnTo>
                      <a:pt x="2508" y="4472"/>
                    </a:lnTo>
                    <a:lnTo>
                      <a:pt x="2504" y="4499"/>
                    </a:lnTo>
                    <a:lnTo>
                      <a:pt x="2495" y="4525"/>
                    </a:lnTo>
                    <a:lnTo>
                      <a:pt x="2494" y="4533"/>
                    </a:lnTo>
                    <a:lnTo>
                      <a:pt x="2482" y="4557"/>
                    </a:lnTo>
                    <a:lnTo>
                      <a:pt x="2469" y="4582"/>
                    </a:lnTo>
                    <a:lnTo>
                      <a:pt x="2461" y="4593"/>
                    </a:lnTo>
                    <a:lnTo>
                      <a:pt x="2445" y="4617"/>
                    </a:lnTo>
                    <a:lnTo>
                      <a:pt x="2426" y="4638"/>
                    </a:lnTo>
                    <a:lnTo>
                      <a:pt x="2406" y="4658"/>
                    </a:lnTo>
                    <a:lnTo>
                      <a:pt x="2371" y="4684"/>
                    </a:lnTo>
                    <a:lnTo>
                      <a:pt x="2346" y="4700"/>
                    </a:lnTo>
                    <a:lnTo>
                      <a:pt x="2319" y="4715"/>
                    </a:lnTo>
                    <a:lnTo>
                      <a:pt x="2291" y="4726"/>
                    </a:lnTo>
                    <a:lnTo>
                      <a:pt x="2284" y="4728"/>
                    </a:lnTo>
                    <a:lnTo>
                      <a:pt x="2254" y="4738"/>
                    </a:lnTo>
                    <a:lnTo>
                      <a:pt x="2223" y="4745"/>
                    </a:lnTo>
                    <a:lnTo>
                      <a:pt x="2191" y="4750"/>
                    </a:lnTo>
                    <a:lnTo>
                      <a:pt x="2184" y="4750"/>
                    </a:lnTo>
                    <a:lnTo>
                      <a:pt x="2151" y="4751"/>
                    </a:lnTo>
                    <a:lnTo>
                      <a:pt x="360" y="4751"/>
                    </a:lnTo>
                    <a:lnTo>
                      <a:pt x="327" y="4750"/>
                    </a:lnTo>
                    <a:lnTo>
                      <a:pt x="320" y="4750"/>
                    </a:lnTo>
                    <a:lnTo>
                      <a:pt x="288" y="4745"/>
                    </a:lnTo>
                    <a:lnTo>
                      <a:pt x="256" y="4738"/>
                    </a:lnTo>
                    <a:lnTo>
                      <a:pt x="227" y="4729"/>
                    </a:lnTo>
                    <a:lnTo>
                      <a:pt x="191" y="4715"/>
                    </a:lnTo>
                    <a:lnTo>
                      <a:pt x="165" y="4702"/>
                    </a:lnTo>
                    <a:lnTo>
                      <a:pt x="139" y="4686"/>
                    </a:lnTo>
                    <a:lnTo>
                      <a:pt x="129" y="4679"/>
                    </a:lnTo>
                    <a:lnTo>
                      <a:pt x="106" y="4661"/>
                    </a:lnTo>
                    <a:lnTo>
                      <a:pt x="85" y="4643"/>
                    </a:lnTo>
                    <a:lnTo>
                      <a:pt x="67" y="4624"/>
                    </a:lnTo>
                    <a:lnTo>
                      <a:pt x="51" y="4602"/>
                    </a:lnTo>
                    <a:lnTo>
                      <a:pt x="42" y="4591"/>
                    </a:lnTo>
                    <a:lnTo>
                      <a:pt x="29" y="4569"/>
                    </a:lnTo>
                    <a:lnTo>
                      <a:pt x="17" y="4547"/>
                    </a:lnTo>
                    <a:lnTo>
                      <a:pt x="10" y="4524"/>
                    </a:lnTo>
                    <a:lnTo>
                      <a:pt x="7" y="4517"/>
                    </a:lnTo>
                    <a:lnTo>
                      <a:pt x="3" y="4494"/>
                    </a:lnTo>
                    <a:lnTo>
                      <a:pt x="2" y="4486"/>
                    </a:lnTo>
                    <a:lnTo>
                      <a:pt x="0" y="4463"/>
                    </a:lnTo>
                    <a:lnTo>
                      <a:pt x="0" y="3587"/>
                    </a:lnTo>
                    <a:lnTo>
                      <a:pt x="72" y="3587"/>
                    </a:lnTo>
                    <a:lnTo>
                      <a:pt x="72" y="4463"/>
                    </a:lnTo>
                    <a:lnTo>
                      <a:pt x="74" y="4479"/>
                    </a:lnTo>
                    <a:lnTo>
                      <a:pt x="74" y="4479"/>
                    </a:lnTo>
                    <a:lnTo>
                      <a:pt x="78" y="4499"/>
                    </a:lnTo>
                    <a:lnTo>
                      <a:pt x="84" y="4520"/>
                    </a:lnTo>
                    <a:lnTo>
                      <a:pt x="96" y="4541"/>
                    </a:lnTo>
                    <a:lnTo>
                      <a:pt x="103" y="4554"/>
                    </a:lnTo>
                    <a:lnTo>
                      <a:pt x="117" y="4573"/>
                    </a:lnTo>
                    <a:lnTo>
                      <a:pt x="136" y="4592"/>
                    </a:lnTo>
                    <a:lnTo>
                      <a:pt x="156" y="4611"/>
                    </a:lnTo>
                    <a:lnTo>
                      <a:pt x="168" y="4619"/>
                    </a:lnTo>
                    <a:lnTo>
                      <a:pt x="168" y="4619"/>
                    </a:lnTo>
                    <a:lnTo>
                      <a:pt x="194" y="4635"/>
                    </a:lnTo>
                    <a:lnTo>
                      <a:pt x="220" y="4648"/>
                    </a:lnTo>
                    <a:lnTo>
                      <a:pt x="249" y="4660"/>
                    </a:lnTo>
                    <a:lnTo>
                      <a:pt x="249" y="4660"/>
                    </a:lnTo>
                    <a:lnTo>
                      <a:pt x="271" y="4667"/>
                    </a:lnTo>
                    <a:lnTo>
                      <a:pt x="303" y="4674"/>
                    </a:lnTo>
                    <a:lnTo>
                      <a:pt x="327" y="4677"/>
                    </a:lnTo>
                    <a:lnTo>
                      <a:pt x="327" y="4677"/>
                    </a:lnTo>
                    <a:lnTo>
                      <a:pt x="360" y="4679"/>
                    </a:lnTo>
                    <a:lnTo>
                      <a:pt x="2151" y="4679"/>
                    </a:lnTo>
                    <a:lnTo>
                      <a:pt x="2184" y="4677"/>
                    </a:lnTo>
                    <a:lnTo>
                      <a:pt x="2184" y="4677"/>
                    </a:lnTo>
                    <a:lnTo>
                      <a:pt x="2209" y="4674"/>
                    </a:lnTo>
                    <a:lnTo>
                      <a:pt x="2239" y="4667"/>
                    </a:lnTo>
                    <a:lnTo>
                      <a:pt x="2268" y="4657"/>
                    </a:lnTo>
                    <a:lnTo>
                      <a:pt x="2290" y="4648"/>
                    </a:lnTo>
                    <a:lnTo>
                      <a:pt x="2317" y="4634"/>
                    </a:lnTo>
                    <a:lnTo>
                      <a:pt x="2339" y="4621"/>
                    </a:lnTo>
                    <a:lnTo>
                      <a:pt x="2355" y="4608"/>
                    </a:lnTo>
                    <a:lnTo>
                      <a:pt x="2375" y="4588"/>
                    </a:lnTo>
                    <a:lnTo>
                      <a:pt x="2394" y="4566"/>
                    </a:lnTo>
                    <a:lnTo>
                      <a:pt x="2406" y="4550"/>
                    </a:lnTo>
                    <a:lnTo>
                      <a:pt x="2416" y="4530"/>
                    </a:lnTo>
                    <a:lnTo>
                      <a:pt x="2424" y="4511"/>
                    </a:lnTo>
                    <a:lnTo>
                      <a:pt x="2424" y="4511"/>
                    </a:lnTo>
                    <a:lnTo>
                      <a:pt x="2433" y="4485"/>
                    </a:lnTo>
                    <a:lnTo>
                      <a:pt x="2437" y="4457"/>
                    </a:lnTo>
                    <a:lnTo>
                      <a:pt x="2437" y="4457"/>
                    </a:lnTo>
                    <a:lnTo>
                      <a:pt x="2439" y="4436"/>
                    </a:lnTo>
                    <a:lnTo>
                      <a:pt x="2439" y="315"/>
                    </a:lnTo>
                    <a:lnTo>
                      <a:pt x="2437" y="293"/>
                    </a:lnTo>
                    <a:lnTo>
                      <a:pt x="2437" y="293"/>
                    </a:lnTo>
                    <a:lnTo>
                      <a:pt x="2433" y="266"/>
                    </a:lnTo>
                    <a:lnTo>
                      <a:pt x="2424" y="240"/>
                    </a:lnTo>
                    <a:lnTo>
                      <a:pt x="2424" y="240"/>
                    </a:lnTo>
                    <a:lnTo>
                      <a:pt x="2416" y="221"/>
                    </a:lnTo>
                    <a:lnTo>
                      <a:pt x="2406" y="201"/>
                    </a:lnTo>
                    <a:lnTo>
                      <a:pt x="2394" y="185"/>
                    </a:lnTo>
                    <a:lnTo>
                      <a:pt x="2375" y="163"/>
                    </a:lnTo>
                    <a:lnTo>
                      <a:pt x="2355" y="143"/>
                    </a:lnTo>
                    <a:lnTo>
                      <a:pt x="2339" y="130"/>
                    </a:lnTo>
                    <a:lnTo>
                      <a:pt x="2317" y="117"/>
                    </a:lnTo>
                    <a:lnTo>
                      <a:pt x="2290" y="102"/>
                    </a:lnTo>
                    <a:lnTo>
                      <a:pt x="2268" y="94"/>
                    </a:lnTo>
                    <a:lnTo>
                      <a:pt x="2239" y="84"/>
                    </a:lnTo>
                    <a:lnTo>
                      <a:pt x="2209" y="76"/>
                    </a:lnTo>
                    <a:lnTo>
                      <a:pt x="2177" y="74"/>
                    </a:lnTo>
                    <a:lnTo>
                      <a:pt x="2177" y="74"/>
                    </a:lnTo>
                    <a:lnTo>
                      <a:pt x="2151" y="72"/>
                    </a:lnTo>
                    <a:lnTo>
                      <a:pt x="360" y="72"/>
                    </a:lnTo>
                    <a:lnTo>
                      <a:pt x="334" y="74"/>
                    </a:lnTo>
                    <a:lnTo>
                      <a:pt x="334" y="74"/>
                    </a:lnTo>
                    <a:lnTo>
                      <a:pt x="303" y="78"/>
                    </a:lnTo>
                    <a:lnTo>
                      <a:pt x="277" y="82"/>
                    </a:lnTo>
                    <a:lnTo>
                      <a:pt x="249" y="92"/>
                    </a:lnTo>
                    <a:lnTo>
                      <a:pt x="220" y="104"/>
                    </a:lnTo>
                    <a:lnTo>
                      <a:pt x="194" y="118"/>
                    </a:lnTo>
                    <a:lnTo>
                      <a:pt x="194" y="118"/>
                    </a:lnTo>
                    <a:lnTo>
                      <a:pt x="180" y="127"/>
                    </a:lnTo>
                    <a:lnTo>
                      <a:pt x="156" y="147"/>
                    </a:lnTo>
                    <a:lnTo>
                      <a:pt x="136" y="169"/>
                    </a:lnTo>
                    <a:lnTo>
                      <a:pt x="117" y="192"/>
                    </a:lnTo>
                    <a:lnTo>
                      <a:pt x="117" y="192"/>
                    </a:lnTo>
                    <a:lnTo>
                      <a:pt x="109" y="205"/>
                    </a:lnTo>
                    <a:lnTo>
                      <a:pt x="96" y="233"/>
                    </a:lnTo>
                    <a:lnTo>
                      <a:pt x="87" y="256"/>
                    </a:lnTo>
                    <a:lnTo>
                      <a:pt x="87" y="256"/>
                    </a:lnTo>
                    <a:lnTo>
                      <a:pt x="78" y="286"/>
                    </a:lnTo>
                    <a:lnTo>
                      <a:pt x="74" y="318"/>
                    </a:lnTo>
                    <a:lnTo>
                      <a:pt x="74" y="318"/>
                    </a:lnTo>
                    <a:lnTo>
                      <a:pt x="72" y="344"/>
                    </a:lnTo>
                    <a:lnTo>
                      <a:pt x="72" y="1120"/>
                    </a:lnTo>
                    <a:lnTo>
                      <a:pt x="0" y="1120"/>
                    </a:lnTo>
                    <a:lnTo>
                      <a:pt x="0" y="344"/>
                    </a:lnTo>
                    <a:lnTo>
                      <a:pt x="2" y="311"/>
                    </a:lnTo>
                    <a:lnTo>
                      <a:pt x="3" y="303"/>
                    </a:lnTo>
                    <a:lnTo>
                      <a:pt x="7" y="272"/>
                    </a:lnTo>
                    <a:lnTo>
                      <a:pt x="16" y="241"/>
                    </a:lnTo>
                    <a:lnTo>
                      <a:pt x="17" y="234"/>
                    </a:lnTo>
                    <a:lnTo>
                      <a:pt x="29" y="205"/>
                    </a:lnTo>
                    <a:lnTo>
                      <a:pt x="42" y="178"/>
                    </a:lnTo>
                    <a:lnTo>
                      <a:pt x="58" y="153"/>
                    </a:lnTo>
                    <a:lnTo>
                      <a:pt x="67" y="141"/>
                    </a:lnTo>
                    <a:lnTo>
                      <a:pt x="85" y="118"/>
                    </a:lnTo>
                    <a:lnTo>
                      <a:pt x="106" y="97"/>
                    </a:lnTo>
                    <a:lnTo>
                      <a:pt x="129" y="76"/>
                    </a:lnTo>
                    <a:lnTo>
                      <a:pt x="154" y="61"/>
                    </a:lnTo>
                    <a:lnTo>
                      <a:pt x="165" y="52"/>
                    </a:lnTo>
                    <a:lnTo>
                      <a:pt x="191" y="37"/>
                    </a:lnTo>
                    <a:lnTo>
                      <a:pt x="220" y="26"/>
                    </a:lnTo>
                    <a:lnTo>
                      <a:pt x="249" y="16"/>
                    </a:lnTo>
                    <a:lnTo>
                      <a:pt x="256" y="13"/>
                    </a:lnTo>
                    <a:lnTo>
                      <a:pt x="288" y="7"/>
                    </a:lnTo>
                    <a:lnTo>
                      <a:pt x="320" y="3"/>
                    </a:lnTo>
                    <a:lnTo>
                      <a:pt x="327" y="1"/>
                    </a:lnTo>
                    <a:lnTo>
                      <a:pt x="359"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7" name="Freeform 738"/>
              <p:cNvSpPr>
                <a:spLocks noEditPoints="1"/>
              </p:cNvSpPr>
              <p:nvPr/>
            </p:nvSpPr>
            <p:spPr bwMode="auto">
              <a:xfrm>
                <a:off x="918" y="3458"/>
                <a:ext cx="963" cy="822"/>
              </a:xfrm>
              <a:custGeom>
                <a:avLst/>
                <a:gdLst>
                  <a:gd name="T0" fmla="*/ 185 w 2887"/>
                  <a:gd name="T1" fmla="*/ 187 h 2467"/>
                  <a:gd name="T2" fmla="*/ 169 w 2887"/>
                  <a:gd name="T3" fmla="*/ 822 h 2467"/>
                  <a:gd name="T4" fmla="*/ 169 w 2887"/>
                  <a:gd name="T5" fmla="*/ 1075 h 2467"/>
                  <a:gd name="T6" fmla="*/ 173 w 2887"/>
                  <a:gd name="T7" fmla="*/ 1897 h 2467"/>
                  <a:gd name="T8" fmla="*/ 250 w 2887"/>
                  <a:gd name="T9" fmla="*/ 1949 h 2467"/>
                  <a:gd name="T10" fmla="*/ 318 w 2887"/>
                  <a:gd name="T11" fmla="*/ 1949 h 2467"/>
                  <a:gd name="T12" fmla="*/ 1152 w 2887"/>
                  <a:gd name="T13" fmla="*/ 1949 h 2467"/>
                  <a:gd name="T14" fmla="*/ 2094 w 2887"/>
                  <a:gd name="T15" fmla="*/ 1949 h 2467"/>
                  <a:gd name="T16" fmla="*/ 2718 w 2887"/>
                  <a:gd name="T17" fmla="*/ 1897 h 2467"/>
                  <a:gd name="T18" fmla="*/ 2721 w 2887"/>
                  <a:gd name="T19" fmla="*/ 1362 h 2467"/>
                  <a:gd name="T20" fmla="*/ 2721 w 2887"/>
                  <a:gd name="T21" fmla="*/ 1075 h 2467"/>
                  <a:gd name="T22" fmla="*/ 2721 w 2887"/>
                  <a:gd name="T23" fmla="*/ 822 h 2467"/>
                  <a:gd name="T24" fmla="*/ 2706 w 2887"/>
                  <a:gd name="T25" fmla="*/ 187 h 2467"/>
                  <a:gd name="T26" fmla="*/ 2643 w 2887"/>
                  <a:gd name="T27" fmla="*/ 157 h 2467"/>
                  <a:gd name="T28" fmla="*/ 2607 w 2887"/>
                  <a:gd name="T29" fmla="*/ 157 h 2467"/>
                  <a:gd name="T30" fmla="*/ 2292 w 2887"/>
                  <a:gd name="T31" fmla="*/ 157 h 2467"/>
                  <a:gd name="T32" fmla="*/ 1634 w 2887"/>
                  <a:gd name="T33" fmla="*/ 157 h 2467"/>
                  <a:gd name="T34" fmla="*/ 800 w 2887"/>
                  <a:gd name="T35" fmla="*/ 157 h 2467"/>
                  <a:gd name="T36" fmla="*/ 123 w 2887"/>
                  <a:gd name="T37" fmla="*/ 0 h 2467"/>
                  <a:gd name="T38" fmla="*/ 492 w 2887"/>
                  <a:gd name="T39" fmla="*/ 0 h 2467"/>
                  <a:gd name="T40" fmla="*/ 1178 w 2887"/>
                  <a:gd name="T41" fmla="*/ 0 h 2467"/>
                  <a:gd name="T42" fmla="*/ 2206 w 2887"/>
                  <a:gd name="T43" fmla="*/ 0 h 2467"/>
                  <a:gd name="T44" fmla="*/ 2860 w 2887"/>
                  <a:gd name="T45" fmla="*/ 25 h 2467"/>
                  <a:gd name="T46" fmla="*/ 2887 w 2887"/>
                  <a:gd name="T47" fmla="*/ 430 h 2467"/>
                  <a:gd name="T48" fmla="*/ 2887 w 2887"/>
                  <a:gd name="T49" fmla="*/ 940 h 2467"/>
                  <a:gd name="T50" fmla="*/ 2887 w 2887"/>
                  <a:gd name="T51" fmla="*/ 1076 h 2467"/>
                  <a:gd name="T52" fmla="*/ 2887 w 2887"/>
                  <a:gd name="T53" fmla="*/ 1124 h 2467"/>
                  <a:gd name="T54" fmla="*/ 2887 w 2887"/>
                  <a:gd name="T55" fmla="*/ 1380 h 2467"/>
                  <a:gd name="T56" fmla="*/ 2887 w 2887"/>
                  <a:gd name="T57" fmla="*/ 2017 h 2467"/>
                  <a:gd name="T58" fmla="*/ 2795 w 2887"/>
                  <a:gd name="T59" fmla="*/ 2108 h 2467"/>
                  <a:gd name="T60" fmla="*/ 2640 w 2887"/>
                  <a:gd name="T61" fmla="*/ 2108 h 2467"/>
                  <a:gd name="T62" fmla="*/ 1968 w 2887"/>
                  <a:gd name="T63" fmla="*/ 2191 h 2467"/>
                  <a:gd name="T64" fmla="*/ 2036 w 2887"/>
                  <a:gd name="T65" fmla="*/ 2288 h 2467"/>
                  <a:gd name="T66" fmla="*/ 2132 w 2887"/>
                  <a:gd name="T67" fmla="*/ 2301 h 2467"/>
                  <a:gd name="T68" fmla="*/ 2194 w 2887"/>
                  <a:gd name="T69" fmla="*/ 2366 h 2467"/>
                  <a:gd name="T70" fmla="*/ 2181 w 2887"/>
                  <a:gd name="T71" fmla="*/ 2440 h 2467"/>
                  <a:gd name="T72" fmla="*/ 2130 w 2887"/>
                  <a:gd name="T73" fmla="*/ 2467 h 2467"/>
                  <a:gd name="T74" fmla="*/ 2064 w 2887"/>
                  <a:gd name="T75" fmla="*/ 2467 h 2467"/>
                  <a:gd name="T76" fmla="*/ 1735 w 2887"/>
                  <a:gd name="T77" fmla="*/ 2467 h 2467"/>
                  <a:gd name="T78" fmla="*/ 1068 w 2887"/>
                  <a:gd name="T79" fmla="*/ 2467 h 2467"/>
                  <a:gd name="T80" fmla="*/ 732 w 2887"/>
                  <a:gd name="T81" fmla="*/ 2422 h 2467"/>
                  <a:gd name="T82" fmla="*/ 729 w 2887"/>
                  <a:gd name="T83" fmla="*/ 2366 h 2467"/>
                  <a:gd name="T84" fmla="*/ 792 w 2887"/>
                  <a:gd name="T85" fmla="*/ 2301 h 2467"/>
                  <a:gd name="T86" fmla="*/ 845 w 2887"/>
                  <a:gd name="T87" fmla="*/ 2294 h 2467"/>
                  <a:gd name="T88" fmla="*/ 958 w 2887"/>
                  <a:gd name="T89" fmla="*/ 2247 h 2467"/>
                  <a:gd name="T90" fmla="*/ 983 w 2887"/>
                  <a:gd name="T91" fmla="*/ 2126 h 2467"/>
                  <a:gd name="T92" fmla="*/ 874 w 2887"/>
                  <a:gd name="T93" fmla="*/ 2108 h 2467"/>
                  <a:gd name="T94" fmla="*/ 576 w 2887"/>
                  <a:gd name="T95" fmla="*/ 2108 h 2467"/>
                  <a:gd name="T96" fmla="*/ 49 w 2887"/>
                  <a:gd name="T97" fmla="*/ 2097 h 2467"/>
                  <a:gd name="T98" fmla="*/ 0 w 2887"/>
                  <a:gd name="T99" fmla="*/ 1686 h 2467"/>
                  <a:gd name="T100" fmla="*/ 0 w 2887"/>
                  <a:gd name="T101" fmla="*/ 1075 h 2467"/>
                  <a:gd name="T102" fmla="*/ 0 w 2887"/>
                  <a:gd name="T103" fmla="*/ 1036 h 2467"/>
                  <a:gd name="T104" fmla="*/ 0 w 2887"/>
                  <a:gd name="T105" fmla="*/ 89 h 2467"/>
                  <a:gd name="T106" fmla="*/ 98 w 2887"/>
                  <a:gd name="T107" fmla="*/ 0 h 2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87" h="2467">
                    <a:moveTo>
                      <a:pt x="627" y="157"/>
                    </a:moveTo>
                    <a:lnTo>
                      <a:pt x="444" y="157"/>
                    </a:lnTo>
                    <a:lnTo>
                      <a:pt x="249" y="157"/>
                    </a:lnTo>
                    <a:lnTo>
                      <a:pt x="224" y="159"/>
                    </a:lnTo>
                    <a:lnTo>
                      <a:pt x="202" y="171"/>
                    </a:lnTo>
                    <a:lnTo>
                      <a:pt x="185" y="187"/>
                    </a:lnTo>
                    <a:lnTo>
                      <a:pt x="173" y="209"/>
                    </a:lnTo>
                    <a:lnTo>
                      <a:pt x="169" y="233"/>
                    </a:lnTo>
                    <a:lnTo>
                      <a:pt x="169" y="625"/>
                    </a:lnTo>
                    <a:lnTo>
                      <a:pt x="169" y="699"/>
                    </a:lnTo>
                    <a:lnTo>
                      <a:pt x="169" y="765"/>
                    </a:lnTo>
                    <a:lnTo>
                      <a:pt x="169" y="822"/>
                    </a:lnTo>
                    <a:lnTo>
                      <a:pt x="169" y="872"/>
                    </a:lnTo>
                    <a:lnTo>
                      <a:pt x="169" y="981"/>
                    </a:lnTo>
                    <a:lnTo>
                      <a:pt x="169" y="1005"/>
                    </a:lnTo>
                    <a:lnTo>
                      <a:pt x="169" y="1026"/>
                    </a:lnTo>
                    <a:lnTo>
                      <a:pt x="169" y="1075"/>
                    </a:lnTo>
                    <a:lnTo>
                      <a:pt x="169" y="1075"/>
                    </a:lnTo>
                    <a:lnTo>
                      <a:pt x="169" y="1075"/>
                    </a:lnTo>
                    <a:lnTo>
                      <a:pt x="169" y="1362"/>
                    </a:lnTo>
                    <a:lnTo>
                      <a:pt x="169" y="1425"/>
                    </a:lnTo>
                    <a:lnTo>
                      <a:pt x="169" y="1495"/>
                    </a:lnTo>
                    <a:lnTo>
                      <a:pt x="169" y="1873"/>
                    </a:lnTo>
                    <a:lnTo>
                      <a:pt x="173" y="1897"/>
                    </a:lnTo>
                    <a:lnTo>
                      <a:pt x="185" y="1919"/>
                    </a:lnTo>
                    <a:lnTo>
                      <a:pt x="202" y="1935"/>
                    </a:lnTo>
                    <a:lnTo>
                      <a:pt x="224" y="1945"/>
                    </a:lnTo>
                    <a:lnTo>
                      <a:pt x="249" y="1949"/>
                    </a:lnTo>
                    <a:lnTo>
                      <a:pt x="250" y="1949"/>
                    </a:lnTo>
                    <a:lnTo>
                      <a:pt x="250" y="1949"/>
                    </a:lnTo>
                    <a:lnTo>
                      <a:pt x="253" y="1949"/>
                    </a:lnTo>
                    <a:lnTo>
                      <a:pt x="268" y="1949"/>
                    </a:lnTo>
                    <a:lnTo>
                      <a:pt x="276" y="1949"/>
                    </a:lnTo>
                    <a:lnTo>
                      <a:pt x="286" y="1949"/>
                    </a:lnTo>
                    <a:lnTo>
                      <a:pt x="301" y="1949"/>
                    </a:lnTo>
                    <a:lnTo>
                      <a:pt x="318" y="1949"/>
                    </a:lnTo>
                    <a:lnTo>
                      <a:pt x="338" y="1949"/>
                    </a:lnTo>
                    <a:lnTo>
                      <a:pt x="362" y="1949"/>
                    </a:lnTo>
                    <a:lnTo>
                      <a:pt x="391" y="1949"/>
                    </a:lnTo>
                    <a:lnTo>
                      <a:pt x="796" y="1949"/>
                    </a:lnTo>
                    <a:lnTo>
                      <a:pt x="874" y="1949"/>
                    </a:lnTo>
                    <a:lnTo>
                      <a:pt x="1152" y="1949"/>
                    </a:lnTo>
                    <a:lnTo>
                      <a:pt x="1259" y="1949"/>
                    </a:lnTo>
                    <a:lnTo>
                      <a:pt x="1376" y="1949"/>
                    </a:lnTo>
                    <a:lnTo>
                      <a:pt x="1501" y="1949"/>
                    </a:lnTo>
                    <a:lnTo>
                      <a:pt x="1635" y="1949"/>
                    </a:lnTo>
                    <a:lnTo>
                      <a:pt x="1931" y="1949"/>
                    </a:lnTo>
                    <a:lnTo>
                      <a:pt x="2094" y="1949"/>
                    </a:lnTo>
                    <a:lnTo>
                      <a:pt x="2266" y="1949"/>
                    </a:lnTo>
                    <a:lnTo>
                      <a:pt x="2644" y="1949"/>
                    </a:lnTo>
                    <a:lnTo>
                      <a:pt x="2669" y="1945"/>
                    </a:lnTo>
                    <a:lnTo>
                      <a:pt x="2689" y="1935"/>
                    </a:lnTo>
                    <a:lnTo>
                      <a:pt x="2706" y="1919"/>
                    </a:lnTo>
                    <a:lnTo>
                      <a:pt x="2718" y="1897"/>
                    </a:lnTo>
                    <a:lnTo>
                      <a:pt x="2721" y="1873"/>
                    </a:lnTo>
                    <a:lnTo>
                      <a:pt x="2721" y="1763"/>
                    </a:lnTo>
                    <a:lnTo>
                      <a:pt x="2721" y="1665"/>
                    </a:lnTo>
                    <a:lnTo>
                      <a:pt x="2721" y="1495"/>
                    </a:lnTo>
                    <a:lnTo>
                      <a:pt x="2721" y="1425"/>
                    </a:lnTo>
                    <a:lnTo>
                      <a:pt x="2721" y="1362"/>
                    </a:lnTo>
                    <a:lnTo>
                      <a:pt x="2721" y="1307"/>
                    </a:lnTo>
                    <a:lnTo>
                      <a:pt x="2721" y="1261"/>
                    </a:lnTo>
                    <a:lnTo>
                      <a:pt x="2721" y="1159"/>
                    </a:lnTo>
                    <a:lnTo>
                      <a:pt x="2721" y="1135"/>
                    </a:lnTo>
                    <a:lnTo>
                      <a:pt x="2721" y="1117"/>
                    </a:lnTo>
                    <a:lnTo>
                      <a:pt x="2721" y="1075"/>
                    </a:lnTo>
                    <a:lnTo>
                      <a:pt x="2721" y="1075"/>
                    </a:lnTo>
                    <a:lnTo>
                      <a:pt x="2721" y="1073"/>
                    </a:lnTo>
                    <a:lnTo>
                      <a:pt x="2721" y="950"/>
                    </a:lnTo>
                    <a:lnTo>
                      <a:pt x="2721" y="914"/>
                    </a:lnTo>
                    <a:lnTo>
                      <a:pt x="2721" y="872"/>
                    </a:lnTo>
                    <a:lnTo>
                      <a:pt x="2721" y="822"/>
                    </a:lnTo>
                    <a:lnTo>
                      <a:pt x="2721" y="765"/>
                    </a:lnTo>
                    <a:lnTo>
                      <a:pt x="2721" y="699"/>
                    </a:lnTo>
                    <a:lnTo>
                      <a:pt x="2721" y="625"/>
                    </a:lnTo>
                    <a:lnTo>
                      <a:pt x="2721" y="233"/>
                    </a:lnTo>
                    <a:lnTo>
                      <a:pt x="2718" y="209"/>
                    </a:lnTo>
                    <a:lnTo>
                      <a:pt x="2706" y="187"/>
                    </a:lnTo>
                    <a:lnTo>
                      <a:pt x="2689" y="171"/>
                    </a:lnTo>
                    <a:lnTo>
                      <a:pt x="2669" y="159"/>
                    </a:lnTo>
                    <a:lnTo>
                      <a:pt x="2644" y="157"/>
                    </a:lnTo>
                    <a:lnTo>
                      <a:pt x="2644" y="157"/>
                    </a:lnTo>
                    <a:lnTo>
                      <a:pt x="2644" y="157"/>
                    </a:lnTo>
                    <a:lnTo>
                      <a:pt x="2643" y="157"/>
                    </a:lnTo>
                    <a:lnTo>
                      <a:pt x="2641" y="157"/>
                    </a:lnTo>
                    <a:lnTo>
                      <a:pt x="2637" y="157"/>
                    </a:lnTo>
                    <a:lnTo>
                      <a:pt x="2633" y="157"/>
                    </a:lnTo>
                    <a:lnTo>
                      <a:pt x="2627" y="157"/>
                    </a:lnTo>
                    <a:lnTo>
                      <a:pt x="2618" y="157"/>
                    </a:lnTo>
                    <a:lnTo>
                      <a:pt x="2607" y="157"/>
                    </a:lnTo>
                    <a:lnTo>
                      <a:pt x="2592" y="157"/>
                    </a:lnTo>
                    <a:lnTo>
                      <a:pt x="2576" y="157"/>
                    </a:lnTo>
                    <a:lnTo>
                      <a:pt x="2434" y="157"/>
                    </a:lnTo>
                    <a:lnTo>
                      <a:pt x="2392" y="157"/>
                    </a:lnTo>
                    <a:lnTo>
                      <a:pt x="2345" y="157"/>
                    </a:lnTo>
                    <a:lnTo>
                      <a:pt x="2292" y="157"/>
                    </a:lnTo>
                    <a:lnTo>
                      <a:pt x="2168" y="157"/>
                    </a:lnTo>
                    <a:lnTo>
                      <a:pt x="2097" y="157"/>
                    </a:lnTo>
                    <a:lnTo>
                      <a:pt x="1935" y="157"/>
                    </a:lnTo>
                    <a:lnTo>
                      <a:pt x="1842" y="157"/>
                    </a:lnTo>
                    <a:lnTo>
                      <a:pt x="1742" y="157"/>
                    </a:lnTo>
                    <a:lnTo>
                      <a:pt x="1634" y="157"/>
                    </a:lnTo>
                    <a:lnTo>
                      <a:pt x="1517" y="157"/>
                    </a:lnTo>
                    <a:lnTo>
                      <a:pt x="1392" y="157"/>
                    </a:lnTo>
                    <a:lnTo>
                      <a:pt x="1258" y="157"/>
                    </a:lnTo>
                    <a:lnTo>
                      <a:pt x="1114" y="157"/>
                    </a:lnTo>
                    <a:lnTo>
                      <a:pt x="962" y="157"/>
                    </a:lnTo>
                    <a:lnTo>
                      <a:pt x="800" y="157"/>
                    </a:lnTo>
                    <a:lnTo>
                      <a:pt x="627" y="157"/>
                    </a:lnTo>
                    <a:close/>
                    <a:moveTo>
                      <a:pt x="98" y="0"/>
                    </a:moveTo>
                    <a:lnTo>
                      <a:pt x="98" y="0"/>
                    </a:lnTo>
                    <a:lnTo>
                      <a:pt x="100" y="0"/>
                    </a:lnTo>
                    <a:lnTo>
                      <a:pt x="116" y="0"/>
                    </a:lnTo>
                    <a:lnTo>
                      <a:pt x="123" y="0"/>
                    </a:lnTo>
                    <a:lnTo>
                      <a:pt x="134" y="0"/>
                    </a:lnTo>
                    <a:lnTo>
                      <a:pt x="147" y="0"/>
                    </a:lnTo>
                    <a:lnTo>
                      <a:pt x="163" y="0"/>
                    </a:lnTo>
                    <a:lnTo>
                      <a:pt x="184" y="0"/>
                    </a:lnTo>
                    <a:lnTo>
                      <a:pt x="435" y="0"/>
                    </a:lnTo>
                    <a:lnTo>
                      <a:pt x="492" y="0"/>
                    </a:lnTo>
                    <a:lnTo>
                      <a:pt x="554" y="0"/>
                    </a:lnTo>
                    <a:lnTo>
                      <a:pt x="622" y="0"/>
                    </a:lnTo>
                    <a:lnTo>
                      <a:pt x="696" y="0"/>
                    </a:lnTo>
                    <a:lnTo>
                      <a:pt x="777" y="0"/>
                    </a:lnTo>
                    <a:lnTo>
                      <a:pt x="867" y="0"/>
                    </a:lnTo>
                    <a:lnTo>
                      <a:pt x="1178" y="0"/>
                    </a:lnTo>
                    <a:lnTo>
                      <a:pt x="1297" y="0"/>
                    </a:lnTo>
                    <a:lnTo>
                      <a:pt x="1425" y="0"/>
                    </a:lnTo>
                    <a:lnTo>
                      <a:pt x="1709" y="0"/>
                    </a:lnTo>
                    <a:lnTo>
                      <a:pt x="1864" y="0"/>
                    </a:lnTo>
                    <a:lnTo>
                      <a:pt x="2030" y="0"/>
                    </a:lnTo>
                    <a:lnTo>
                      <a:pt x="2206" y="0"/>
                    </a:lnTo>
                    <a:lnTo>
                      <a:pt x="2391" y="0"/>
                    </a:lnTo>
                    <a:lnTo>
                      <a:pt x="2588" y="0"/>
                    </a:lnTo>
                    <a:lnTo>
                      <a:pt x="2795" y="0"/>
                    </a:lnTo>
                    <a:lnTo>
                      <a:pt x="2819" y="3"/>
                    </a:lnTo>
                    <a:lnTo>
                      <a:pt x="2841" y="12"/>
                    </a:lnTo>
                    <a:lnTo>
                      <a:pt x="2860" y="25"/>
                    </a:lnTo>
                    <a:lnTo>
                      <a:pt x="2874" y="44"/>
                    </a:lnTo>
                    <a:lnTo>
                      <a:pt x="2884" y="64"/>
                    </a:lnTo>
                    <a:lnTo>
                      <a:pt x="2887" y="89"/>
                    </a:lnTo>
                    <a:lnTo>
                      <a:pt x="2887" y="213"/>
                    </a:lnTo>
                    <a:lnTo>
                      <a:pt x="2887" y="327"/>
                    </a:lnTo>
                    <a:lnTo>
                      <a:pt x="2887" y="430"/>
                    </a:lnTo>
                    <a:lnTo>
                      <a:pt x="2887" y="524"/>
                    </a:lnTo>
                    <a:lnTo>
                      <a:pt x="2887" y="608"/>
                    </a:lnTo>
                    <a:lnTo>
                      <a:pt x="2887" y="807"/>
                    </a:lnTo>
                    <a:lnTo>
                      <a:pt x="2887" y="858"/>
                    </a:lnTo>
                    <a:lnTo>
                      <a:pt x="2887" y="903"/>
                    </a:lnTo>
                    <a:lnTo>
                      <a:pt x="2887" y="940"/>
                    </a:lnTo>
                    <a:lnTo>
                      <a:pt x="2887" y="1073"/>
                    </a:lnTo>
                    <a:lnTo>
                      <a:pt x="2887" y="1075"/>
                    </a:lnTo>
                    <a:lnTo>
                      <a:pt x="2887" y="1075"/>
                    </a:lnTo>
                    <a:lnTo>
                      <a:pt x="2887" y="1075"/>
                    </a:lnTo>
                    <a:lnTo>
                      <a:pt x="2887" y="1075"/>
                    </a:lnTo>
                    <a:lnTo>
                      <a:pt x="2887" y="1076"/>
                    </a:lnTo>
                    <a:lnTo>
                      <a:pt x="2887" y="1078"/>
                    </a:lnTo>
                    <a:lnTo>
                      <a:pt x="2887" y="1082"/>
                    </a:lnTo>
                    <a:lnTo>
                      <a:pt x="2887" y="1088"/>
                    </a:lnTo>
                    <a:lnTo>
                      <a:pt x="2887" y="1096"/>
                    </a:lnTo>
                    <a:lnTo>
                      <a:pt x="2887" y="1108"/>
                    </a:lnTo>
                    <a:lnTo>
                      <a:pt x="2887" y="1124"/>
                    </a:lnTo>
                    <a:lnTo>
                      <a:pt x="2887" y="1143"/>
                    </a:lnTo>
                    <a:lnTo>
                      <a:pt x="2887" y="1198"/>
                    </a:lnTo>
                    <a:lnTo>
                      <a:pt x="2887" y="1234"/>
                    </a:lnTo>
                    <a:lnTo>
                      <a:pt x="2887" y="1276"/>
                    </a:lnTo>
                    <a:lnTo>
                      <a:pt x="2887" y="1323"/>
                    </a:lnTo>
                    <a:lnTo>
                      <a:pt x="2887" y="1380"/>
                    </a:lnTo>
                    <a:lnTo>
                      <a:pt x="2887" y="1516"/>
                    </a:lnTo>
                    <a:lnTo>
                      <a:pt x="2887" y="1597"/>
                    </a:lnTo>
                    <a:lnTo>
                      <a:pt x="2887" y="1686"/>
                    </a:lnTo>
                    <a:lnTo>
                      <a:pt x="2887" y="1786"/>
                    </a:lnTo>
                    <a:lnTo>
                      <a:pt x="2887" y="1896"/>
                    </a:lnTo>
                    <a:lnTo>
                      <a:pt x="2887" y="2017"/>
                    </a:lnTo>
                    <a:lnTo>
                      <a:pt x="2884" y="2042"/>
                    </a:lnTo>
                    <a:lnTo>
                      <a:pt x="2874" y="2064"/>
                    </a:lnTo>
                    <a:lnTo>
                      <a:pt x="2860" y="2082"/>
                    </a:lnTo>
                    <a:lnTo>
                      <a:pt x="2841" y="2097"/>
                    </a:lnTo>
                    <a:lnTo>
                      <a:pt x="2819" y="2106"/>
                    </a:lnTo>
                    <a:lnTo>
                      <a:pt x="2795" y="2108"/>
                    </a:lnTo>
                    <a:lnTo>
                      <a:pt x="2785" y="2108"/>
                    </a:lnTo>
                    <a:lnTo>
                      <a:pt x="2776" y="2108"/>
                    </a:lnTo>
                    <a:lnTo>
                      <a:pt x="2764" y="2108"/>
                    </a:lnTo>
                    <a:lnTo>
                      <a:pt x="2705" y="2108"/>
                    </a:lnTo>
                    <a:lnTo>
                      <a:pt x="2675" y="2108"/>
                    </a:lnTo>
                    <a:lnTo>
                      <a:pt x="2640" y="2108"/>
                    </a:lnTo>
                    <a:lnTo>
                      <a:pt x="1960" y="2108"/>
                    </a:lnTo>
                    <a:lnTo>
                      <a:pt x="1960" y="2114"/>
                    </a:lnTo>
                    <a:lnTo>
                      <a:pt x="1961" y="2126"/>
                    </a:lnTo>
                    <a:lnTo>
                      <a:pt x="1962" y="2145"/>
                    </a:lnTo>
                    <a:lnTo>
                      <a:pt x="1964" y="2168"/>
                    </a:lnTo>
                    <a:lnTo>
                      <a:pt x="1968" y="2191"/>
                    </a:lnTo>
                    <a:lnTo>
                      <a:pt x="1973" y="2214"/>
                    </a:lnTo>
                    <a:lnTo>
                      <a:pt x="1977" y="2233"/>
                    </a:lnTo>
                    <a:lnTo>
                      <a:pt x="1983" y="2247"/>
                    </a:lnTo>
                    <a:lnTo>
                      <a:pt x="1999" y="2266"/>
                    </a:lnTo>
                    <a:lnTo>
                      <a:pt x="2016" y="2279"/>
                    </a:lnTo>
                    <a:lnTo>
                      <a:pt x="2036" y="2288"/>
                    </a:lnTo>
                    <a:lnTo>
                      <a:pt x="2058" y="2295"/>
                    </a:lnTo>
                    <a:lnTo>
                      <a:pt x="2078" y="2298"/>
                    </a:lnTo>
                    <a:lnTo>
                      <a:pt x="2097" y="2299"/>
                    </a:lnTo>
                    <a:lnTo>
                      <a:pt x="2113" y="2301"/>
                    </a:lnTo>
                    <a:lnTo>
                      <a:pt x="2126" y="2301"/>
                    </a:lnTo>
                    <a:lnTo>
                      <a:pt x="2132" y="2301"/>
                    </a:lnTo>
                    <a:lnTo>
                      <a:pt x="2151" y="2304"/>
                    </a:lnTo>
                    <a:lnTo>
                      <a:pt x="2168" y="2314"/>
                    </a:lnTo>
                    <a:lnTo>
                      <a:pt x="2181" y="2328"/>
                    </a:lnTo>
                    <a:lnTo>
                      <a:pt x="2190" y="2346"/>
                    </a:lnTo>
                    <a:lnTo>
                      <a:pt x="2194" y="2366"/>
                    </a:lnTo>
                    <a:lnTo>
                      <a:pt x="2194" y="2366"/>
                    </a:lnTo>
                    <a:lnTo>
                      <a:pt x="2194" y="2369"/>
                    </a:lnTo>
                    <a:lnTo>
                      <a:pt x="2194" y="2373"/>
                    </a:lnTo>
                    <a:lnTo>
                      <a:pt x="2194" y="2385"/>
                    </a:lnTo>
                    <a:lnTo>
                      <a:pt x="2194" y="2402"/>
                    </a:lnTo>
                    <a:lnTo>
                      <a:pt x="2190" y="2422"/>
                    </a:lnTo>
                    <a:lnTo>
                      <a:pt x="2181" y="2440"/>
                    </a:lnTo>
                    <a:lnTo>
                      <a:pt x="2168" y="2454"/>
                    </a:lnTo>
                    <a:lnTo>
                      <a:pt x="2151" y="2463"/>
                    </a:lnTo>
                    <a:lnTo>
                      <a:pt x="2132" y="2467"/>
                    </a:lnTo>
                    <a:lnTo>
                      <a:pt x="2132" y="2467"/>
                    </a:lnTo>
                    <a:lnTo>
                      <a:pt x="2130" y="2467"/>
                    </a:lnTo>
                    <a:lnTo>
                      <a:pt x="2130" y="2467"/>
                    </a:lnTo>
                    <a:lnTo>
                      <a:pt x="2127" y="2467"/>
                    </a:lnTo>
                    <a:lnTo>
                      <a:pt x="2123" y="2467"/>
                    </a:lnTo>
                    <a:lnTo>
                      <a:pt x="2117" y="2467"/>
                    </a:lnTo>
                    <a:lnTo>
                      <a:pt x="2109" y="2467"/>
                    </a:lnTo>
                    <a:lnTo>
                      <a:pt x="2083" y="2467"/>
                    </a:lnTo>
                    <a:lnTo>
                      <a:pt x="2064" y="2467"/>
                    </a:lnTo>
                    <a:lnTo>
                      <a:pt x="2041" y="2467"/>
                    </a:lnTo>
                    <a:lnTo>
                      <a:pt x="1945" y="2467"/>
                    </a:lnTo>
                    <a:lnTo>
                      <a:pt x="1902" y="2467"/>
                    </a:lnTo>
                    <a:lnTo>
                      <a:pt x="1852" y="2467"/>
                    </a:lnTo>
                    <a:lnTo>
                      <a:pt x="1797" y="2467"/>
                    </a:lnTo>
                    <a:lnTo>
                      <a:pt x="1735" y="2467"/>
                    </a:lnTo>
                    <a:lnTo>
                      <a:pt x="1588" y="2467"/>
                    </a:lnTo>
                    <a:lnTo>
                      <a:pt x="1501" y="2467"/>
                    </a:lnTo>
                    <a:lnTo>
                      <a:pt x="1407" y="2467"/>
                    </a:lnTo>
                    <a:lnTo>
                      <a:pt x="1304" y="2467"/>
                    </a:lnTo>
                    <a:lnTo>
                      <a:pt x="1191" y="2467"/>
                    </a:lnTo>
                    <a:lnTo>
                      <a:pt x="1068" y="2467"/>
                    </a:lnTo>
                    <a:lnTo>
                      <a:pt x="935" y="2467"/>
                    </a:lnTo>
                    <a:lnTo>
                      <a:pt x="792" y="2467"/>
                    </a:lnTo>
                    <a:lnTo>
                      <a:pt x="771" y="2463"/>
                    </a:lnTo>
                    <a:lnTo>
                      <a:pt x="754" y="2454"/>
                    </a:lnTo>
                    <a:lnTo>
                      <a:pt x="741" y="2440"/>
                    </a:lnTo>
                    <a:lnTo>
                      <a:pt x="732" y="2422"/>
                    </a:lnTo>
                    <a:lnTo>
                      <a:pt x="729" y="2402"/>
                    </a:lnTo>
                    <a:lnTo>
                      <a:pt x="729" y="2401"/>
                    </a:lnTo>
                    <a:lnTo>
                      <a:pt x="729" y="2399"/>
                    </a:lnTo>
                    <a:lnTo>
                      <a:pt x="729" y="2393"/>
                    </a:lnTo>
                    <a:lnTo>
                      <a:pt x="729" y="2383"/>
                    </a:lnTo>
                    <a:lnTo>
                      <a:pt x="729" y="2366"/>
                    </a:lnTo>
                    <a:lnTo>
                      <a:pt x="732" y="2346"/>
                    </a:lnTo>
                    <a:lnTo>
                      <a:pt x="741" y="2328"/>
                    </a:lnTo>
                    <a:lnTo>
                      <a:pt x="754" y="2314"/>
                    </a:lnTo>
                    <a:lnTo>
                      <a:pt x="771" y="2304"/>
                    </a:lnTo>
                    <a:lnTo>
                      <a:pt x="792" y="2301"/>
                    </a:lnTo>
                    <a:lnTo>
                      <a:pt x="792" y="2301"/>
                    </a:lnTo>
                    <a:lnTo>
                      <a:pt x="793" y="2301"/>
                    </a:lnTo>
                    <a:lnTo>
                      <a:pt x="796" y="2301"/>
                    </a:lnTo>
                    <a:lnTo>
                      <a:pt x="800" y="2301"/>
                    </a:lnTo>
                    <a:lnTo>
                      <a:pt x="806" y="2301"/>
                    </a:lnTo>
                    <a:lnTo>
                      <a:pt x="825" y="2296"/>
                    </a:lnTo>
                    <a:lnTo>
                      <a:pt x="845" y="2294"/>
                    </a:lnTo>
                    <a:lnTo>
                      <a:pt x="865" y="2292"/>
                    </a:lnTo>
                    <a:lnTo>
                      <a:pt x="887" y="2289"/>
                    </a:lnTo>
                    <a:lnTo>
                      <a:pt x="907" y="2283"/>
                    </a:lnTo>
                    <a:lnTo>
                      <a:pt x="926" y="2276"/>
                    </a:lnTo>
                    <a:lnTo>
                      <a:pt x="943" y="2265"/>
                    </a:lnTo>
                    <a:lnTo>
                      <a:pt x="958" y="2247"/>
                    </a:lnTo>
                    <a:lnTo>
                      <a:pt x="965" y="2233"/>
                    </a:lnTo>
                    <a:lnTo>
                      <a:pt x="971" y="2214"/>
                    </a:lnTo>
                    <a:lnTo>
                      <a:pt x="975" y="2191"/>
                    </a:lnTo>
                    <a:lnTo>
                      <a:pt x="978" y="2168"/>
                    </a:lnTo>
                    <a:lnTo>
                      <a:pt x="981" y="2145"/>
                    </a:lnTo>
                    <a:lnTo>
                      <a:pt x="983" y="2126"/>
                    </a:lnTo>
                    <a:lnTo>
                      <a:pt x="984" y="2114"/>
                    </a:lnTo>
                    <a:lnTo>
                      <a:pt x="984" y="2108"/>
                    </a:lnTo>
                    <a:lnTo>
                      <a:pt x="984" y="2108"/>
                    </a:lnTo>
                    <a:lnTo>
                      <a:pt x="984" y="2108"/>
                    </a:lnTo>
                    <a:lnTo>
                      <a:pt x="983" y="2108"/>
                    </a:lnTo>
                    <a:lnTo>
                      <a:pt x="874" y="2108"/>
                    </a:lnTo>
                    <a:lnTo>
                      <a:pt x="841" y="2108"/>
                    </a:lnTo>
                    <a:lnTo>
                      <a:pt x="802" y="2108"/>
                    </a:lnTo>
                    <a:lnTo>
                      <a:pt x="757" y="2108"/>
                    </a:lnTo>
                    <a:lnTo>
                      <a:pt x="703" y="2108"/>
                    </a:lnTo>
                    <a:lnTo>
                      <a:pt x="644" y="2108"/>
                    </a:lnTo>
                    <a:lnTo>
                      <a:pt x="576" y="2108"/>
                    </a:lnTo>
                    <a:lnTo>
                      <a:pt x="414" y="2108"/>
                    </a:lnTo>
                    <a:lnTo>
                      <a:pt x="318" y="2108"/>
                    </a:lnTo>
                    <a:lnTo>
                      <a:pt x="214" y="2108"/>
                    </a:lnTo>
                    <a:lnTo>
                      <a:pt x="98" y="2108"/>
                    </a:lnTo>
                    <a:lnTo>
                      <a:pt x="72" y="2106"/>
                    </a:lnTo>
                    <a:lnTo>
                      <a:pt x="49" y="2097"/>
                    </a:lnTo>
                    <a:lnTo>
                      <a:pt x="29" y="2082"/>
                    </a:lnTo>
                    <a:lnTo>
                      <a:pt x="14" y="2064"/>
                    </a:lnTo>
                    <a:lnTo>
                      <a:pt x="4" y="2042"/>
                    </a:lnTo>
                    <a:lnTo>
                      <a:pt x="0" y="2017"/>
                    </a:lnTo>
                    <a:lnTo>
                      <a:pt x="0" y="1786"/>
                    </a:lnTo>
                    <a:lnTo>
                      <a:pt x="0" y="1686"/>
                    </a:lnTo>
                    <a:lnTo>
                      <a:pt x="0" y="1597"/>
                    </a:lnTo>
                    <a:lnTo>
                      <a:pt x="0" y="1323"/>
                    </a:lnTo>
                    <a:lnTo>
                      <a:pt x="0" y="1276"/>
                    </a:lnTo>
                    <a:lnTo>
                      <a:pt x="0" y="1234"/>
                    </a:lnTo>
                    <a:lnTo>
                      <a:pt x="0" y="1198"/>
                    </a:lnTo>
                    <a:lnTo>
                      <a:pt x="0" y="1075"/>
                    </a:lnTo>
                    <a:lnTo>
                      <a:pt x="0" y="1075"/>
                    </a:lnTo>
                    <a:lnTo>
                      <a:pt x="0" y="1075"/>
                    </a:lnTo>
                    <a:lnTo>
                      <a:pt x="0" y="1073"/>
                    </a:lnTo>
                    <a:lnTo>
                      <a:pt x="0" y="1070"/>
                    </a:lnTo>
                    <a:lnTo>
                      <a:pt x="0" y="1066"/>
                    </a:lnTo>
                    <a:lnTo>
                      <a:pt x="0" y="1036"/>
                    </a:lnTo>
                    <a:lnTo>
                      <a:pt x="0" y="1020"/>
                    </a:lnTo>
                    <a:lnTo>
                      <a:pt x="0" y="998"/>
                    </a:lnTo>
                    <a:lnTo>
                      <a:pt x="0" y="903"/>
                    </a:lnTo>
                    <a:lnTo>
                      <a:pt x="0" y="858"/>
                    </a:lnTo>
                    <a:lnTo>
                      <a:pt x="0" y="807"/>
                    </a:lnTo>
                    <a:lnTo>
                      <a:pt x="0" y="89"/>
                    </a:lnTo>
                    <a:lnTo>
                      <a:pt x="4" y="64"/>
                    </a:lnTo>
                    <a:lnTo>
                      <a:pt x="14" y="44"/>
                    </a:lnTo>
                    <a:lnTo>
                      <a:pt x="29" y="25"/>
                    </a:lnTo>
                    <a:lnTo>
                      <a:pt x="49" y="12"/>
                    </a:lnTo>
                    <a:lnTo>
                      <a:pt x="72" y="3"/>
                    </a:lnTo>
                    <a:lnTo>
                      <a:pt x="98" y="0"/>
                    </a:lnTo>
                    <a:lnTo>
                      <a:pt x="98"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nvGrpSpPr>
            <p:cNvPr id="123" name="Group 741"/>
            <p:cNvGrpSpPr>
              <a:grpSpLocks noChangeAspect="1"/>
            </p:cNvGrpSpPr>
            <p:nvPr/>
          </p:nvGrpSpPr>
          <p:grpSpPr bwMode="auto">
            <a:xfrm>
              <a:off x="10270665" y="2300201"/>
              <a:ext cx="731668" cy="978051"/>
              <a:chOff x="-1406" y="2626"/>
              <a:chExt cx="1369" cy="1830"/>
            </a:xfrm>
            <a:solidFill>
              <a:schemeClr val="accent3"/>
            </a:solidFill>
          </p:grpSpPr>
          <p:sp>
            <p:nvSpPr>
              <p:cNvPr id="124" name="Freeform 743"/>
              <p:cNvSpPr>
                <a:spLocks noEditPoints="1"/>
              </p:cNvSpPr>
              <p:nvPr/>
            </p:nvSpPr>
            <p:spPr bwMode="auto">
              <a:xfrm>
                <a:off x="-970" y="2626"/>
                <a:ext cx="933" cy="1830"/>
              </a:xfrm>
              <a:custGeom>
                <a:avLst/>
                <a:gdLst>
                  <a:gd name="T0" fmla="*/ 1637 w 1866"/>
                  <a:gd name="T1" fmla="*/ 3164 h 3661"/>
                  <a:gd name="T2" fmla="*/ 1659 w 1866"/>
                  <a:gd name="T3" fmla="*/ 3290 h 3661"/>
                  <a:gd name="T4" fmla="*/ 229 w 1866"/>
                  <a:gd name="T5" fmla="*/ 2988 h 3661"/>
                  <a:gd name="T6" fmla="*/ 207 w 1866"/>
                  <a:gd name="T7" fmla="*/ 2861 h 3661"/>
                  <a:gd name="T8" fmla="*/ 207 w 1866"/>
                  <a:gd name="T9" fmla="*/ 2861 h 3661"/>
                  <a:gd name="T10" fmla="*/ 492 w 1866"/>
                  <a:gd name="T11" fmla="*/ 2707 h 3661"/>
                  <a:gd name="T12" fmla="*/ 207 w 1866"/>
                  <a:gd name="T13" fmla="*/ 2730 h 3661"/>
                  <a:gd name="T14" fmla="*/ 1637 w 1866"/>
                  <a:gd name="T15" fmla="*/ 896 h 3661"/>
                  <a:gd name="T16" fmla="*/ 1615 w 1866"/>
                  <a:gd name="T17" fmla="*/ 706 h 3661"/>
                  <a:gd name="T18" fmla="*/ 229 w 1866"/>
                  <a:gd name="T19" fmla="*/ 500 h 3661"/>
                  <a:gd name="T20" fmla="*/ 207 w 1866"/>
                  <a:gd name="T21" fmla="*/ 373 h 3661"/>
                  <a:gd name="T22" fmla="*/ 207 w 1866"/>
                  <a:gd name="T23" fmla="*/ 373 h 3661"/>
                  <a:gd name="T24" fmla="*/ 1659 w 1866"/>
                  <a:gd name="T25" fmla="*/ 5 h 3661"/>
                  <a:gd name="T26" fmla="*/ 1731 w 1866"/>
                  <a:gd name="T27" fmla="*/ 28 h 3661"/>
                  <a:gd name="T28" fmla="*/ 1791 w 1866"/>
                  <a:gd name="T29" fmla="*/ 68 h 3661"/>
                  <a:gd name="T30" fmla="*/ 1836 w 1866"/>
                  <a:gd name="T31" fmla="*/ 121 h 3661"/>
                  <a:gd name="T32" fmla="*/ 1861 w 1866"/>
                  <a:gd name="T33" fmla="*/ 185 h 3661"/>
                  <a:gd name="T34" fmla="*/ 1865 w 1866"/>
                  <a:gd name="T35" fmla="*/ 3455 h 3661"/>
                  <a:gd name="T36" fmla="*/ 1846 w 1866"/>
                  <a:gd name="T37" fmla="*/ 3521 h 3661"/>
                  <a:gd name="T38" fmla="*/ 1807 w 1866"/>
                  <a:gd name="T39" fmla="*/ 3579 h 3661"/>
                  <a:gd name="T40" fmla="*/ 1751 w 1866"/>
                  <a:gd name="T41" fmla="*/ 3622 h 3661"/>
                  <a:gd name="T42" fmla="*/ 1664 w 1866"/>
                  <a:gd name="T43" fmla="*/ 3655 h 3661"/>
                  <a:gd name="T44" fmla="*/ 256 w 1866"/>
                  <a:gd name="T45" fmla="*/ 3661 h 3661"/>
                  <a:gd name="T46" fmla="*/ 178 w 1866"/>
                  <a:gd name="T47" fmla="*/ 3650 h 3661"/>
                  <a:gd name="T48" fmla="*/ 95 w 1866"/>
                  <a:gd name="T49" fmla="*/ 3610 h 3661"/>
                  <a:gd name="T50" fmla="*/ 45 w 1866"/>
                  <a:gd name="T51" fmla="*/ 3562 h 3661"/>
                  <a:gd name="T52" fmla="*/ 11 w 1866"/>
                  <a:gd name="T53" fmla="*/ 3501 h 3661"/>
                  <a:gd name="T54" fmla="*/ 0 w 1866"/>
                  <a:gd name="T55" fmla="*/ 3432 h 3661"/>
                  <a:gd name="T56" fmla="*/ 23 w 1866"/>
                  <a:gd name="T57" fmla="*/ 3455 h 3661"/>
                  <a:gd name="T58" fmla="*/ 51 w 1866"/>
                  <a:gd name="T59" fmla="*/ 3531 h 3661"/>
                  <a:gd name="T60" fmla="*/ 107 w 1866"/>
                  <a:gd name="T61" fmla="*/ 3592 h 3661"/>
                  <a:gd name="T62" fmla="*/ 187 w 1866"/>
                  <a:gd name="T63" fmla="*/ 3630 h 3661"/>
                  <a:gd name="T64" fmla="*/ 256 w 1866"/>
                  <a:gd name="T65" fmla="*/ 3639 h 3661"/>
                  <a:gd name="T66" fmla="*/ 1659 w 1866"/>
                  <a:gd name="T67" fmla="*/ 3634 h 3661"/>
                  <a:gd name="T68" fmla="*/ 1743 w 1866"/>
                  <a:gd name="T69" fmla="*/ 3602 h 3661"/>
                  <a:gd name="T70" fmla="*/ 1802 w 1866"/>
                  <a:gd name="T71" fmla="*/ 3550 h 3661"/>
                  <a:gd name="T72" fmla="*/ 1834 w 1866"/>
                  <a:gd name="T73" fmla="*/ 3492 h 3661"/>
                  <a:gd name="T74" fmla="*/ 1844 w 1866"/>
                  <a:gd name="T75" fmla="*/ 3432 h 3661"/>
                  <a:gd name="T76" fmla="*/ 1839 w 1866"/>
                  <a:gd name="T77" fmla="*/ 190 h 3661"/>
                  <a:gd name="T78" fmla="*/ 1802 w 1866"/>
                  <a:gd name="T79" fmla="*/ 112 h 3661"/>
                  <a:gd name="T80" fmla="*/ 1758 w 1866"/>
                  <a:gd name="T81" fmla="*/ 69 h 3661"/>
                  <a:gd name="T82" fmla="*/ 1678 w 1866"/>
                  <a:gd name="T83" fmla="*/ 31 h 3661"/>
                  <a:gd name="T84" fmla="*/ 1609 w 1866"/>
                  <a:gd name="T85" fmla="*/ 22 h 3661"/>
                  <a:gd name="T86" fmla="*/ 207 w 1866"/>
                  <a:gd name="T87" fmla="*/ 27 h 3661"/>
                  <a:gd name="T88" fmla="*/ 123 w 1866"/>
                  <a:gd name="T89" fmla="*/ 59 h 3661"/>
                  <a:gd name="T90" fmla="*/ 61 w 1866"/>
                  <a:gd name="T91" fmla="*/ 116 h 3661"/>
                  <a:gd name="T92" fmla="*/ 32 w 1866"/>
                  <a:gd name="T93" fmla="*/ 169 h 3661"/>
                  <a:gd name="T94" fmla="*/ 22 w 1866"/>
                  <a:gd name="T95" fmla="*/ 683 h 3661"/>
                  <a:gd name="T96" fmla="*/ 5 w 1866"/>
                  <a:gd name="T97" fmla="*/ 185 h 3661"/>
                  <a:gd name="T98" fmla="*/ 29 w 1866"/>
                  <a:gd name="T99" fmla="*/ 121 h 3661"/>
                  <a:gd name="T100" fmla="*/ 75 w 1866"/>
                  <a:gd name="T101" fmla="*/ 68 h 3661"/>
                  <a:gd name="T102" fmla="*/ 135 w 1866"/>
                  <a:gd name="T103" fmla="*/ 28 h 3661"/>
                  <a:gd name="T104" fmla="*/ 207 w 1866"/>
                  <a:gd name="T105" fmla="*/ 5 h 3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66" h="3661">
                    <a:moveTo>
                      <a:pt x="229" y="3164"/>
                    </a:moveTo>
                    <a:lnTo>
                      <a:pt x="229" y="3268"/>
                    </a:lnTo>
                    <a:lnTo>
                      <a:pt x="1637" y="3268"/>
                    </a:lnTo>
                    <a:lnTo>
                      <a:pt x="1637" y="3164"/>
                    </a:lnTo>
                    <a:lnTo>
                      <a:pt x="229" y="3164"/>
                    </a:lnTo>
                    <a:close/>
                    <a:moveTo>
                      <a:pt x="207" y="3142"/>
                    </a:moveTo>
                    <a:lnTo>
                      <a:pt x="1659" y="3142"/>
                    </a:lnTo>
                    <a:lnTo>
                      <a:pt x="1659" y="3290"/>
                    </a:lnTo>
                    <a:lnTo>
                      <a:pt x="207" y="3290"/>
                    </a:lnTo>
                    <a:lnTo>
                      <a:pt x="207" y="3142"/>
                    </a:lnTo>
                    <a:close/>
                    <a:moveTo>
                      <a:pt x="229" y="2883"/>
                    </a:moveTo>
                    <a:lnTo>
                      <a:pt x="229" y="2988"/>
                    </a:lnTo>
                    <a:lnTo>
                      <a:pt x="492" y="2988"/>
                    </a:lnTo>
                    <a:lnTo>
                      <a:pt x="492" y="2883"/>
                    </a:lnTo>
                    <a:lnTo>
                      <a:pt x="229" y="2883"/>
                    </a:lnTo>
                    <a:close/>
                    <a:moveTo>
                      <a:pt x="207" y="2861"/>
                    </a:moveTo>
                    <a:lnTo>
                      <a:pt x="515" y="2861"/>
                    </a:lnTo>
                    <a:lnTo>
                      <a:pt x="515" y="3011"/>
                    </a:lnTo>
                    <a:lnTo>
                      <a:pt x="207" y="3011"/>
                    </a:lnTo>
                    <a:lnTo>
                      <a:pt x="207" y="2861"/>
                    </a:lnTo>
                    <a:close/>
                    <a:moveTo>
                      <a:pt x="207" y="2682"/>
                    </a:moveTo>
                    <a:lnTo>
                      <a:pt x="229" y="2682"/>
                    </a:lnTo>
                    <a:lnTo>
                      <a:pt x="229" y="2707"/>
                    </a:lnTo>
                    <a:lnTo>
                      <a:pt x="492" y="2707"/>
                    </a:lnTo>
                    <a:lnTo>
                      <a:pt x="492" y="2695"/>
                    </a:lnTo>
                    <a:lnTo>
                      <a:pt x="515" y="2695"/>
                    </a:lnTo>
                    <a:lnTo>
                      <a:pt x="515" y="2730"/>
                    </a:lnTo>
                    <a:lnTo>
                      <a:pt x="207" y="2730"/>
                    </a:lnTo>
                    <a:lnTo>
                      <a:pt x="207" y="2682"/>
                    </a:lnTo>
                    <a:close/>
                    <a:moveTo>
                      <a:pt x="1363" y="684"/>
                    </a:moveTo>
                    <a:lnTo>
                      <a:pt x="1637" y="684"/>
                    </a:lnTo>
                    <a:lnTo>
                      <a:pt x="1637" y="896"/>
                    </a:lnTo>
                    <a:lnTo>
                      <a:pt x="1443" y="896"/>
                    </a:lnTo>
                    <a:lnTo>
                      <a:pt x="1443" y="874"/>
                    </a:lnTo>
                    <a:lnTo>
                      <a:pt x="1615" y="874"/>
                    </a:lnTo>
                    <a:lnTo>
                      <a:pt x="1615" y="706"/>
                    </a:lnTo>
                    <a:lnTo>
                      <a:pt x="1363" y="706"/>
                    </a:lnTo>
                    <a:lnTo>
                      <a:pt x="1363" y="684"/>
                    </a:lnTo>
                    <a:close/>
                    <a:moveTo>
                      <a:pt x="229" y="395"/>
                    </a:moveTo>
                    <a:lnTo>
                      <a:pt x="229" y="500"/>
                    </a:lnTo>
                    <a:lnTo>
                      <a:pt x="1637" y="500"/>
                    </a:lnTo>
                    <a:lnTo>
                      <a:pt x="1637" y="395"/>
                    </a:lnTo>
                    <a:lnTo>
                      <a:pt x="229" y="395"/>
                    </a:lnTo>
                    <a:close/>
                    <a:moveTo>
                      <a:pt x="207" y="373"/>
                    </a:moveTo>
                    <a:lnTo>
                      <a:pt x="1659" y="373"/>
                    </a:lnTo>
                    <a:lnTo>
                      <a:pt x="1659" y="522"/>
                    </a:lnTo>
                    <a:lnTo>
                      <a:pt x="207" y="522"/>
                    </a:lnTo>
                    <a:lnTo>
                      <a:pt x="207" y="373"/>
                    </a:lnTo>
                    <a:close/>
                    <a:moveTo>
                      <a:pt x="256" y="0"/>
                    </a:moveTo>
                    <a:lnTo>
                      <a:pt x="1609" y="0"/>
                    </a:lnTo>
                    <a:lnTo>
                      <a:pt x="1635" y="1"/>
                    </a:lnTo>
                    <a:lnTo>
                      <a:pt x="1659" y="5"/>
                    </a:lnTo>
                    <a:lnTo>
                      <a:pt x="1664" y="6"/>
                    </a:lnTo>
                    <a:lnTo>
                      <a:pt x="1687" y="11"/>
                    </a:lnTo>
                    <a:lnTo>
                      <a:pt x="1709" y="18"/>
                    </a:lnTo>
                    <a:lnTo>
                      <a:pt x="1731" y="28"/>
                    </a:lnTo>
                    <a:lnTo>
                      <a:pt x="1751" y="39"/>
                    </a:lnTo>
                    <a:lnTo>
                      <a:pt x="1770" y="51"/>
                    </a:lnTo>
                    <a:lnTo>
                      <a:pt x="1774" y="53"/>
                    </a:lnTo>
                    <a:lnTo>
                      <a:pt x="1791" y="68"/>
                    </a:lnTo>
                    <a:lnTo>
                      <a:pt x="1807" y="82"/>
                    </a:lnTo>
                    <a:lnTo>
                      <a:pt x="1821" y="100"/>
                    </a:lnTo>
                    <a:lnTo>
                      <a:pt x="1824" y="103"/>
                    </a:lnTo>
                    <a:lnTo>
                      <a:pt x="1836" y="121"/>
                    </a:lnTo>
                    <a:lnTo>
                      <a:pt x="1846" y="140"/>
                    </a:lnTo>
                    <a:lnTo>
                      <a:pt x="1855" y="160"/>
                    </a:lnTo>
                    <a:lnTo>
                      <a:pt x="1860" y="181"/>
                    </a:lnTo>
                    <a:lnTo>
                      <a:pt x="1861" y="185"/>
                    </a:lnTo>
                    <a:lnTo>
                      <a:pt x="1865" y="207"/>
                    </a:lnTo>
                    <a:lnTo>
                      <a:pt x="1866" y="229"/>
                    </a:lnTo>
                    <a:lnTo>
                      <a:pt x="1866" y="3432"/>
                    </a:lnTo>
                    <a:lnTo>
                      <a:pt x="1865" y="3455"/>
                    </a:lnTo>
                    <a:lnTo>
                      <a:pt x="1861" y="3476"/>
                    </a:lnTo>
                    <a:lnTo>
                      <a:pt x="1860" y="3480"/>
                    </a:lnTo>
                    <a:lnTo>
                      <a:pt x="1855" y="3501"/>
                    </a:lnTo>
                    <a:lnTo>
                      <a:pt x="1846" y="3521"/>
                    </a:lnTo>
                    <a:lnTo>
                      <a:pt x="1836" y="3540"/>
                    </a:lnTo>
                    <a:lnTo>
                      <a:pt x="1824" y="3559"/>
                    </a:lnTo>
                    <a:lnTo>
                      <a:pt x="1821" y="3562"/>
                    </a:lnTo>
                    <a:lnTo>
                      <a:pt x="1807" y="3579"/>
                    </a:lnTo>
                    <a:lnTo>
                      <a:pt x="1791" y="3594"/>
                    </a:lnTo>
                    <a:lnTo>
                      <a:pt x="1774" y="3608"/>
                    </a:lnTo>
                    <a:lnTo>
                      <a:pt x="1770" y="3610"/>
                    </a:lnTo>
                    <a:lnTo>
                      <a:pt x="1751" y="3622"/>
                    </a:lnTo>
                    <a:lnTo>
                      <a:pt x="1731" y="3633"/>
                    </a:lnTo>
                    <a:lnTo>
                      <a:pt x="1709" y="3643"/>
                    </a:lnTo>
                    <a:lnTo>
                      <a:pt x="1687" y="3650"/>
                    </a:lnTo>
                    <a:lnTo>
                      <a:pt x="1664" y="3655"/>
                    </a:lnTo>
                    <a:lnTo>
                      <a:pt x="1659" y="3657"/>
                    </a:lnTo>
                    <a:lnTo>
                      <a:pt x="1635" y="3660"/>
                    </a:lnTo>
                    <a:lnTo>
                      <a:pt x="1609" y="3661"/>
                    </a:lnTo>
                    <a:lnTo>
                      <a:pt x="256" y="3661"/>
                    </a:lnTo>
                    <a:lnTo>
                      <a:pt x="230" y="3660"/>
                    </a:lnTo>
                    <a:lnTo>
                      <a:pt x="207" y="3657"/>
                    </a:lnTo>
                    <a:lnTo>
                      <a:pt x="203" y="3655"/>
                    </a:lnTo>
                    <a:lnTo>
                      <a:pt x="178" y="3650"/>
                    </a:lnTo>
                    <a:lnTo>
                      <a:pt x="156" y="3643"/>
                    </a:lnTo>
                    <a:lnTo>
                      <a:pt x="135" y="3633"/>
                    </a:lnTo>
                    <a:lnTo>
                      <a:pt x="114" y="3622"/>
                    </a:lnTo>
                    <a:lnTo>
                      <a:pt x="95" y="3610"/>
                    </a:lnTo>
                    <a:lnTo>
                      <a:pt x="92" y="3608"/>
                    </a:lnTo>
                    <a:lnTo>
                      <a:pt x="75" y="3594"/>
                    </a:lnTo>
                    <a:lnTo>
                      <a:pt x="59" y="3579"/>
                    </a:lnTo>
                    <a:lnTo>
                      <a:pt x="45" y="3562"/>
                    </a:lnTo>
                    <a:lnTo>
                      <a:pt x="42" y="3559"/>
                    </a:lnTo>
                    <a:lnTo>
                      <a:pt x="29" y="3540"/>
                    </a:lnTo>
                    <a:lnTo>
                      <a:pt x="19" y="3521"/>
                    </a:lnTo>
                    <a:lnTo>
                      <a:pt x="11" y="3501"/>
                    </a:lnTo>
                    <a:lnTo>
                      <a:pt x="5" y="3480"/>
                    </a:lnTo>
                    <a:lnTo>
                      <a:pt x="5" y="3476"/>
                    </a:lnTo>
                    <a:lnTo>
                      <a:pt x="1" y="3455"/>
                    </a:lnTo>
                    <a:lnTo>
                      <a:pt x="0" y="3432"/>
                    </a:lnTo>
                    <a:lnTo>
                      <a:pt x="0" y="2672"/>
                    </a:lnTo>
                    <a:lnTo>
                      <a:pt x="22" y="2672"/>
                    </a:lnTo>
                    <a:lnTo>
                      <a:pt x="22" y="3432"/>
                    </a:lnTo>
                    <a:lnTo>
                      <a:pt x="23" y="3455"/>
                    </a:lnTo>
                    <a:lnTo>
                      <a:pt x="27" y="3475"/>
                    </a:lnTo>
                    <a:lnTo>
                      <a:pt x="32" y="3492"/>
                    </a:lnTo>
                    <a:lnTo>
                      <a:pt x="41" y="3512"/>
                    </a:lnTo>
                    <a:lnTo>
                      <a:pt x="51" y="3531"/>
                    </a:lnTo>
                    <a:lnTo>
                      <a:pt x="61" y="3547"/>
                    </a:lnTo>
                    <a:lnTo>
                      <a:pt x="75" y="3563"/>
                    </a:lnTo>
                    <a:lnTo>
                      <a:pt x="91" y="3579"/>
                    </a:lnTo>
                    <a:lnTo>
                      <a:pt x="107" y="3592"/>
                    </a:lnTo>
                    <a:lnTo>
                      <a:pt x="123" y="3602"/>
                    </a:lnTo>
                    <a:lnTo>
                      <a:pt x="144" y="3613"/>
                    </a:lnTo>
                    <a:lnTo>
                      <a:pt x="165" y="3623"/>
                    </a:lnTo>
                    <a:lnTo>
                      <a:pt x="187" y="3630"/>
                    </a:lnTo>
                    <a:lnTo>
                      <a:pt x="207" y="3634"/>
                    </a:lnTo>
                    <a:lnTo>
                      <a:pt x="207" y="3634"/>
                    </a:lnTo>
                    <a:lnTo>
                      <a:pt x="230" y="3638"/>
                    </a:lnTo>
                    <a:lnTo>
                      <a:pt x="256" y="3639"/>
                    </a:lnTo>
                    <a:lnTo>
                      <a:pt x="1609" y="3639"/>
                    </a:lnTo>
                    <a:lnTo>
                      <a:pt x="1635" y="3638"/>
                    </a:lnTo>
                    <a:lnTo>
                      <a:pt x="1659" y="3634"/>
                    </a:lnTo>
                    <a:lnTo>
                      <a:pt x="1659" y="3634"/>
                    </a:lnTo>
                    <a:lnTo>
                      <a:pt x="1678" y="3630"/>
                    </a:lnTo>
                    <a:lnTo>
                      <a:pt x="1700" y="3623"/>
                    </a:lnTo>
                    <a:lnTo>
                      <a:pt x="1723" y="3613"/>
                    </a:lnTo>
                    <a:lnTo>
                      <a:pt x="1743" y="3602"/>
                    </a:lnTo>
                    <a:lnTo>
                      <a:pt x="1759" y="3592"/>
                    </a:lnTo>
                    <a:lnTo>
                      <a:pt x="1776" y="3579"/>
                    </a:lnTo>
                    <a:lnTo>
                      <a:pt x="1791" y="3563"/>
                    </a:lnTo>
                    <a:lnTo>
                      <a:pt x="1802" y="3550"/>
                    </a:lnTo>
                    <a:lnTo>
                      <a:pt x="1802" y="3550"/>
                    </a:lnTo>
                    <a:lnTo>
                      <a:pt x="1815" y="3531"/>
                    </a:lnTo>
                    <a:lnTo>
                      <a:pt x="1825" y="3512"/>
                    </a:lnTo>
                    <a:lnTo>
                      <a:pt x="1834" y="3492"/>
                    </a:lnTo>
                    <a:lnTo>
                      <a:pt x="1839" y="3471"/>
                    </a:lnTo>
                    <a:lnTo>
                      <a:pt x="1840" y="3471"/>
                    </a:lnTo>
                    <a:lnTo>
                      <a:pt x="1842" y="3455"/>
                    </a:lnTo>
                    <a:lnTo>
                      <a:pt x="1844" y="3432"/>
                    </a:lnTo>
                    <a:lnTo>
                      <a:pt x="1844" y="229"/>
                    </a:lnTo>
                    <a:lnTo>
                      <a:pt x="1842" y="207"/>
                    </a:lnTo>
                    <a:lnTo>
                      <a:pt x="1840" y="190"/>
                    </a:lnTo>
                    <a:lnTo>
                      <a:pt x="1839" y="190"/>
                    </a:lnTo>
                    <a:lnTo>
                      <a:pt x="1834" y="169"/>
                    </a:lnTo>
                    <a:lnTo>
                      <a:pt x="1825" y="149"/>
                    </a:lnTo>
                    <a:lnTo>
                      <a:pt x="1815" y="130"/>
                    </a:lnTo>
                    <a:lnTo>
                      <a:pt x="1802" y="112"/>
                    </a:lnTo>
                    <a:lnTo>
                      <a:pt x="1802" y="112"/>
                    </a:lnTo>
                    <a:lnTo>
                      <a:pt x="1791" y="98"/>
                    </a:lnTo>
                    <a:lnTo>
                      <a:pt x="1776" y="83"/>
                    </a:lnTo>
                    <a:lnTo>
                      <a:pt x="1758" y="69"/>
                    </a:lnTo>
                    <a:lnTo>
                      <a:pt x="1743" y="59"/>
                    </a:lnTo>
                    <a:lnTo>
                      <a:pt x="1723" y="48"/>
                    </a:lnTo>
                    <a:lnTo>
                      <a:pt x="1700" y="38"/>
                    </a:lnTo>
                    <a:lnTo>
                      <a:pt x="1678" y="31"/>
                    </a:lnTo>
                    <a:lnTo>
                      <a:pt x="1659" y="27"/>
                    </a:lnTo>
                    <a:lnTo>
                      <a:pt x="1659" y="27"/>
                    </a:lnTo>
                    <a:lnTo>
                      <a:pt x="1635" y="23"/>
                    </a:lnTo>
                    <a:lnTo>
                      <a:pt x="1609" y="22"/>
                    </a:lnTo>
                    <a:lnTo>
                      <a:pt x="256" y="22"/>
                    </a:lnTo>
                    <a:lnTo>
                      <a:pt x="230" y="23"/>
                    </a:lnTo>
                    <a:lnTo>
                      <a:pt x="207" y="27"/>
                    </a:lnTo>
                    <a:lnTo>
                      <a:pt x="207" y="27"/>
                    </a:lnTo>
                    <a:lnTo>
                      <a:pt x="187" y="31"/>
                    </a:lnTo>
                    <a:lnTo>
                      <a:pt x="165" y="38"/>
                    </a:lnTo>
                    <a:lnTo>
                      <a:pt x="144" y="48"/>
                    </a:lnTo>
                    <a:lnTo>
                      <a:pt x="123" y="59"/>
                    </a:lnTo>
                    <a:lnTo>
                      <a:pt x="107" y="69"/>
                    </a:lnTo>
                    <a:lnTo>
                      <a:pt x="91" y="83"/>
                    </a:lnTo>
                    <a:lnTo>
                      <a:pt x="75" y="98"/>
                    </a:lnTo>
                    <a:lnTo>
                      <a:pt x="61" y="116"/>
                    </a:lnTo>
                    <a:lnTo>
                      <a:pt x="61" y="116"/>
                    </a:lnTo>
                    <a:lnTo>
                      <a:pt x="51" y="130"/>
                    </a:lnTo>
                    <a:lnTo>
                      <a:pt x="41" y="149"/>
                    </a:lnTo>
                    <a:lnTo>
                      <a:pt x="32" y="169"/>
                    </a:lnTo>
                    <a:lnTo>
                      <a:pt x="27" y="187"/>
                    </a:lnTo>
                    <a:lnTo>
                      <a:pt x="23" y="207"/>
                    </a:lnTo>
                    <a:lnTo>
                      <a:pt x="22" y="229"/>
                    </a:lnTo>
                    <a:lnTo>
                      <a:pt x="22" y="683"/>
                    </a:lnTo>
                    <a:lnTo>
                      <a:pt x="0" y="683"/>
                    </a:lnTo>
                    <a:lnTo>
                      <a:pt x="0" y="229"/>
                    </a:lnTo>
                    <a:lnTo>
                      <a:pt x="1" y="207"/>
                    </a:lnTo>
                    <a:lnTo>
                      <a:pt x="5" y="185"/>
                    </a:lnTo>
                    <a:lnTo>
                      <a:pt x="5" y="181"/>
                    </a:lnTo>
                    <a:lnTo>
                      <a:pt x="11" y="160"/>
                    </a:lnTo>
                    <a:lnTo>
                      <a:pt x="19" y="140"/>
                    </a:lnTo>
                    <a:lnTo>
                      <a:pt x="29" y="121"/>
                    </a:lnTo>
                    <a:lnTo>
                      <a:pt x="42" y="103"/>
                    </a:lnTo>
                    <a:lnTo>
                      <a:pt x="45" y="100"/>
                    </a:lnTo>
                    <a:lnTo>
                      <a:pt x="59" y="82"/>
                    </a:lnTo>
                    <a:lnTo>
                      <a:pt x="75" y="68"/>
                    </a:lnTo>
                    <a:lnTo>
                      <a:pt x="92" y="53"/>
                    </a:lnTo>
                    <a:lnTo>
                      <a:pt x="95" y="51"/>
                    </a:lnTo>
                    <a:lnTo>
                      <a:pt x="114" y="39"/>
                    </a:lnTo>
                    <a:lnTo>
                      <a:pt x="135" y="28"/>
                    </a:lnTo>
                    <a:lnTo>
                      <a:pt x="156" y="18"/>
                    </a:lnTo>
                    <a:lnTo>
                      <a:pt x="178" y="11"/>
                    </a:lnTo>
                    <a:lnTo>
                      <a:pt x="203" y="6"/>
                    </a:lnTo>
                    <a:lnTo>
                      <a:pt x="207" y="5"/>
                    </a:lnTo>
                    <a:lnTo>
                      <a:pt x="230" y="1"/>
                    </a:lnTo>
                    <a:lnTo>
                      <a:pt x="25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25" name="Freeform 744"/>
              <p:cNvSpPr>
                <a:spLocks noEditPoints="1"/>
              </p:cNvSpPr>
              <p:nvPr/>
            </p:nvSpPr>
            <p:spPr bwMode="auto">
              <a:xfrm>
                <a:off x="-1406" y="2967"/>
                <a:ext cx="1164" cy="1013"/>
              </a:xfrm>
              <a:custGeom>
                <a:avLst/>
                <a:gdLst>
                  <a:gd name="T0" fmla="*/ 658 w 2328"/>
                  <a:gd name="T1" fmla="*/ 1666 h 2027"/>
                  <a:gd name="T2" fmla="*/ 591 w 2328"/>
                  <a:gd name="T3" fmla="*/ 1360 h 2027"/>
                  <a:gd name="T4" fmla="*/ 1189 w 2328"/>
                  <a:gd name="T5" fmla="*/ 1445 h 2027"/>
                  <a:gd name="T6" fmla="*/ 709 w 2328"/>
                  <a:gd name="T7" fmla="*/ 1034 h 2027"/>
                  <a:gd name="T8" fmla="*/ 1189 w 2328"/>
                  <a:gd name="T9" fmla="*/ 1600 h 2027"/>
                  <a:gd name="T10" fmla="*/ 535 w 2328"/>
                  <a:gd name="T11" fmla="*/ 1434 h 2027"/>
                  <a:gd name="T12" fmla="*/ 117 w 2328"/>
                  <a:gd name="T13" fmla="*/ 948 h 2027"/>
                  <a:gd name="T14" fmla="*/ 84 w 2328"/>
                  <a:gd name="T15" fmla="*/ 1861 h 2027"/>
                  <a:gd name="T16" fmla="*/ 1635 w 2328"/>
                  <a:gd name="T17" fmla="*/ 1930 h 2027"/>
                  <a:gd name="T18" fmla="*/ 1709 w 2328"/>
                  <a:gd name="T19" fmla="*/ 981 h 2027"/>
                  <a:gd name="T20" fmla="*/ 552 w 2328"/>
                  <a:gd name="T21" fmla="*/ 849 h 2027"/>
                  <a:gd name="T22" fmla="*/ 1726 w 2328"/>
                  <a:gd name="T23" fmla="*/ 780 h 2027"/>
                  <a:gd name="T24" fmla="*/ 1769 w 2328"/>
                  <a:gd name="T25" fmla="*/ 1854 h 2027"/>
                  <a:gd name="T26" fmla="*/ 1176 w 2328"/>
                  <a:gd name="T27" fmla="*/ 2003 h 2027"/>
                  <a:gd name="T28" fmla="*/ 84 w 2328"/>
                  <a:gd name="T29" fmla="*/ 1951 h 2027"/>
                  <a:gd name="T30" fmla="*/ 23 w 2328"/>
                  <a:gd name="T31" fmla="*/ 1192 h 2027"/>
                  <a:gd name="T32" fmla="*/ 62 w 2328"/>
                  <a:gd name="T33" fmla="*/ 773 h 2027"/>
                  <a:gd name="T34" fmla="*/ 1779 w 2328"/>
                  <a:gd name="T35" fmla="*/ 711 h 2027"/>
                  <a:gd name="T36" fmla="*/ 1445 w 2328"/>
                  <a:gd name="T37" fmla="*/ 639 h 2027"/>
                  <a:gd name="T38" fmla="*/ 1811 w 2328"/>
                  <a:gd name="T39" fmla="*/ 585 h 2027"/>
                  <a:gd name="T40" fmla="*/ 1555 w 2328"/>
                  <a:gd name="T41" fmla="*/ 644 h 2027"/>
                  <a:gd name="T42" fmla="*/ 1613 w 2328"/>
                  <a:gd name="T43" fmla="*/ 641 h 2027"/>
                  <a:gd name="T44" fmla="*/ 1680 w 2328"/>
                  <a:gd name="T45" fmla="*/ 645 h 2027"/>
                  <a:gd name="T46" fmla="*/ 1682 w 2328"/>
                  <a:gd name="T47" fmla="*/ 570 h 2027"/>
                  <a:gd name="T48" fmla="*/ 44 w 2328"/>
                  <a:gd name="T49" fmla="*/ 555 h 2027"/>
                  <a:gd name="T50" fmla="*/ 2038 w 2328"/>
                  <a:gd name="T51" fmla="*/ 1361 h 2027"/>
                  <a:gd name="T52" fmla="*/ 2001 w 2328"/>
                  <a:gd name="T53" fmla="*/ 1757 h 2027"/>
                  <a:gd name="T54" fmla="*/ 1867 w 2328"/>
                  <a:gd name="T55" fmla="*/ 1689 h 2027"/>
                  <a:gd name="T56" fmla="*/ 1971 w 2328"/>
                  <a:gd name="T57" fmla="*/ 690 h 2027"/>
                  <a:gd name="T58" fmla="*/ 1875 w 2328"/>
                  <a:gd name="T59" fmla="*/ 615 h 2027"/>
                  <a:gd name="T60" fmla="*/ 62 w 2328"/>
                  <a:gd name="T61" fmla="*/ 523 h 2027"/>
                  <a:gd name="T62" fmla="*/ 1792 w 2328"/>
                  <a:gd name="T63" fmla="*/ 541 h 2027"/>
                  <a:gd name="T64" fmla="*/ 1810 w 2328"/>
                  <a:gd name="T65" fmla="*/ 734 h 2027"/>
                  <a:gd name="T66" fmla="*/ 1598 w 2328"/>
                  <a:gd name="T67" fmla="*/ 698 h 2027"/>
                  <a:gd name="T68" fmla="*/ 124 w 2328"/>
                  <a:gd name="T69" fmla="*/ 670 h 2027"/>
                  <a:gd name="T70" fmla="*/ 46 w 2328"/>
                  <a:gd name="T71" fmla="*/ 600 h 2027"/>
                  <a:gd name="T72" fmla="*/ 113 w 2328"/>
                  <a:gd name="T73" fmla="*/ 488 h 2027"/>
                  <a:gd name="T74" fmla="*/ 1696 w 2328"/>
                  <a:gd name="T75" fmla="*/ 376 h 2027"/>
                  <a:gd name="T76" fmla="*/ 1865 w 2328"/>
                  <a:gd name="T77" fmla="*/ 389 h 2027"/>
                  <a:gd name="T78" fmla="*/ 1932 w 2328"/>
                  <a:gd name="T79" fmla="*/ 392 h 2027"/>
                  <a:gd name="T80" fmla="*/ 1935 w 2328"/>
                  <a:gd name="T81" fmla="*/ 324 h 2027"/>
                  <a:gd name="T82" fmla="*/ 1742 w 2328"/>
                  <a:gd name="T83" fmla="*/ 387 h 2027"/>
                  <a:gd name="T84" fmla="*/ 2238 w 2328"/>
                  <a:gd name="T85" fmla="*/ 278 h 2027"/>
                  <a:gd name="T86" fmla="*/ 2288 w 2328"/>
                  <a:gd name="T87" fmla="*/ 1301 h 2027"/>
                  <a:gd name="T88" fmla="*/ 2127 w 2328"/>
                  <a:gd name="T89" fmla="*/ 1525 h 2027"/>
                  <a:gd name="T90" fmla="*/ 2198 w 2328"/>
                  <a:gd name="T91" fmla="*/ 1223 h 2027"/>
                  <a:gd name="T92" fmla="*/ 2223 w 2328"/>
                  <a:gd name="T93" fmla="*/ 373 h 2027"/>
                  <a:gd name="T94" fmla="*/ 2123 w 2328"/>
                  <a:gd name="T95" fmla="*/ 301 h 2027"/>
                  <a:gd name="T96" fmla="*/ 2062 w 2328"/>
                  <a:gd name="T97" fmla="*/ 486 h 2027"/>
                  <a:gd name="T98" fmla="*/ 1078 w 2328"/>
                  <a:gd name="T99" fmla="*/ 440 h 2027"/>
                  <a:gd name="T100" fmla="*/ 341 w 2328"/>
                  <a:gd name="T101" fmla="*/ 432 h 2027"/>
                  <a:gd name="T102" fmla="*/ 290 w 2328"/>
                  <a:gd name="T103" fmla="*/ 337 h 2027"/>
                  <a:gd name="T104" fmla="*/ 1952 w 2328"/>
                  <a:gd name="T105" fmla="*/ 135 h 2027"/>
                  <a:gd name="T106" fmla="*/ 2195 w 2328"/>
                  <a:gd name="T107" fmla="*/ 66 h 2027"/>
                  <a:gd name="T108" fmla="*/ 2148 w 2328"/>
                  <a:gd name="T109" fmla="*/ 112 h 2027"/>
                  <a:gd name="T110" fmla="*/ 2178 w 2328"/>
                  <a:gd name="T111" fmla="*/ 119 h 2027"/>
                  <a:gd name="T112" fmla="*/ 2213 w 2328"/>
                  <a:gd name="T113" fmla="*/ 69 h 2027"/>
                  <a:gd name="T114" fmla="*/ 2071 w 2328"/>
                  <a:gd name="T115" fmla="*/ 66 h 2027"/>
                  <a:gd name="T116" fmla="*/ 2324 w 2328"/>
                  <a:gd name="T117" fmla="*/ 202 h 2027"/>
                  <a:gd name="T118" fmla="*/ 1614 w 2328"/>
                  <a:gd name="T119" fmla="*/ 191 h 2027"/>
                  <a:gd name="T120" fmla="*/ 577 w 2328"/>
                  <a:gd name="T121" fmla="*/ 184 h 2027"/>
                  <a:gd name="T122" fmla="*/ 518 w 2328"/>
                  <a:gd name="T123" fmla="*/ 106 h 2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8" h="2027">
                    <a:moveTo>
                      <a:pt x="1757" y="1988"/>
                    </a:moveTo>
                    <a:lnTo>
                      <a:pt x="1753" y="1995"/>
                    </a:lnTo>
                    <a:lnTo>
                      <a:pt x="1747" y="2002"/>
                    </a:lnTo>
                    <a:lnTo>
                      <a:pt x="1753" y="1995"/>
                    </a:lnTo>
                    <a:lnTo>
                      <a:pt x="1757" y="1988"/>
                    </a:lnTo>
                    <a:close/>
                    <a:moveTo>
                      <a:pt x="1766" y="1972"/>
                    </a:moveTo>
                    <a:lnTo>
                      <a:pt x="1761" y="1983"/>
                    </a:lnTo>
                    <a:lnTo>
                      <a:pt x="1757" y="1988"/>
                    </a:lnTo>
                    <a:lnTo>
                      <a:pt x="1761" y="1983"/>
                    </a:lnTo>
                    <a:lnTo>
                      <a:pt x="1766" y="1972"/>
                    </a:lnTo>
                    <a:close/>
                    <a:moveTo>
                      <a:pt x="1771" y="1959"/>
                    </a:moveTo>
                    <a:lnTo>
                      <a:pt x="1771" y="1961"/>
                    </a:lnTo>
                    <a:lnTo>
                      <a:pt x="1766" y="1972"/>
                    </a:lnTo>
                    <a:lnTo>
                      <a:pt x="1771" y="1961"/>
                    </a:lnTo>
                    <a:lnTo>
                      <a:pt x="1771" y="1959"/>
                    </a:lnTo>
                    <a:close/>
                    <a:moveTo>
                      <a:pt x="1774" y="1939"/>
                    </a:moveTo>
                    <a:lnTo>
                      <a:pt x="1774" y="1950"/>
                    </a:lnTo>
                    <a:lnTo>
                      <a:pt x="1771" y="1959"/>
                    </a:lnTo>
                    <a:lnTo>
                      <a:pt x="1774" y="1950"/>
                    </a:lnTo>
                    <a:lnTo>
                      <a:pt x="1774" y="1939"/>
                    </a:lnTo>
                    <a:close/>
                    <a:moveTo>
                      <a:pt x="658" y="1666"/>
                    </a:moveTo>
                    <a:lnTo>
                      <a:pt x="695" y="1695"/>
                    </a:lnTo>
                    <a:lnTo>
                      <a:pt x="735" y="1720"/>
                    </a:lnTo>
                    <a:lnTo>
                      <a:pt x="695" y="1695"/>
                    </a:lnTo>
                    <a:lnTo>
                      <a:pt x="658" y="1666"/>
                    </a:lnTo>
                    <a:close/>
                    <a:moveTo>
                      <a:pt x="528" y="1354"/>
                    </a:moveTo>
                    <a:lnTo>
                      <a:pt x="531" y="1408"/>
                    </a:lnTo>
                    <a:lnTo>
                      <a:pt x="532" y="1410"/>
                    </a:lnTo>
                    <a:lnTo>
                      <a:pt x="532" y="1410"/>
                    </a:lnTo>
                    <a:lnTo>
                      <a:pt x="531" y="1408"/>
                    </a:lnTo>
                    <a:lnTo>
                      <a:pt x="528" y="1354"/>
                    </a:lnTo>
                    <a:close/>
                    <a:moveTo>
                      <a:pt x="803" y="1173"/>
                    </a:moveTo>
                    <a:lnTo>
                      <a:pt x="1081" y="1374"/>
                    </a:lnTo>
                    <a:lnTo>
                      <a:pt x="793" y="1562"/>
                    </a:lnTo>
                    <a:lnTo>
                      <a:pt x="803" y="1173"/>
                    </a:lnTo>
                    <a:close/>
                    <a:moveTo>
                      <a:pt x="901" y="1045"/>
                    </a:moveTo>
                    <a:lnTo>
                      <a:pt x="863" y="1049"/>
                    </a:lnTo>
                    <a:lnTo>
                      <a:pt x="824" y="1058"/>
                    </a:lnTo>
                    <a:lnTo>
                      <a:pt x="786" y="1071"/>
                    </a:lnTo>
                    <a:lnTo>
                      <a:pt x="759" y="1082"/>
                    </a:lnTo>
                    <a:lnTo>
                      <a:pt x="734" y="1096"/>
                    </a:lnTo>
                    <a:lnTo>
                      <a:pt x="709" y="1114"/>
                    </a:lnTo>
                    <a:lnTo>
                      <a:pt x="687" y="1134"/>
                    </a:lnTo>
                    <a:lnTo>
                      <a:pt x="661" y="1166"/>
                    </a:lnTo>
                    <a:lnTo>
                      <a:pt x="638" y="1200"/>
                    </a:lnTo>
                    <a:lnTo>
                      <a:pt x="621" y="1237"/>
                    </a:lnTo>
                    <a:lnTo>
                      <a:pt x="608" y="1266"/>
                    </a:lnTo>
                    <a:lnTo>
                      <a:pt x="600" y="1295"/>
                    </a:lnTo>
                    <a:lnTo>
                      <a:pt x="593" y="1326"/>
                    </a:lnTo>
                    <a:lnTo>
                      <a:pt x="591" y="1360"/>
                    </a:lnTo>
                    <a:lnTo>
                      <a:pt x="592" y="1393"/>
                    </a:lnTo>
                    <a:lnTo>
                      <a:pt x="595" y="1426"/>
                    </a:lnTo>
                    <a:lnTo>
                      <a:pt x="602" y="1457"/>
                    </a:lnTo>
                    <a:lnTo>
                      <a:pt x="612" y="1486"/>
                    </a:lnTo>
                    <a:lnTo>
                      <a:pt x="626" y="1524"/>
                    </a:lnTo>
                    <a:lnTo>
                      <a:pt x="646" y="1559"/>
                    </a:lnTo>
                    <a:lnTo>
                      <a:pt x="671" y="1592"/>
                    </a:lnTo>
                    <a:lnTo>
                      <a:pt x="698" y="1619"/>
                    </a:lnTo>
                    <a:lnTo>
                      <a:pt x="729" y="1644"/>
                    </a:lnTo>
                    <a:lnTo>
                      <a:pt x="764" y="1664"/>
                    </a:lnTo>
                    <a:lnTo>
                      <a:pt x="802" y="1679"/>
                    </a:lnTo>
                    <a:lnTo>
                      <a:pt x="840" y="1690"/>
                    </a:lnTo>
                    <a:lnTo>
                      <a:pt x="880" y="1695"/>
                    </a:lnTo>
                    <a:lnTo>
                      <a:pt x="924" y="1693"/>
                    </a:lnTo>
                    <a:lnTo>
                      <a:pt x="964" y="1686"/>
                    </a:lnTo>
                    <a:lnTo>
                      <a:pt x="1003" y="1674"/>
                    </a:lnTo>
                    <a:lnTo>
                      <a:pt x="1038" y="1656"/>
                    </a:lnTo>
                    <a:lnTo>
                      <a:pt x="1070" y="1634"/>
                    </a:lnTo>
                    <a:lnTo>
                      <a:pt x="1101" y="1605"/>
                    </a:lnTo>
                    <a:lnTo>
                      <a:pt x="1122" y="1584"/>
                    </a:lnTo>
                    <a:lnTo>
                      <a:pt x="1141" y="1559"/>
                    </a:lnTo>
                    <a:lnTo>
                      <a:pt x="1157" y="1534"/>
                    </a:lnTo>
                    <a:lnTo>
                      <a:pt x="1168" y="1507"/>
                    </a:lnTo>
                    <a:lnTo>
                      <a:pt x="1180" y="1476"/>
                    </a:lnTo>
                    <a:lnTo>
                      <a:pt x="1189" y="1445"/>
                    </a:lnTo>
                    <a:lnTo>
                      <a:pt x="1195" y="1413"/>
                    </a:lnTo>
                    <a:lnTo>
                      <a:pt x="1197" y="1380"/>
                    </a:lnTo>
                    <a:lnTo>
                      <a:pt x="1199" y="1346"/>
                    </a:lnTo>
                    <a:lnTo>
                      <a:pt x="1196" y="1313"/>
                    </a:lnTo>
                    <a:lnTo>
                      <a:pt x="1189" y="1282"/>
                    </a:lnTo>
                    <a:lnTo>
                      <a:pt x="1181" y="1253"/>
                    </a:lnTo>
                    <a:lnTo>
                      <a:pt x="1164" y="1215"/>
                    </a:lnTo>
                    <a:lnTo>
                      <a:pt x="1142" y="1181"/>
                    </a:lnTo>
                    <a:lnTo>
                      <a:pt x="1118" y="1148"/>
                    </a:lnTo>
                    <a:lnTo>
                      <a:pt x="1089" y="1120"/>
                    </a:lnTo>
                    <a:lnTo>
                      <a:pt x="1058" y="1095"/>
                    </a:lnTo>
                    <a:lnTo>
                      <a:pt x="1024" y="1075"/>
                    </a:lnTo>
                    <a:lnTo>
                      <a:pt x="996" y="1063"/>
                    </a:lnTo>
                    <a:lnTo>
                      <a:pt x="966" y="1054"/>
                    </a:lnTo>
                    <a:lnTo>
                      <a:pt x="935" y="1048"/>
                    </a:lnTo>
                    <a:lnTo>
                      <a:pt x="901" y="1045"/>
                    </a:lnTo>
                    <a:close/>
                    <a:moveTo>
                      <a:pt x="696" y="1043"/>
                    </a:moveTo>
                    <a:lnTo>
                      <a:pt x="686" y="1050"/>
                    </a:lnTo>
                    <a:lnTo>
                      <a:pt x="664" y="1068"/>
                    </a:lnTo>
                    <a:lnTo>
                      <a:pt x="686" y="1050"/>
                    </a:lnTo>
                    <a:lnTo>
                      <a:pt x="696" y="1043"/>
                    </a:lnTo>
                    <a:close/>
                    <a:moveTo>
                      <a:pt x="734" y="1021"/>
                    </a:moveTo>
                    <a:lnTo>
                      <a:pt x="709" y="1034"/>
                    </a:lnTo>
                    <a:lnTo>
                      <a:pt x="696" y="1043"/>
                    </a:lnTo>
                    <a:lnTo>
                      <a:pt x="709" y="1034"/>
                    </a:lnTo>
                    <a:lnTo>
                      <a:pt x="734" y="1021"/>
                    </a:lnTo>
                    <a:close/>
                    <a:moveTo>
                      <a:pt x="868" y="982"/>
                    </a:moveTo>
                    <a:lnTo>
                      <a:pt x="905" y="983"/>
                    </a:lnTo>
                    <a:lnTo>
                      <a:pt x="943" y="985"/>
                    </a:lnTo>
                    <a:lnTo>
                      <a:pt x="979" y="991"/>
                    </a:lnTo>
                    <a:lnTo>
                      <a:pt x="1015" y="1001"/>
                    </a:lnTo>
                    <a:lnTo>
                      <a:pt x="1050" y="1015"/>
                    </a:lnTo>
                    <a:lnTo>
                      <a:pt x="1080" y="1031"/>
                    </a:lnTo>
                    <a:lnTo>
                      <a:pt x="1109" y="1051"/>
                    </a:lnTo>
                    <a:lnTo>
                      <a:pt x="1137" y="1074"/>
                    </a:lnTo>
                    <a:lnTo>
                      <a:pt x="1162" y="1103"/>
                    </a:lnTo>
                    <a:lnTo>
                      <a:pt x="1186" y="1131"/>
                    </a:lnTo>
                    <a:lnTo>
                      <a:pt x="1207" y="1161"/>
                    </a:lnTo>
                    <a:lnTo>
                      <a:pt x="1226" y="1193"/>
                    </a:lnTo>
                    <a:lnTo>
                      <a:pt x="1240" y="1229"/>
                    </a:lnTo>
                    <a:lnTo>
                      <a:pt x="1251" y="1265"/>
                    </a:lnTo>
                    <a:lnTo>
                      <a:pt x="1258" y="1303"/>
                    </a:lnTo>
                    <a:lnTo>
                      <a:pt x="1261" y="1342"/>
                    </a:lnTo>
                    <a:lnTo>
                      <a:pt x="1260" y="1383"/>
                    </a:lnTo>
                    <a:lnTo>
                      <a:pt x="1258" y="1422"/>
                    </a:lnTo>
                    <a:lnTo>
                      <a:pt x="1252" y="1459"/>
                    </a:lnTo>
                    <a:lnTo>
                      <a:pt x="1242" y="1497"/>
                    </a:lnTo>
                    <a:lnTo>
                      <a:pt x="1228" y="1533"/>
                    </a:lnTo>
                    <a:lnTo>
                      <a:pt x="1210" y="1568"/>
                    </a:lnTo>
                    <a:lnTo>
                      <a:pt x="1189" y="1600"/>
                    </a:lnTo>
                    <a:lnTo>
                      <a:pt x="1167" y="1630"/>
                    </a:lnTo>
                    <a:lnTo>
                      <a:pt x="1141" y="1656"/>
                    </a:lnTo>
                    <a:lnTo>
                      <a:pt x="1117" y="1679"/>
                    </a:lnTo>
                    <a:lnTo>
                      <a:pt x="1088" y="1700"/>
                    </a:lnTo>
                    <a:lnTo>
                      <a:pt x="1056" y="1718"/>
                    </a:lnTo>
                    <a:lnTo>
                      <a:pt x="1021" y="1734"/>
                    </a:lnTo>
                    <a:lnTo>
                      <a:pt x="988" y="1747"/>
                    </a:lnTo>
                    <a:lnTo>
                      <a:pt x="953" y="1756"/>
                    </a:lnTo>
                    <a:lnTo>
                      <a:pt x="916" y="1760"/>
                    </a:lnTo>
                    <a:lnTo>
                      <a:pt x="878" y="1763"/>
                    </a:lnTo>
                    <a:lnTo>
                      <a:pt x="843" y="1757"/>
                    </a:lnTo>
                    <a:lnTo>
                      <a:pt x="806" y="1749"/>
                    </a:lnTo>
                    <a:lnTo>
                      <a:pt x="770" y="1738"/>
                    </a:lnTo>
                    <a:lnTo>
                      <a:pt x="737" y="1724"/>
                    </a:lnTo>
                    <a:lnTo>
                      <a:pt x="697" y="1698"/>
                    </a:lnTo>
                    <a:lnTo>
                      <a:pt x="659" y="1669"/>
                    </a:lnTo>
                    <a:lnTo>
                      <a:pt x="625" y="1636"/>
                    </a:lnTo>
                    <a:lnTo>
                      <a:pt x="605" y="1608"/>
                    </a:lnTo>
                    <a:lnTo>
                      <a:pt x="585" y="1578"/>
                    </a:lnTo>
                    <a:lnTo>
                      <a:pt x="567" y="1545"/>
                    </a:lnTo>
                    <a:lnTo>
                      <a:pt x="553" y="1511"/>
                    </a:lnTo>
                    <a:lnTo>
                      <a:pt x="540" y="1462"/>
                    </a:lnTo>
                    <a:lnTo>
                      <a:pt x="532" y="1411"/>
                    </a:lnTo>
                    <a:lnTo>
                      <a:pt x="532" y="1410"/>
                    </a:lnTo>
                    <a:lnTo>
                      <a:pt x="535" y="1434"/>
                    </a:lnTo>
                    <a:lnTo>
                      <a:pt x="538" y="1459"/>
                    </a:lnTo>
                    <a:lnTo>
                      <a:pt x="553" y="1508"/>
                    </a:lnTo>
                    <a:lnTo>
                      <a:pt x="538" y="1459"/>
                    </a:lnTo>
                    <a:lnTo>
                      <a:pt x="535" y="1434"/>
                    </a:lnTo>
                    <a:lnTo>
                      <a:pt x="532" y="1410"/>
                    </a:lnTo>
                    <a:lnTo>
                      <a:pt x="528" y="1356"/>
                    </a:lnTo>
                    <a:lnTo>
                      <a:pt x="533" y="1317"/>
                    </a:lnTo>
                    <a:lnTo>
                      <a:pt x="541" y="1281"/>
                    </a:lnTo>
                    <a:lnTo>
                      <a:pt x="552" y="1244"/>
                    </a:lnTo>
                    <a:lnTo>
                      <a:pt x="566" y="1211"/>
                    </a:lnTo>
                    <a:lnTo>
                      <a:pt x="582" y="1176"/>
                    </a:lnTo>
                    <a:lnTo>
                      <a:pt x="600" y="1144"/>
                    </a:lnTo>
                    <a:lnTo>
                      <a:pt x="622" y="1114"/>
                    </a:lnTo>
                    <a:lnTo>
                      <a:pt x="647" y="1089"/>
                    </a:lnTo>
                    <a:lnTo>
                      <a:pt x="666" y="1068"/>
                    </a:lnTo>
                    <a:lnTo>
                      <a:pt x="688" y="1050"/>
                    </a:lnTo>
                    <a:lnTo>
                      <a:pt x="712" y="1034"/>
                    </a:lnTo>
                    <a:lnTo>
                      <a:pt x="736" y="1020"/>
                    </a:lnTo>
                    <a:lnTo>
                      <a:pt x="762" y="1007"/>
                    </a:lnTo>
                    <a:lnTo>
                      <a:pt x="797" y="995"/>
                    </a:lnTo>
                    <a:lnTo>
                      <a:pt x="833" y="987"/>
                    </a:lnTo>
                    <a:lnTo>
                      <a:pt x="864" y="983"/>
                    </a:lnTo>
                    <a:lnTo>
                      <a:pt x="868" y="982"/>
                    </a:lnTo>
                    <a:close/>
                    <a:moveTo>
                      <a:pt x="120" y="839"/>
                    </a:moveTo>
                    <a:lnTo>
                      <a:pt x="117" y="948"/>
                    </a:lnTo>
                    <a:lnTo>
                      <a:pt x="113" y="1050"/>
                    </a:lnTo>
                    <a:lnTo>
                      <a:pt x="110" y="1143"/>
                    </a:lnTo>
                    <a:lnTo>
                      <a:pt x="107" y="1229"/>
                    </a:lnTo>
                    <a:lnTo>
                      <a:pt x="104" y="1309"/>
                    </a:lnTo>
                    <a:lnTo>
                      <a:pt x="101" y="1380"/>
                    </a:lnTo>
                    <a:lnTo>
                      <a:pt x="99" y="1445"/>
                    </a:lnTo>
                    <a:lnTo>
                      <a:pt x="97" y="1505"/>
                    </a:lnTo>
                    <a:lnTo>
                      <a:pt x="95" y="1558"/>
                    </a:lnTo>
                    <a:lnTo>
                      <a:pt x="93" y="1606"/>
                    </a:lnTo>
                    <a:lnTo>
                      <a:pt x="92" y="1648"/>
                    </a:lnTo>
                    <a:lnTo>
                      <a:pt x="91" y="1686"/>
                    </a:lnTo>
                    <a:lnTo>
                      <a:pt x="90" y="1718"/>
                    </a:lnTo>
                    <a:lnTo>
                      <a:pt x="89" y="1747"/>
                    </a:lnTo>
                    <a:lnTo>
                      <a:pt x="88" y="1771"/>
                    </a:lnTo>
                    <a:lnTo>
                      <a:pt x="87" y="1792"/>
                    </a:lnTo>
                    <a:lnTo>
                      <a:pt x="87" y="1809"/>
                    </a:lnTo>
                    <a:lnTo>
                      <a:pt x="85" y="1824"/>
                    </a:lnTo>
                    <a:lnTo>
                      <a:pt x="85" y="1835"/>
                    </a:lnTo>
                    <a:lnTo>
                      <a:pt x="85" y="1844"/>
                    </a:lnTo>
                    <a:lnTo>
                      <a:pt x="85" y="1850"/>
                    </a:lnTo>
                    <a:lnTo>
                      <a:pt x="85" y="1855"/>
                    </a:lnTo>
                    <a:lnTo>
                      <a:pt x="84" y="1858"/>
                    </a:lnTo>
                    <a:lnTo>
                      <a:pt x="84" y="1860"/>
                    </a:lnTo>
                    <a:lnTo>
                      <a:pt x="84" y="1860"/>
                    </a:lnTo>
                    <a:lnTo>
                      <a:pt x="84" y="1861"/>
                    </a:lnTo>
                    <a:lnTo>
                      <a:pt x="84" y="1861"/>
                    </a:lnTo>
                    <a:lnTo>
                      <a:pt x="221" y="1867"/>
                    </a:lnTo>
                    <a:lnTo>
                      <a:pt x="350" y="1872"/>
                    </a:lnTo>
                    <a:lnTo>
                      <a:pt x="470" y="1878"/>
                    </a:lnTo>
                    <a:lnTo>
                      <a:pt x="583" y="1884"/>
                    </a:lnTo>
                    <a:lnTo>
                      <a:pt x="688" y="1888"/>
                    </a:lnTo>
                    <a:lnTo>
                      <a:pt x="787" y="1892"/>
                    </a:lnTo>
                    <a:lnTo>
                      <a:pt x="879" y="1897"/>
                    </a:lnTo>
                    <a:lnTo>
                      <a:pt x="964" y="1900"/>
                    </a:lnTo>
                    <a:lnTo>
                      <a:pt x="1042" y="1903"/>
                    </a:lnTo>
                    <a:lnTo>
                      <a:pt x="1116" y="1907"/>
                    </a:lnTo>
                    <a:lnTo>
                      <a:pt x="1183" y="1910"/>
                    </a:lnTo>
                    <a:lnTo>
                      <a:pt x="1245" y="1912"/>
                    </a:lnTo>
                    <a:lnTo>
                      <a:pt x="1300" y="1915"/>
                    </a:lnTo>
                    <a:lnTo>
                      <a:pt x="1351" y="1918"/>
                    </a:lnTo>
                    <a:lnTo>
                      <a:pt x="1398" y="1919"/>
                    </a:lnTo>
                    <a:lnTo>
                      <a:pt x="1439" y="1921"/>
                    </a:lnTo>
                    <a:lnTo>
                      <a:pt x="1477" y="1923"/>
                    </a:lnTo>
                    <a:lnTo>
                      <a:pt x="1510" y="1925"/>
                    </a:lnTo>
                    <a:lnTo>
                      <a:pt x="1539" y="1926"/>
                    </a:lnTo>
                    <a:lnTo>
                      <a:pt x="1564" y="1927"/>
                    </a:lnTo>
                    <a:lnTo>
                      <a:pt x="1586" y="1928"/>
                    </a:lnTo>
                    <a:lnTo>
                      <a:pt x="1605" y="1929"/>
                    </a:lnTo>
                    <a:lnTo>
                      <a:pt x="1622" y="1929"/>
                    </a:lnTo>
                    <a:lnTo>
                      <a:pt x="1635" y="1930"/>
                    </a:lnTo>
                    <a:lnTo>
                      <a:pt x="1645" y="1930"/>
                    </a:lnTo>
                    <a:lnTo>
                      <a:pt x="1654" y="1931"/>
                    </a:lnTo>
                    <a:lnTo>
                      <a:pt x="1662" y="1931"/>
                    </a:lnTo>
                    <a:lnTo>
                      <a:pt x="1666" y="1931"/>
                    </a:lnTo>
                    <a:lnTo>
                      <a:pt x="1671" y="1931"/>
                    </a:lnTo>
                    <a:lnTo>
                      <a:pt x="1673" y="1931"/>
                    </a:lnTo>
                    <a:lnTo>
                      <a:pt x="1674" y="1931"/>
                    </a:lnTo>
                    <a:lnTo>
                      <a:pt x="1675" y="1931"/>
                    </a:lnTo>
                    <a:lnTo>
                      <a:pt x="1675" y="1931"/>
                    </a:lnTo>
                    <a:lnTo>
                      <a:pt x="1675" y="1932"/>
                    </a:lnTo>
                    <a:lnTo>
                      <a:pt x="1679" y="1822"/>
                    </a:lnTo>
                    <a:lnTo>
                      <a:pt x="1683" y="1721"/>
                    </a:lnTo>
                    <a:lnTo>
                      <a:pt x="1686" y="1627"/>
                    </a:lnTo>
                    <a:lnTo>
                      <a:pt x="1689" y="1541"/>
                    </a:lnTo>
                    <a:lnTo>
                      <a:pt x="1692" y="1461"/>
                    </a:lnTo>
                    <a:lnTo>
                      <a:pt x="1694" y="1388"/>
                    </a:lnTo>
                    <a:lnTo>
                      <a:pt x="1696" y="1321"/>
                    </a:lnTo>
                    <a:lnTo>
                      <a:pt x="1699" y="1261"/>
                    </a:lnTo>
                    <a:lnTo>
                      <a:pt x="1701" y="1205"/>
                    </a:lnTo>
                    <a:lnTo>
                      <a:pt x="1702" y="1156"/>
                    </a:lnTo>
                    <a:lnTo>
                      <a:pt x="1704" y="1112"/>
                    </a:lnTo>
                    <a:lnTo>
                      <a:pt x="1705" y="1073"/>
                    </a:lnTo>
                    <a:lnTo>
                      <a:pt x="1706" y="1038"/>
                    </a:lnTo>
                    <a:lnTo>
                      <a:pt x="1708" y="1008"/>
                    </a:lnTo>
                    <a:lnTo>
                      <a:pt x="1709" y="981"/>
                    </a:lnTo>
                    <a:lnTo>
                      <a:pt x="1710" y="959"/>
                    </a:lnTo>
                    <a:lnTo>
                      <a:pt x="1710" y="940"/>
                    </a:lnTo>
                    <a:lnTo>
                      <a:pt x="1711" y="923"/>
                    </a:lnTo>
                    <a:lnTo>
                      <a:pt x="1711" y="911"/>
                    </a:lnTo>
                    <a:lnTo>
                      <a:pt x="1711" y="900"/>
                    </a:lnTo>
                    <a:lnTo>
                      <a:pt x="1712" y="892"/>
                    </a:lnTo>
                    <a:lnTo>
                      <a:pt x="1712" y="886"/>
                    </a:lnTo>
                    <a:lnTo>
                      <a:pt x="1712" y="881"/>
                    </a:lnTo>
                    <a:lnTo>
                      <a:pt x="1712" y="879"/>
                    </a:lnTo>
                    <a:lnTo>
                      <a:pt x="1712" y="877"/>
                    </a:lnTo>
                    <a:lnTo>
                      <a:pt x="1712" y="876"/>
                    </a:lnTo>
                    <a:lnTo>
                      <a:pt x="1712" y="876"/>
                    </a:lnTo>
                    <a:lnTo>
                      <a:pt x="1712" y="876"/>
                    </a:lnTo>
                    <a:lnTo>
                      <a:pt x="1575" y="872"/>
                    </a:lnTo>
                    <a:lnTo>
                      <a:pt x="1448" y="870"/>
                    </a:lnTo>
                    <a:lnTo>
                      <a:pt x="1327" y="867"/>
                    </a:lnTo>
                    <a:lnTo>
                      <a:pt x="1213" y="864"/>
                    </a:lnTo>
                    <a:lnTo>
                      <a:pt x="1108" y="861"/>
                    </a:lnTo>
                    <a:lnTo>
                      <a:pt x="1009" y="859"/>
                    </a:lnTo>
                    <a:lnTo>
                      <a:pt x="917" y="857"/>
                    </a:lnTo>
                    <a:lnTo>
                      <a:pt x="833" y="856"/>
                    </a:lnTo>
                    <a:lnTo>
                      <a:pt x="753" y="853"/>
                    </a:lnTo>
                    <a:lnTo>
                      <a:pt x="681" y="851"/>
                    </a:lnTo>
                    <a:lnTo>
                      <a:pt x="613" y="850"/>
                    </a:lnTo>
                    <a:lnTo>
                      <a:pt x="552" y="849"/>
                    </a:lnTo>
                    <a:lnTo>
                      <a:pt x="495" y="848"/>
                    </a:lnTo>
                    <a:lnTo>
                      <a:pt x="444" y="847"/>
                    </a:lnTo>
                    <a:lnTo>
                      <a:pt x="399" y="846"/>
                    </a:lnTo>
                    <a:lnTo>
                      <a:pt x="356" y="845"/>
                    </a:lnTo>
                    <a:lnTo>
                      <a:pt x="320" y="843"/>
                    </a:lnTo>
                    <a:lnTo>
                      <a:pt x="286" y="842"/>
                    </a:lnTo>
                    <a:lnTo>
                      <a:pt x="256" y="842"/>
                    </a:lnTo>
                    <a:lnTo>
                      <a:pt x="231" y="841"/>
                    </a:lnTo>
                    <a:lnTo>
                      <a:pt x="209" y="841"/>
                    </a:lnTo>
                    <a:lnTo>
                      <a:pt x="190" y="840"/>
                    </a:lnTo>
                    <a:lnTo>
                      <a:pt x="174" y="840"/>
                    </a:lnTo>
                    <a:lnTo>
                      <a:pt x="161" y="840"/>
                    </a:lnTo>
                    <a:lnTo>
                      <a:pt x="150" y="839"/>
                    </a:lnTo>
                    <a:lnTo>
                      <a:pt x="141" y="839"/>
                    </a:lnTo>
                    <a:lnTo>
                      <a:pt x="134" y="839"/>
                    </a:lnTo>
                    <a:lnTo>
                      <a:pt x="129" y="839"/>
                    </a:lnTo>
                    <a:lnTo>
                      <a:pt x="125" y="839"/>
                    </a:lnTo>
                    <a:lnTo>
                      <a:pt x="123" y="839"/>
                    </a:lnTo>
                    <a:lnTo>
                      <a:pt x="121" y="839"/>
                    </a:lnTo>
                    <a:lnTo>
                      <a:pt x="121" y="839"/>
                    </a:lnTo>
                    <a:lnTo>
                      <a:pt x="120" y="839"/>
                    </a:lnTo>
                    <a:lnTo>
                      <a:pt x="120" y="839"/>
                    </a:lnTo>
                    <a:close/>
                    <a:moveTo>
                      <a:pt x="120" y="749"/>
                    </a:moveTo>
                    <a:lnTo>
                      <a:pt x="1712" y="781"/>
                    </a:lnTo>
                    <a:lnTo>
                      <a:pt x="1726" y="780"/>
                    </a:lnTo>
                    <a:lnTo>
                      <a:pt x="1740" y="783"/>
                    </a:lnTo>
                    <a:lnTo>
                      <a:pt x="1752" y="787"/>
                    </a:lnTo>
                    <a:lnTo>
                      <a:pt x="1760" y="793"/>
                    </a:lnTo>
                    <a:lnTo>
                      <a:pt x="1769" y="800"/>
                    </a:lnTo>
                    <a:lnTo>
                      <a:pt x="1776" y="806"/>
                    </a:lnTo>
                    <a:lnTo>
                      <a:pt x="1797" y="837"/>
                    </a:lnTo>
                    <a:lnTo>
                      <a:pt x="1799" y="850"/>
                    </a:lnTo>
                    <a:lnTo>
                      <a:pt x="1801" y="863"/>
                    </a:lnTo>
                    <a:lnTo>
                      <a:pt x="1802" y="876"/>
                    </a:lnTo>
                    <a:lnTo>
                      <a:pt x="1799" y="985"/>
                    </a:lnTo>
                    <a:lnTo>
                      <a:pt x="1795" y="1088"/>
                    </a:lnTo>
                    <a:lnTo>
                      <a:pt x="1792" y="1182"/>
                    </a:lnTo>
                    <a:lnTo>
                      <a:pt x="1789" y="1269"/>
                    </a:lnTo>
                    <a:lnTo>
                      <a:pt x="1786" y="1348"/>
                    </a:lnTo>
                    <a:lnTo>
                      <a:pt x="1783" y="1423"/>
                    </a:lnTo>
                    <a:lnTo>
                      <a:pt x="1781" y="1489"/>
                    </a:lnTo>
                    <a:lnTo>
                      <a:pt x="1779" y="1550"/>
                    </a:lnTo>
                    <a:lnTo>
                      <a:pt x="1777" y="1606"/>
                    </a:lnTo>
                    <a:lnTo>
                      <a:pt x="1775" y="1655"/>
                    </a:lnTo>
                    <a:lnTo>
                      <a:pt x="1774" y="1699"/>
                    </a:lnTo>
                    <a:lnTo>
                      <a:pt x="1773" y="1739"/>
                    </a:lnTo>
                    <a:lnTo>
                      <a:pt x="1772" y="1774"/>
                    </a:lnTo>
                    <a:lnTo>
                      <a:pt x="1771" y="1805"/>
                    </a:lnTo>
                    <a:lnTo>
                      <a:pt x="1770" y="1831"/>
                    </a:lnTo>
                    <a:lnTo>
                      <a:pt x="1769" y="1854"/>
                    </a:lnTo>
                    <a:lnTo>
                      <a:pt x="1767" y="1874"/>
                    </a:lnTo>
                    <a:lnTo>
                      <a:pt x="1767" y="1889"/>
                    </a:lnTo>
                    <a:lnTo>
                      <a:pt x="1767" y="1902"/>
                    </a:lnTo>
                    <a:lnTo>
                      <a:pt x="1766" y="1912"/>
                    </a:lnTo>
                    <a:lnTo>
                      <a:pt x="1766" y="1921"/>
                    </a:lnTo>
                    <a:lnTo>
                      <a:pt x="1766" y="1927"/>
                    </a:lnTo>
                    <a:lnTo>
                      <a:pt x="1766" y="1931"/>
                    </a:lnTo>
                    <a:lnTo>
                      <a:pt x="1766" y="1935"/>
                    </a:lnTo>
                    <a:lnTo>
                      <a:pt x="1766" y="1936"/>
                    </a:lnTo>
                    <a:lnTo>
                      <a:pt x="1766" y="1937"/>
                    </a:lnTo>
                    <a:lnTo>
                      <a:pt x="1766" y="1938"/>
                    </a:lnTo>
                    <a:lnTo>
                      <a:pt x="1766" y="1938"/>
                    </a:lnTo>
                    <a:lnTo>
                      <a:pt x="1765" y="1949"/>
                    </a:lnTo>
                    <a:lnTo>
                      <a:pt x="1763" y="1960"/>
                    </a:lnTo>
                    <a:lnTo>
                      <a:pt x="1759" y="1972"/>
                    </a:lnTo>
                    <a:lnTo>
                      <a:pt x="1753" y="1983"/>
                    </a:lnTo>
                    <a:lnTo>
                      <a:pt x="1746" y="1995"/>
                    </a:lnTo>
                    <a:lnTo>
                      <a:pt x="1740" y="2002"/>
                    </a:lnTo>
                    <a:lnTo>
                      <a:pt x="1709" y="2022"/>
                    </a:lnTo>
                    <a:lnTo>
                      <a:pt x="1695" y="2024"/>
                    </a:lnTo>
                    <a:lnTo>
                      <a:pt x="1676" y="2027"/>
                    </a:lnTo>
                    <a:lnTo>
                      <a:pt x="1539" y="2020"/>
                    </a:lnTo>
                    <a:lnTo>
                      <a:pt x="1410" y="2014"/>
                    </a:lnTo>
                    <a:lnTo>
                      <a:pt x="1289" y="2009"/>
                    </a:lnTo>
                    <a:lnTo>
                      <a:pt x="1176" y="2003"/>
                    </a:lnTo>
                    <a:lnTo>
                      <a:pt x="1070" y="1998"/>
                    </a:lnTo>
                    <a:lnTo>
                      <a:pt x="971" y="1993"/>
                    </a:lnTo>
                    <a:lnTo>
                      <a:pt x="879" y="1989"/>
                    </a:lnTo>
                    <a:lnTo>
                      <a:pt x="793" y="1986"/>
                    </a:lnTo>
                    <a:lnTo>
                      <a:pt x="714" y="1981"/>
                    </a:lnTo>
                    <a:lnTo>
                      <a:pt x="641" y="1978"/>
                    </a:lnTo>
                    <a:lnTo>
                      <a:pt x="574" y="1975"/>
                    </a:lnTo>
                    <a:lnTo>
                      <a:pt x="512" y="1972"/>
                    </a:lnTo>
                    <a:lnTo>
                      <a:pt x="455" y="1969"/>
                    </a:lnTo>
                    <a:lnTo>
                      <a:pt x="404" y="1967"/>
                    </a:lnTo>
                    <a:lnTo>
                      <a:pt x="357" y="1965"/>
                    </a:lnTo>
                    <a:lnTo>
                      <a:pt x="316" y="1962"/>
                    </a:lnTo>
                    <a:lnTo>
                      <a:pt x="279" y="1961"/>
                    </a:lnTo>
                    <a:lnTo>
                      <a:pt x="245" y="1959"/>
                    </a:lnTo>
                    <a:lnTo>
                      <a:pt x="216" y="1958"/>
                    </a:lnTo>
                    <a:lnTo>
                      <a:pt x="191" y="1957"/>
                    </a:lnTo>
                    <a:lnTo>
                      <a:pt x="169" y="1956"/>
                    </a:lnTo>
                    <a:lnTo>
                      <a:pt x="150" y="1955"/>
                    </a:lnTo>
                    <a:lnTo>
                      <a:pt x="133" y="1953"/>
                    </a:lnTo>
                    <a:lnTo>
                      <a:pt x="120" y="1953"/>
                    </a:lnTo>
                    <a:lnTo>
                      <a:pt x="109" y="1952"/>
                    </a:lnTo>
                    <a:lnTo>
                      <a:pt x="100" y="1952"/>
                    </a:lnTo>
                    <a:lnTo>
                      <a:pt x="93" y="1952"/>
                    </a:lnTo>
                    <a:lnTo>
                      <a:pt x="88" y="1951"/>
                    </a:lnTo>
                    <a:lnTo>
                      <a:pt x="84" y="1951"/>
                    </a:lnTo>
                    <a:lnTo>
                      <a:pt x="82" y="1951"/>
                    </a:lnTo>
                    <a:lnTo>
                      <a:pt x="80" y="1951"/>
                    </a:lnTo>
                    <a:lnTo>
                      <a:pt x="80" y="1951"/>
                    </a:lnTo>
                    <a:lnTo>
                      <a:pt x="79" y="1951"/>
                    </a:lnTo>
                    <a:lnTo>
                      <a:pt x="79" y="1951"/>
                    </a:lnTo>
                    <a:lnTo>
                      <a:pt x="68" y="1951"/>
                    </a:lnTo>
                    <a:lnTo>
                      <a:pt x="58" y="1948"/>
                    </a:lnTo>
                    <a:lnTo>
                      <a:pt x="50" y="1943"/>
                    </a:lnTo>
                    <a:lnTo>
                      <a:pt x="40" y="1938"/>
                    </a:lnTo>
                    <a:lnTo>
                      <a:pt x="30" y="1929"/>
                    </a:lnTo>
                    <a:lnTo>
                      <a:pt x="19" y="1920"/>
                    </a:lnTo>
                    <a:lnTo>
                      <a:pt x="14" y="1913"/>
                    </a:lnTo>
                    <a:lnTo>
                      <a:pt x="10" y="1903"/>
                    </a:lnTo>
                    <a:lnTo>
                      <a:pt x="4" y="1893"/>
                    </a:lnTo>
                    <a:lnTo>
                      <a:pt x="3" y="1881"/>
                    </a:lnTo>
                    <a:lnTo>
                      <a:pt x="1" y="1867"/>
                    </a:lnTo>
                    <a:lnTo>
                      <a:pt x="0" y="1855"/>
                    </a:lnTo>
                    <a:lnTo>
                      <a:pt x="3" y="1746"/>
                    </a:lnTo>
                    <a:lnTo>
                      <a:pt x="8" y="1645"/>
                    </a:lnTo>
                    <a:lnTo>
                      <a:pt x="11" y="1553"/>
                    </a:lnTo>
                    <a:lnTo>
                      <a:pt x="13" y="1466"/>
                    </a:lnTo>
                    <a:lnTo>
                      <a:pt x="17" y="1388"/>
                    </a:lnTo>
                    <a:lnTo>
                      <a:pt x="19" y="1316"/>
                    </a:lnTo>
                    <a:lnTo>
                      <a:pt x="21" y="1251"/>
                    </a:lnTo>
                    <a:lnTo>
                      <a:pt x="23" y="1192"/>
                    </a:lnTo>
                    <a:lnTo>
                      <a:pt x="26" y="1140"/>
                    </a:lnTo>
                    <a:lnTo>
                      <a:pt x="27" y="1092"/>
                    </a:lnTo>
                    <a:lnTo>
                      <a:pt x="29" y="1050"/>
                    </a:lnTo>
                    <a:lnTo>
                      <a:pt x="30" y="1012"/>
                    </a:lnTo>
                    <a:lnTo>
                      <a:pt x="31" y="980"/>
                    </a:lnTo>
                    <a:lnTo>
                      <a:pt x="32" y="951"/>
                    </a:lnTo>
                    <a:lnTo>
                      <a:pt x="33" y="928"/>
                    </a:lnTo>
                    <a:lnTo>
                      <a:pt x="33" y="907"/>
                    </a:lnTo>
                    <a:lnTo>
                      <a:pt x="34" y="890"/>
                    </a:lnTo>
                    <a:lnTo>
                      <a:pt x="34" y="876"/>
                    </a:lnTo>
                    <a:lnTo>
                      <a:pt x="36" y="864"/>
                    </a:lnTo>
                    <a:lnTo>
                      <a:pt x="36" y="856"/>
                    </a:lnTo>
                    <a:lnTo>
                      <a:pt x="36" y="849"/>
                    </a:lnTo>
                    <a:lnTo>
                      <a:pt x="36" y="845"/>
                    </a:lnTo>
                    <a:lnTo>
                      <a:pt x="36" y="841"/>
                    </a:lnTo>
                    <a:lnTo>
                      <a:pt x="36" y="839"/>
                    </a:lnTo>
                    <a:lnTo>
                      <a:pt x="36" y="839"/>
                    </a:lnTo>
                    <a:lnTo>
                      <a:pt x="36" y="838"/>
                    </a:lnTo>
                    <a:lnTo>
                      <a:pt x="36" y="838"/>
                    </a:lnTo>
                    <a:lnTo>
                      <a:pt x="37" y="827"/>
                    </a:lnTo>
                    <a:lnTo>
                      <a:pt x="39" y="816"/>
                    </a:lnTo>
                    <a:lnTo>
                      <a:pt x="43" y="803"/>
                    </a:lnTo>
                    <a:lnTo>
                      <a:pt x="48" y="793"/>
                    </a:lnTo>
                    <a:lnTo>
                      <a:pt x="53" y="785"/>
                    </a:lnTo>
                    <a:lnTo>
                      <a:pt x="62" y="773"/>
                    </a:lnTo>
                    <a:lnTo>
                      <a:pt x="71" y="767"/>
                    </a:lnTo>
                    <a:lnTo>
                      <a:pt x="79" y="761"/>
                    </a:lnTo>
                    <a:lnTo>
                      <a:pt x="88" y="759"/>
                    </a:lnTo>
                    <a:lnTo>
                      <a:pt x="99" y="753"/>
                    </a:lnTo>
                    <a:lnTo>
                      <a:pt x="109" y="751"/>
                    </a:lnTo>
                    <a:lnTo>
                      <a:pt x="120" y="749"/>
                    </a:lnTo>
                    <a:close/>
                    <a:moveTo>
                      <a:pt x="1802" y="724"/>
                    </a:moveTo>
                    <a:lnTo>
                      <a:pt x="1804" y="727"/>
                    </a:lnTo>
                    <a:lnTo>
                      <a:pt x="1805" y="729"/>
                    </a:lnTo>
                    <a:lnTo>
                      <a:pt x="1807" y="730"/>
                    </a:lnTo>
                    <a:lnTo>
                      <a:pt x="1810" y="734"/>
                    </a:lnTo>
                    <a:lnTo>
                      <a:pt x="1807" y="730"/>
                    </a:lnTo>
                    <a:lnTo>
                      <a:pt x="1805" y="729"/>
                    </a:lnTo>
                    <a:lnTo>
                      <a:pt x="1804" y="727"/>
                    </a:lnTo>
                    <a:lnTo>
                      <a:pt x="1802" y="724"/>
                    </a:lnTo>
                    <a:close/>
                    <a:moveTo>
                      <a:pt x="1785" y="715"/>
                    </a:moveTo>
                    <a:lnTo>
                      <a:pt x="1792" y="717"/>
                    </a:lnTo>
                    <a:lnTo>
                      <a:pt x="1799" y="721"/>
                    </a:lnTo>
                    <a:lnTo>
                      <a:pt x="1792" y="717"/>
                    </a:lnTo>
                    <a:lnTo>
                      <a:pt x="1785" y="715"/>
                    </a:lnTo>
                    <a:close/>
                    <a:moveTo>
                      <a:pt x="1759" y="702"/>
                    </a:moveTo>
                    <a:lnTo>
                      <a:pt x="1765" y="706"/>
                    </a:lnTo>
                    <a:lnTo>
                      <a:pt x="1770" y="708"/>
                    </a:lnTo>
                    <a:lnTo>
                      <a:pt x="1772" y="708"/>
                    </a:lnTo>
                    <a:lnTo>
                      <a:pt x="1779" y="711"/>
                    </a:lnTo>
                    <a:lnTo>
                      <a:pt x="1772" y="708"/>
                    </a:lnTo>
                    <a:lnTo>
                      <a:pt x="1770" y="708"/>
                    </a:lnTo>
                    <a:lnTo>
                      <a:pt x="1765" y="706"/>
                    </a:lnTo>
                    <a:lnTo>
                      <a:pt x="1759" y="702"/>
                    </a:lnTo>
                    <a:close/>
                    <a:moveTo>
                      <a:pt x="1735" y="700"/>
                    </a:moveTo>
                    <a:lnTo>
                      <a:pt x="1735" y="700"/>
                    </a:lnTo>
                    <a:lnTo>
                      <a:pt x="1741" y="702"/>
                    </a:lnTo>
                    <a:lnTo>
                      <a:pt x="1743" y="702"/>
                    </a:lnTo>
                    <a:lnTo>
                      <a:pt x="1743" y="702"/>
                    </a:lnTo>
                    <a:lnTo>
                      <a:pt x="1741" y="702"/>
                    </a:lnTo>
                    <a:lnTo>
                      <a:pt x="1735" y="700"/>
                    </a:lnTo>
                    <a:close/>
                    <a:moveTo>
                      <a:pt x="1369" y="621"/>
                    </a:moveTo>
                    <a:lnTo>
                      <a:pt x="1368" y="627"/>
                    </a:lnTo>
                    <a:lnTo>
                      <a:pt x="1367" y="631"/>
                    </a:lnTo>
                    <a:lnTo>
                      <a:pt x="1367" y="634"/>
                    </a:lnTo>
                    <a:lnTo>
                      <a:pt x="1366" y="636"/>
                    </a:lnTo>
                    <a:lnTo>
                      <a:pt x="1366" y="637"/>
                    </a:lnTo>
                    <a:lnTo>
                      <a:pt x="1366" y="638"/>
                    </a:lnTo>
                    <a:lnTo>
                      <a:pt x="1366" y="638"/>
                    </a:lnTo>
                    <a:lnTo>
                      <a:pt x="1366" y="638"/>
                    </a:lnTo>
                    <a:lnTo>
                      <a:pt x="1393" y="639"/>
                    </a:lnTo>
                    <a:lnTo>
                      <a:pt x="1414" y="639"/>
                    </a:lnTo>
                    <a:lnTo>
                      <a:pt x="1429" y="639"/>
                    </a:lnTo>
                    <a:lnTo>
                      <a:pt x="1439" y="639"/>
                    </a:lnTo>
                    <a:lnTo>
                      <a:pt x="1445" y="639"/>
                    </a:lnTo>
                    <a:lnTo>
                      <a:pt x="1449" y="639"/>
                    </a:lnTo>
                    <a:lnTo>
                      <a:pt x="1450" y="639"/>
                    </a:lnTo>
                    <a:lnTo>
                      <a:pt x="1450" y="639"/>
                    </a:lnTo>
                    <a:lnTo>
                      <a:pt x="1449" y="634"/>
                    </a:lnTo>
                    <a:lnTo>
                      <a:pt x="1449" y="629"/>
                    </a:lnTo>
                    <a:lnTo>
                      <a:pt x="1448" y="627"/>
                    </a:lnTo>
                    <a:lnTo>
                      <a:pt x="1448" y="625"/>
                    </a:lnTo>
                    <a:lnTo>
                      <a:pt x="1448" y="624"/>
                    </a:lnTo>
                    <a:lnTo>
                      <a:pt x="1448" y="623"/>
                    </a:lnTo>
                    <a:lnTo>
                      <a:pt x="1448" y="623"/>
                    </a:lnTo>
                    <a:lnTo>
                      <a:pt x="1448" y="623"/>
                    </a:lnTo>
                    <a:lnTo>
                      <a:pt x="1422" y="623"/>
                    </a:lnTo>
                    <a:lnTo>
                      <a:pt x="1402" y="621"/>
                    </a:lnTo>
                    <a:lnTo>
                      <a:pt x="1388" y="621"/>
                    </a:lnTo>
                    <a:lnTo>
                      <a:pt x="1379" y="621"/>
                    </a:lnTo>
                    <a:lnTo>
                      <a:pt x="1373" y="621"/>
                    </a:lnTo>
                    <a:lnTo>
                      <a:pt x="1370" y="621"/>
                    </a:lnTo>
                    <a:lnTo>
                      <a:pt x="1369" y="621"/>
                    </a:lnTo>
                    <a:lnTo>
                      <a:pt x="1369" y="621"/>
                    </a:lnTo>
                    <a:close/>
                    <a:moveTo>
                      <a:pt x="1811" y="585"/>
                    </a:moveTo>
                    <a:lnTo>
                      <a:pt x="1812" y="594"/>
                    </a:lnTo>
                    <a:lnTo>
                      <a:pt x="1812" y="595"/>
                    </a:lnTo>
                    <a:lnTo>
                      <a:pt x="1812" y="595"/>
                    </a:lnTo>
                    <a:lnTo>
                      <a:pt x="1812" y="594"/>
                    </a:lnTo>
                    <a:lnTo>
                      <a:pt x="1811" y="585"/>
                    </a:lnTo>
                    <a:close/>
                    <a:moveTo>
                      <a:pt x="1806" y="573"/>
                    </a:moveTo>
                    <a:lnTo>
                      <a:pt x="1811" y="584"/>
                    </a:lnTo>
                    <a:lnTo>
                      <a:pt x="1811" y="585"/>
                    </a:lnTo>
                    <a:lnTo>
                      <a:pt x="1811" y="584"/>
                    </a:lnTo>
                    <a:lnTo>
                      <a:pt x="1806" y="573"/>
                    </a:lnTo>
                    <a:close/>
                    <a:moveTo>
                      <a:pt x="1559" y="569"/>
                    </a:moveTo>
                    <a:lnTo>
                      <a:pt x="1537" y="569"/>
                    </a:lnTo>
                    <a:lnTo>
                      <a:pt x="1520" y="570"/>
                    </a:lnTo>
                    <a:lnTo>
                      <a:pt x="1509" y="570"/>
                    </a:lnTo>
                    <a:lnTo>
                      <a:pt x="1502" y="570"/>
                    </a:lnTo>
                    <a:lnTo>
                      <a:pt x="1499" y="570"/>
                    </a:lnTo>
                    <a:lnTo>
                      <a:pt x="1498" y="570"/>
                    </a:lnTo>
                    <a:lnTo>
                      <a:pt x="1498" y="570"/>
                    </a:lnTo>
                    <a:lnTo>
                      <a:pt x="1497" y="596"/>
                    </a:lnTo>
                    <a:lnTo>
                      <a:pt x="1495" y="615"/>
                    </a:lnTo>
                    <a:lnTo>
                      <a:pt x="1495" y="627"/>
                    </a:lnTo>
                    <a:lnTo>
                      <a:pt x="1495" y="634"/>
                    </a:lnTo>
                    <a:lnTo>
                      <a:pt x="1494" y="638"/>
                    </a:lnTo>
                    <a:lnTo>
                      <a:pt x="1494" y="639"/>
                    </a:lnTo>
                    <a:lnTo>
                      <a:pt x="1494" y="639"/>
                    </a:lnTo>
                    <a:lnTo>
                      <a:pt x="1518" y="641"/>
                    </a:lnTo>
                    <a:lnTo>
                      <a:pt x="1534" y="641"/>
                    </a:lnTo>
                    <a:lnTo>
                      <a:pt x="1545" y="642"/>
                    </a:lnTo>
                    <a:lnTo>
                      <a:pt x="1552" y="642"/>
                    </a:lnTo>
                    <a:lnTo>
                      <a:pt x="1555" y="644"/>
                    </a:lnTo>
                    <a:lnTo>
                      <a:pt x="1557" y="644"/>
                    </a:lnTo>
                    <a:lnTo>
                      <a:pt x="1557" y="644"/>
                    </a:lnTo>
                    <a:lnTo>
                      <a:pt x="1558" y="618"/>
                    </a:lnTo>
                    <a:lnTo>
                      <a:pt x="1558" y="600"/>
                    </a:lnTo>
                    <a:lnTo>
                      <a:pt x="1559" y="587"/>
                    </a:lnTo>
                    <a:lnTo>
                      <a:pt x="1559" y="578"/>
                    </a:lnTo>
                    <a:lnTo>
                      <a:pt x="1559" y="573"/>
                    </a:lnTo>
                    <a:lnTo>
                      <a:pt x="1559" y="570"/>
                    </a:lnTo>
                    <a:lnTo>
                      <a:pt x="1559" y="569"/>
                    </a:lnTo>
                    <a:close/>
                    <a:moveTo>
                      <a:pt x="1614" y="567"/>
                    </a:moveTo>
                    <a:lnTo>
                      <a:pt x="1625" y="581"/>
                    </a:lnTo>
                    <a:lnTo>
                      <a:pt x="1634" y="591"/>
                    </a:lnTo>
                    <a:lnTo>
                      <a:pt x="1640" y="599"/>
                    </a:lnTo>
                    <a:lnTo>
                      <a:pt x="1644" y="604"/>
                    </a:lnTo>
                    <a:lnTo>
                      <a:pt x="1646" y="607"/>
                    </a:lnTo>
                    <a:lnTo>
                      <a:pt x="1648" y="608"/>
                    </a:lnTo>
                    <a:lnTo>
                      <a:pt x="1648" y="609"/>
                    </a:lnTo>
                    <a:lnTo>
                      <a:pt x="1648" y="609"/>
                    </a:lnTo>
                    <a:lnTo>
                      <a:pt x="1635" y="621"/>
                    </a:lnTo>
                    <a:lnTo>
                      <a:pt x="1625" y="630"/>
                    </a:lnTo>
                    <a:lnTo>
                      <a:pt x="1620" y="636"/>
                    </a:lnTo>
                    <a:lnTo>
                      <a:pt x="1615" y="639"/>
                    </a:lnTo>
                    <a:lnTo>
                      <a:pt x="1613" y="641"/>
                    </a:lnTo>
                    <a:lnTo>
                      <a:pt x="1613" y="641"/>
                    </a:lnTo>
                    <a:lnTo>
                      <a:pt x="1613" y="641"/>
                    </a:lnTo>
                    <a:lnTo>
                      <a:pt x="1623" y="640"/>
                    </a:lnTo>
                    <a:lnTo>
                      <a:pt x="1630" y="640"/>
                    </a:lnTo>
                    <a:lnTo>
                      <a:pt x="1633" y="639"/>
                    </a:lnTo>
                    <a:lnTo>
                      <a:pt x="1634" y="639"/>
                    </a:lnTo>
                    <a:lnTo>
                      <a:pt x="1635" y="639"/>
                    </a:lnTo>
                    <a:lnTo>
                      <a:pt x="1645" y="630"/>
                    </a:lnTo>
                    <a:lnTo>
                      <a:pt x="1653" y="625"/>
                    </a:lnTo>
                    <a:lnTo>
                      <a:pt x="1658" y="621"/>
                    </a:lnTo>
                    <a:lnTo>
                      <a:pt x="1660" y="619"/>
                    </a:lnTo>
                    <a:lnTo>
                      <a:pt x="1660" y="619"/>
                    </a:lnTo>
                    <a:lnTo>
                      <a:pt x="1660" y="619"/>
                    </a:lnTo>
                    <a:lnTo>
                      <a:pt x="1663" y="623"/>
                    </a:lnTo>
                    <a:lnTo>
                      <a:pt x="1664" y="626"/>
                    </a:lnTo>
                    <a:lnTo>
                      <a:pt x="1666" y="627"/>
                    </a:lnTo>
                    <a:lnTo>
                      <a:pt x="1666" y="628"/>
                    </a:lnTo>
                    <a:lnTo>
                      <a:pt x="1668" y="629"/>
                    </a:lnTo>
                    <a:lnTo>
                      <a:pt x="1668" y="629"/>
                    </a:lnTo>
                    <a:lnTo>
                      <a:pt x="1668" y="629"/>
                    </a:lnTo>
                    <a:lnTo>
                      <a:pt x="1671" y="634"/>
                    </a:lnTo>
                    <a:lnTo>
                      <a:pt x="1674" y="638"/>
                    </a:lnTo>
                    <a:lnTo>
                      <a:pt x="1676" y="640"/>
                    </a:lnTo>
                    <a:lnTo>
                      <a:pt x="1678" y="642"/>
                    </a:lnTo>
                    <a:lnTo>
                      <a:pt x="1679" y="644"/>
                    </a:lnTo>
                    <a:lnTo>
                      <a:pt x="1680" y="645"/>
                    </a:lnTo>
                    <a:lnTo>
                      <a:pt x="1680" y="645"/>
                    </a:lnTo>
                    <a:lnTo>
                      <a:pt x="1680" y="645"/>
                    </a:lnTo>
                    <a:lnTo>
                      <a:pt x="1680" y="645"/>
                    </a:lnTo>
                    <a:lnTo>
                      <a:pt x="1691" y="644"/>
                    </a:lnTo>
                    <a:lnTo>
                      <a:pt x="1698" y="642"/>
                    </a:lnTo>
                    <a:lnTo>
                      <a:pt x="1701" y="642"/>
                    </a:lnTo>
                    <a:lnTo>
                      <a:pt x="1702" y="642"/>
                    </a:lnTo>
                    <a:lnTo>
                      <a:pt x="1702" y="642"/>
                    </a:lnTo>
                    <a:lnTo>
                      <a:pt x="1691" y="629"/>
                    </a:lnTo>
                    <a:lnTo>
                      <a:pt x="1682" y="619"/>
                    </a:lnTo>
                    <a:lnTo>
                      <a:pt x="1676" y="613"/>
                    </a:lnTo>
                    <a:lnTo>
                      <a:pt x="1672" y="609"/>
                    </a:lnTo>
                    <a:lnTo>
                      <a:pt x="1671" y="607"/>
                    </a:lnTo>
                    <a:lnTo>
                      <a:pt x="1670" y="606"/>
                    </a:lnTo>
                    <a:lnTo>
                      <a:pt x="1670" y="606"/>
                    </a:lnTo>
                    <a:lnTo>
                      <a:pt x="1683" y="594"/>
                    </a:lnTo>
                    <a:lnTo>
                      <a:pt x="1692" y="586"/>
                    </a:lnTo>
                    <a:lnTo>
                      <a:pt x="1699" y="579"/>
                    </a:lnTo>
                    <a:lnTo>
                      <a:pt x="1702" y="576"/>
                    </a:lnTo>
                    <a:lnTo>
                      <a:pt x="1704" y="574"/>
                    </a:lnTo>
                    <a:lnTo>
                      <a:pt x="1705" y="574"/>
                    </a:lnTo>
                    <a:lnTo>
                      <a:pt x="1705" y="574"/>
                    </a:lnTo>
                    <a:lnTo>
                      <a:pt x="1694" y="573"/>
                    </a:lnTo>
                    <a:lnTo>
                      <a:pt x="1688" y="571"/>
                    </a:lnTo>
                    <a:lnTo>
                      <a:pt x="1684" y="570"/>
                    </a:lnTo>
                    <a:lnTo>
                      <a:pt x="1682" y="570"/>
                    </a:lnTo>
                    <a:lnTo>
                      <a:pt x="1682" y="570"/>
                    </a:lnTo>
                    <a:lnTo>
                      <a:pt x="1672" y="581"/>
                    </a:lnTo>
                    <a:lnTo>
                      <a:pt x="1665" y="589"/>
                    </a:lnTo>
                    <a:lnTo>
                      <a:pt x="1661" y="594"/>
                    </a:lnTo>
                    <a:lnTo>
                      <a:pt x="1659" y="596"/>
                    </a:lnTo>
                    <a:lnTo>
                      <a:pt x="1658" y="596"/>
                    </a:lnTo>
                    <a:lnTo>
                      <a:pt x="1658" y="596"/>
                    </a:lnTo>
                    <a:lnTo>
                      <a:pt x="1649" y="586"/>
                    </a:lnTo>
                    <a:lnTo>
                      <a:pt x="1643" y="578"/>
                    </a:lnTo>
                    <a:lnTo>
                      <a:pt x="1640" y="574"/>
                    </a:lnTo>
                    <a:lnTo>
                      <a:pt x="1639" y="571"/>
                    </a:lnTo>
                    <a:lnTo>
                      <a:pt x="1638" y="570"/>
                    </a:lnTo>
                    <a:lnTo>
                      <a:pt x="1638" y="570"/>
                    </a:lnTo>
                    <a:lnTo>
                      <a:pt x="1626" y="569"/>
                    </a:lnTo>
                    <a:lnTo>
                      <a:pt x="1620" y="568"/>
                    </a:lnTo>
                    <a:lnTo>
                      <a:pt x="1616" y="568"/>
                    </a:lnTo>
                    <a:lnTo>
                      <a:pt x="1615" y="567"/>
                    </a:lnTo>
                    <a:lnTo>
                      <a:pt x="1614" y="567"/>
                    </a:lnTo>
                    <a:close/>
                    <a:moveTo>
                      <a:pt x="1803" y="558"/>
                    </a:moveTo>
                    <a:lnTo>
                      <a:pt x="1803" y="559"/>
                    </a:lnTo>
                    <a:lnTo>
                      <a:pt x="1806" y="573"/>
                    </a:lnTo>
                    <a:lnTo>
                      <a:pt x="1803" y="559"/>
                    </a:lnTo>
                    <a:lnTo>
                      <a:pt x="1803" y="558"/>
                    </a:lnTo>
                    <a:lnTo>
                      <a:pt x="1803" y="558"/>
                    </a:lnTo>
                    <a:close/>
                    <a:moveTo>
                      <a:pt x="44" y="555"/>
                    </a:moveTo>
                    <a:lnTo>
                      <a:pt x="42" y="568"/>
                    </a:lnTo>
                    <a:lnTo>
                      <a:pt x="39" y="580"/>
                    </a:lnTo>
                    <a:lnTo>
                      <a:pt x="42" y="568"/>
                    </a:lnTo>
                    <a:lnTo>
                      <a:pt x="44" y="555"/>
                    </a:lnTo>
                    <a:close/>
                    <a:moveTo>
                      <a:pt x="1972" y="530"/>
                    </a:moveTo>
                    <a:lnTo>
                      <a:pt x="1982" y="533"/>
                    </a:lnTo>
                    <a:lnTo>
                      <a:pt x="1992" y="534"/>
                    </a:lnTo>
                    <a:lnTo>
                      <a:pt x="2001" y="537"/>
                    </a:lnTo>
                    <a:lnTo>
                      <a:pt x="2007" y="543"/>
                    </a:lnTo>
                    <a:lnTo>
                      <a:pt x="2019" y="547"/>
                    </a:lnTo>
                    <a:lnTo>
                      <a:pt x="2029" y="553"/>
                    </a:lnTo>
                    <a:lnTo>
                      <a:pt x="2038" y="561"/>
                    </a:lnTo>
                    <a:lnTo>
                      <a:pt x="2059" y="593"/>
                    </a:lnTo>
                    <a:lnTo>
                      <a:pt x="2061" y="604"/>
                    </a:lnTo>
                    <a:lnTo>
                      <a:pt x="2062" y="616"/>
                    </a:lnTo>
                    <a:lnTo>
                      <a:pt x="2064" y="630"/>
                    </a:lnTo>
                    <a:lnTo>
                      <a:pt x="2061" y="740"/>
                    </a:lnTo>
                    <a:lnTo>
                      <a:pt x="2056" y="842"/>
                    </a:lnTo>
                    <a:lnTo>
                      <a:pt x="2053" y="937"/>
                    </a:lnTo>
                    <a:lnTo>
                      <a:pt x="2049" y="1023"/>
                    </a:lnTo>
                    <a:lnTo>
                      <a:pt x="2047" y="1103"/>
                    </a:lnTo>
                    <a:lnTo>
                      <a:pt x="2044" y="1178"/>
                    </a:lnTo>
                    <a:lnTo>
                      <a:pt x="2042" y="1244"/>
                    </a:lnTo>
                    <a:lnTo>
                      <a:pt x="2039" y="1305"/>
                    </a:lnTo>
                    <a:lnTo>
                      <a:pt x="2038" y="1361"/>
                    </a:lnTo>
                    <a:lnTo>
                      <a:pt x="2036" y="1410"/>
                    </a:lnTo>
                    <a:lnTo>
                      <a:pt x="2035" y="1454"/>
                    </a:lnTo>
                    <a:lnTo>
                      <a:pt x="2033" y="1494"/>
                    </a:lnTo>
                    <a:lnTo>
                      <a:pt x="2032" y="1528"/>
                    </a:lnTo>
                    <a:lnTo>
                      <a:pt x="2031" y="1559"/>
                    </a:lnTo>
                    <a:lnTo>
                      <a:pt x="2029" y="1586"/>
                    </a:lnTo>
                    <a:lnTo>
                      <a:pt x="2029" y="1608"/>
                    </a:lnTo>
                    <a:lnTo>
                      <a:pt x="2028" y="1627"/>
                    </a:lnTo>
                    <a:lnTo>
                      <a:pt x="2028" y="1644"/>
                    </a:lnTo>
                    <a:lnTo>
                      <a:pt x="2027" y="1657"/>
                    </a:lnTo>
                    <a:lnTo>
                      <a:pt x="2027" y="1667"/>
                    </a:lnTo>
                    <a:lnTo>
                      <a:pt x="2027" y="1675"/>
                    </a:lnTo>
                    <a:lnTo>
                      <a:pt x="2026" y="1681"/>
                    </a:lnTo>
                    <a:lnTo>
                      <a:pt x="2026" y="1686"/>
                    </a:lnTo>
                    <a:lnTo>
                      <a:pt x="2026" y="1689"/>
                    </a:lnTo>
                    <a:lnTo>
                      <a:pt x="2026" y="1690"/>
                    </a:lnTo>
                    <a:lnTo>
                      <a:pt x="2026" y="1691"/>
                    </a:lnTo>
                    <a:lnTo>
                      <a:pt x="2026" y="1691"/>
                    </a:lnTo>
                    <a:lnTo>
                      <a:pt x="2026" y="1691"/>
                    </a:lnTo>
                    <a:lnTo>
                      <a:pt x="2026" y="1707"/>
                    </a:lnTo>
                    <a:lnTo>
                      <a:pt x="2024" y="1720"/>
                    </a:lnTo>
                    <a:lnTo>
                      <a:pt x="2019" y="1731"/>
                    </a:lnTo>
                    <a:lnTo>
                      <a:pt x="2014" y="1743"/>
                    </a:lnTo>
                    <a:lnTo>
                      <a:pt x="2006" y="1750"/>
                    </a:lnTo>
                    <a:lnTo>
                      <a:pt x="2001" y="1757"/>
                    </a:lnTo>
                    <a:lnTo>
                      <a:pt x="1991" y="1767"/>
                    </a:lnTo>
                    <a:lnTo>
                      <a:pt x="1980" y="1774"/>
                    </a:lnTo>
                    <a:lnTo>
                      <a:pt x="1968" y="1777"/>
                    </a:lnTo>
                    <a:lnTo>
                      <a:pt x="1957" y="1782"/>
                    </a:lnTo>
                    <a:lnTo>
                      <a:pt x="1943" y="1786"/>
                    </a:lnTo>
                    <a:lnTo>
                      <a:pt x="1931" y="1788"/>
                    </a:lnTo>
                    <a:lnTo>
                      <a:pt x="1903" y="1786"/>
                    </a:lnTo>
                    <a:lnTo>
                      <a:pt x="1882" y="1785"/>
                    </a:lnTo>
                    <a:lnTo>
                      <a:pt x="1866" y="1784"/>
                    </a:lnTo>
                    <a:lnTo>
                      <a:pt x="1855" y="1784"/>
                    </a:lnTo>
                    <a:lnTo>
                      <a:pt x="1847" y="1782"/>
                    </a:lnTo>
                    <a:lnTo>
                      <a:pt x="1843" y="1782"/>
                    </a:lnTo>
                    <a:lnTo>
                      <a:pt x="1841" y="1782"/>
                    </a:lnTo>
                    <a:lnTo>
                      <a:pt x="1840" y="1782"/>
                    </a:lnTo>
                    <a:lnTo>
                      <a:pt x="1840" y="1782"/>
                    </a:lnTo>
                    <a:lnTo>
                      <a:pt x="1840" y="1754"/>
                    </a:lnTo>
                    <a:lnTo>
                      <a:pt x="1839" y="1733"/>
                    </a:lnTo>
                    <a:lnTo>
                      <a:pt x="1839" y="1716"/>
                    </a:lnTo>
                    <a:lnTo>
                      <a:pt x="1839" y="1704"/>
                    </a:lnTo>
                    <a:lnTo>
                      <a:pt x="1839" y="1696"/>
                    </a:lnTo>
                    <a:lnTo>
                      <a:pt x="1839" y="1690"/>
                    </a:lnTo>
                    <a:lnTo>
                      <a:pt x="1839" y="1688"/>
                    </a:lnTo>
                    <a:lnTo>
                      <a:pt x="1839" y="1687"/>
                    </a:lnTo>
                    <a:lnTo>
                      <a:pt x="1839" y="1687"/>
                    </a:lnTo>
                    <a:lnTo>
                      <a:pt x="1867" y="1689"/>
                    </a:lnTo>
                    <a:lnTo>
                      <a:pt x="1890" y="1690"/>
                    </a:lnTo>
                    <a:lnTo>
                      <a:pt x="1907" y="1690"/>
                    </a:lnTo>
                    <a:lnTo>
                      <a:pt x="1918" y="1691"/>
                    </a:lnTo>
                    <a:lnTo>
                      <a:pt x="1927" y="1691"/>
                    </a:lnTo>
                    <a:lnTo>
                      <a:pt x="1932" y="1691"/>
                    </a:lnTo>
                    <a:lnTo>
                      <a:pt x="1934" y="1691"/>
                    </a:lnTo>
                    <a:lnTo>
                      <a:pt x="1935" y="1693"/>
                    </a:lnTo>
                    <a:lnTo>
                      <a:pt x="1935" y="1693"/>
                    </a:lnTo>
                    <a:lnTo>
                      <a:pt x="1940" y="1582"/>
                    </a:lnTo>
                    <a:lnTo>
                      <a:pt x="1943" y="1479"/>
                    </a:lnTo>
                    <a:lnTo>
                      <a:pt x="1946" y="1385"/>
                    </a:lnTo>
                    <a:lnTo>
                      <a:pt x="1950" y="1297"/>
                    </a:lnTo>
                    <a:lnTo>
                      <a:pt x="1952" y="1216"/>
                    </a:lnTo>
                    <a:lnTo>
                      <a:pt x="1955" y="1143"/>
                    </a:lnTo>
                    <a:lnTo>
                      <a:pt x="1957" y="1075"/>
                    </a:lnTo>
                    <a:lnTo>
                      <a:pt x="1960" y="1014"/>
                    </a:lnTo>
                    <a:lnTo>
                      <a:pt x="1961" y="959"/>
                    </a:lnTo>
                    <a:lnTo>
                      <a:pt x="1963" y="909"/>
                    </a:lnTo>
                    <a:lnTo>
                      <a:pt x="1964" y="863"/>
                    </a:lnTo>
                    <a:lnTo>
                      <a:pt x="1966" y="825"/>
                    </a:lnTo>
                    <a:lnTo>
                      <a:pt x="1967" y="789"/>
                    </a:lnTo>
                    <a:lnTo>
                      <a:pt x="1968" y="759"/>
                    </a:lnTo>
                    <a:lnTo>
                      <a:pt x="1970" y="732"/>
                    </a:lnTo>
                    <a:lnTo>
                      <a:pt x="1970" y="709"/>
                    </a:lnTo>
                    <a:lnTo>
                      <a:pt x="1971" y="690"/>
                    </a:lnTo>
                    <a:lnTo>
                      <a:pt x="1971" y="674"/>
                    </a:lnTo>
                    <a:lnTo>
                      <a:pt x="1972" y="660"/>
                    </a:lnTo>
                    <a:lnTo>
                      <a:pt x="1972" y="650"/>
                    </a:lnTo>
                    <a:lnTo>
                      <a:pt x="1972" y="641"/>
                    </a:lnTo>
                    <a:lnTo>
                      <a:pt x="1973" y="636"/>
                    </a:lnTo>
                    <a:lnTo>
                      <a:pt x="1973" y="631"/>
                    </a:lnTo>
                    <a:lnTo>
                      <a:pt x="1973" y="628"/>
                    </a:lnTo>
                    <a:lnTo>
                      <a:pt x="1973" y="627"/>
                    </a:lnTo>
                    <a:lnTo>
                      <a:pt x="1973" y="626"/>
                    </a:lnTo>
                    <a:lnTo>
                      <a:pt x="1973" y="625"/>
                    </a:lnTo>
                    <a:lnTo>
                      <a:pt x="1973" y="625"/>
                    </a:lnTo>
                    <a:lnTo>
                      <a:pt x="1944" y="626"/>
                    </a:lnTo>
                    <a:lnTo>
                      <a:pt x="1922" y="626"/>
                    </a:lnTo>
                    <a:lnTo>
                      <a:pt x="1905" y="626"/>
                    </a:lnTo>
                    <a:lnTo>
                      <a:pt x="1893" y="626"/>
                    </a:lnTo>
                    <a:lnTo>
                      <a:pt x="1885" y="626"/>
                    </a:lnTo>
                    <a:lnTo>
                      <a:pt x="1881" y="626"/>
                    </a:lnTo>
                    <a:lnTo>
                      <a:pt x="1877" y="626"/>
                    </a:lnTo>
                    <a:lnTo>
                      <a:pt x="1876" y="626"/>
                    </a:lnTo>
                    <a:lnTo>
                      <a:pt x="1876" y="626"/>
                    </a:lnTo>
                    <a:lnTo>
                      <a:pt x="1876" y="621"/>
                    </a:lnTo>
                    <a:lnTo>
                      <a:pt x="1875" y="618"/>
                    </a:lnTo>
                    <a:lnTo>
                      <a:pt x="1875" y="616"/>
                    </a:lnTo>
                    <a:lnTo>
                      <a:pt x="1875" y="615"/>
                    </a:lnTo>
                    <a:lnTo>
                      <a:pt x="1875" y="615"/>
                    </a:lnTo>
                    <a:lnTo>
                      <a:pt x="1875" y="615"/>
                    </a:lnTo>
                    <a:lnTo>
                      <a:pt x="1878" y="605"/>
                    </a:lnTo>
                    <a:lnTo>
                      <a:pt x="1878" y="598"/>
                    </a:lnTo>
                    <a:lnTo>
                      <a:pt x="1878" y="593"/>
                    </a:lnTo>
                    <a:lnTo>
                      <a:pt x="1877" y="583"/>
                    </a:lnTo>
                    <a:lnTo>
                      <a:pt x="1876" y="576"/>
                    </a:lnTo>
                    <a:lnTo>
                      <a:pt x="1875" y="570"/>
                    </a:lnTo>
                    <a:lnTo>
                      <a:pt x="1871" y="564"/>
                    </a:lnTo>
                    <a:lnTo>
                      <a:pt x="1868" y="556"/>
                    </a:lnTo>
                    <a:lnTo>
                      <a:pt x="1867" y="549"/>
                    </a:lnTo>
                    <a:lnTo>
                      <a:pt x="1866" y="546"/>
                    </a:lnTo>
                    <a:lnTo>
                      <a:pt x="1864" y="543"/>
                    </a:lnTo>
                    <a:lnTo>
                      <a:pt x="1862" y="539"/>
                    </a:lnTo>
                    <a:lnTo>
                      <a:pt x="1861" y="536"/>
                    </a:lnTo>
                    <a:lnTo>
                      <a:pt x="1860" y="533"/>
                    </a:lnTo>
                    <a:lnTo>
                      <a:pt x="1972" y="530"/>
                    </a:lnTo>
                    <a:close/>
                    <a:moveTo>
                      <a:pt x="57" y="528"/>
                    </a:moveTo>
                    <a:lnTo>
                      <a:pt x="53" y="531"/>
                    </a:lnTo>
                    <a:lnTo>
                      <a:pt x="48" y="543"/>
                    </a:lnTo>
                    <a:lnTo>
                      <a:pt x="53" y="531"/>
                    </a:lnTo>
                    <a:lnTo>
                      <a:pt x="57" y="528"/>
                    </a:lnTo>
                    <a:close/>
                    <a:moveTo>
                      <a:pt x="69" y="516"/>
                    </a:moveTo>
                    <a:lnTo>
                      <a:pt x="62" y="523"/>
                    </a:lnTo>
                    <a:lnTo>
                      <a:pt x="57" y="528"/>
                    </a:lnTo>
                    <a:lnTo>
                      <a:pt x="62" y="523"/>
                    </a:lnTo>
                    <a:lnTo>
                      <a:pt x="69" y="516"/>
                    </a:lnTo>
                    <a:close/>
                    <a:moveTo>
                      <a:pt x="1729" y="512"/>
                    </a:moveTo>
                    <a:lnTo>
                      <a:pt x="1740" y="512"/>
                    </a:lnTo>
                    <a:lnTo>
                      <a:pt x="1751" y="515"/>
                    </a:lnTo>
                    <a:lnTo>
                      <a:pt x="1740" y="512"/>
                    </a:lnTo>
                    <a:lnTo>
                      <a:pt x="1729" y="512"/>
                    </a:lnTo>
                    <a:close/>
                    <a:moveTo>
                      <a:pt x="87" y="500"/>
                    </a:moveTo>
                    <a:lnTo>
                      <a:pt x="87" y="500"/>
                    </a:lnTo>
                    <a:lnTo>
                      <a:pt x="80" y="504"/>
                    </a:lnTo>
                    <a:lnTo>
                      <a:pt x="87" y="500"/>
                    </a:lnTo>
                    <a:close/>
                    <a:moveTo>
                      <a:pt x="135" y="484"/>
                    </a:moveTo>
                    <a:lnTo>
                      <a:pt x="137" y="484"/>
                    </a:lnTo>
                    <a:lnTo>
                      <a:pt x="1725" y="508"/>
                    </a:lnTo>
                    <a:lnTo>
                      <a:pt x="1736" y="508"/>
                    </a:lnTo>
                    <a:lnTo>
                      <a:pt x="1747" y="512"/>
                    </a:lnTo>
                    <a:lnTo>
                      <a:pt x="1760" y="515"/>
                    </a:lnTo>
                    <a:lnTo>
                      <a:pt x="1770" y="521"/>
                    </a:lnTo>
                    <a:lnTo>
                      <a:pt x="1780" y="530"/>
                    </a:lnTo>
                    <a:lnTo>
                      <a:pt x="1791" y="540"/>
                    </a:lnTo>
                    <a:lnTo>
                      <a:pt x="1796" y="547"/>
                    </a:lnTo>
                    <a:lnTo>
                      <a:pt x="1802" y="557"/>
                    </a:lnTo>
                    <a:lnTo>
                      <a:pt x="1803" y="558"/>
                    </a:lnTo>
                    <a:lnTo>
                      <a:pt x="1800" y="551"/>
                    </a:lnTo>
                    <a:lnTo>
                      <a:pt x="1797" y="548"/>
                    </a:lnTo>
                    <a:lnTo>
                      <a:pt x="1792" y="541"/>
                    </a:lnTo>
                    <a:lnTo>
                      <a:pt x="1781" y="533"/>
                    </a:lnTo>
                    <a:lnTo>
                      <a:pt x="1776" y="528"/>
                    </a:lnTo>
                    <a:lnTo>
                      <a:pt x="1772" y="524"/>
                    </a:lnTo>
                    <a:lnTo>
                      <a:pt x="1762" y="518"/>
                    </a:lnTo>
                    <a:lnTo>
                      <a:pt x="1772" y="524"/>
                    </a:lnTo>
                    <a:lnTo>
                      <a:pt x="1776" y="528"/>
                    </a:lnTo>
                    <a:lnTo>
                      <a:pt x="1781" y="533"/>
                    </a:lnTo>
                    <a:lnTo>
                      <a:pt x="1792" y="541"/>
                    </a:lnTo>
                    <a:lnTo>
                      <a:pt x="1797" y="548"/>
                    </a:lnTo>
                    <a:lnTo>
                      <a:pt x="1800" y="551"/>
                    </a:lnTo>
                    <a:lnTo>
                      <a:pt x="1803" y="558"/>
                    </a:lnTo>
                    <a:lnTo>
                      <a:pt x="1806" y="573"/>
                    </a:lnTo>
                    <a:lnTo>
                      <a:pt x="1811" y="583"/>
                    </a:lnTo>
                    <a:lnTo>
                      <a:pt x="1812" y="595"/>
                    </a:lnTo>
                    <a:lnTo>
                      <a:pt x="1810" y="605"/>
                    </a:lnTo>
                    <a:lnTo>
                      <a:pt x="1812" y="595"/>
                    </a:lnTo>
                    <a:lnTo>
                      <a:pt x="1812" y="595"/>
                    </a:lnTo>
                    <a:lnTo>
                      <a:pt x="1810" y="606"/>
                    </a:lnTo>
                    <a:lnTo>
                      <a:pt x="1810" y="641"/>
                    </a:lnTo>
                    <a:lnTo>
                      <a:pt x="1810" y="670"/>
                    </a:lnTo>
                    <a:lnTo>
                      <a:pt x="1810" y="692"/>
                    </a:lnTo>
                    <a:lnTo>
                      <a:pt x="1810" y="709"/>
                    </a:lnTo>
                    <a:lnTo>
                      <a:pt x="1810" y="721"/>
                    </a:lnTo>
                    <a:lnTo>
                      <a:pt x="1810" y="729"/>
                    </a:lnTo>
                    <a:lnTo>
                      <a:pt x="1810" y="734"/>
                    </a:lnTo>
                    <a:lnTo>
                      <a:pt x="1810" y="734"/>
                    </a:lnTo>
                    <a:lnTo>
                      <a:pt x="1810" y="736"/>
                    </a:lnTo>
                    <a:lnTo>
                      <a:pt x="1810" y="737"/>
                    </a:lnTo>
                    <a:lnTo>
                      <a:pt x="1810" y="737"/>
                    </a:lnTo>
                    <a:lnTo>
                      <a:pt x="1806" y="735"/>
                    </a:lnTo>
                    <a:lnTo>
                      <a:pt x="1804" y="731"/>
                    </a:lnTo>
                    <a:lnTo>
                      <a:pt x="1802" y="728"/>
                    </a:lnTo>
                    <a:lnTo>
                      <a:pt x="1800" y="725"/>
                    </a:lnTo>
                    <a:lnTo>
                      <a:pt x="1796" y="721"/>
                    </a:lnTo>
                    <a:lnTo>
                      <a:pt x="1791" y="718"/>
                    </a:lnTo>
                    <a:lnTo>
                      <a:pt x="1784" y="716"/>
                    </a:lnTo>
                    <a:lnTo>
                      <a:pt x="1779" y="712"/>
                    </a:lnTo>
                    <a:lnTo>
                      <a:pt x="1772" y="709"/>
                    </a:lnTo>
                    <a:lnTo>
                      <a:pt x="1766" y="707"/>
                    </a:lnTo>
                    <a:lnTo>
                      <a:pt x="1761" y="704"/>
                    </a:lnTo>
                    <a:lnTo>
                      <a:pt x="1753" y="705"/>
                    </a:lnTo>
                    <a:lnTo>
                      <a:pt x="1745" y="704"/>
                    </a:lnTo>
                    <a:lnTo>
                      <a:pt x="1743" y="702"/>
                    </a:lnTo>
                    <a:lnTo>
                      <a:pt x="1751" y="704"/>
                    </a:lnTo>
                    <a:lnTo>
                      <a:pt x="1743" y="702"/>
                    </a:lnTo>
                    <a:lnTo>
                      <a:pt x="1737" y="700"/>
                    </a:lnTo>
                    <a:lnTo>
                      <a:pt x="1735" y="700"/>
                    </a:lnTo>
                    <a:lnTo>
                      <a:pt x="1733" y="699"/>
                    </a:lnTo>
                    <a:lnTo>
                      <a:pt x="1735" y="700"/>
                    </a:lnTo>
                    <a:lnTo>
                      <a:pt x="1598" y="698"/>
                    </a:lnTo>
                    <a:lnTo>
                      <a:pt x="1465" y="696"/>
                    </a:lnTo>
                    <a:lnTo>
                      <a:pt x="1342" y="694"/>
                    </a:lnTo>
                    <a:lnTo>
                      <a:pt x="1226" y="691"/>
                    </a:lnTo>
                    <a:lnTo>
                      <a:pt x="1117" y="689"/>
                    </a:lnTo>
                    <a:lnTo>
                      <a:pt x="1016" y="687"/>
                    </a:lnTo>
                    <a:lnTo>
                      <a:pt x="921" y="686"/>
                    </a:lnTo>
                    <a:lnTo>
                      <a:pt x="834" y="684"/>
                    </a:lnTo>
                    <a:lnTo>
                      <a:pt x="753" y="682"/>
                    </a:lnTo>
                    <a:lnTo>
                      <a:pt x="677" y="680"/>
                    </a:lnTo>
                    <a:lnTo>
                      <a:pt x="608" y="679"/>
                    </a:lnTo>
                    <a:lnTo>
                      <a:pt x="545" y="678"/>
                    </a:lnTo>
                    <a:lnTo>
                      <a:pt x="488" y="677"/>
                    </a:lnTo>
                    <a:lnTo>
                      <a:pt x="435" y="676"/>
                    </a:lnTo>
                    <a:lnTo>
                      <a:pt x="389" y="676"/>
                    </a:lnTo>
                    <a:lnTo>
                      <a:pt x="345" y="675"/>
                    </a:lnTo>
                    <a:lnTo>
                      <a:pt x="308" y="674"/>
                    </a:lnTo>
                    <a:lnTo>
                      <a:pt x="273" y="674"/>
                    </a:lnTo>
                    <a:lnTo>
                      <a:pt x="243" y="672"/>
                    </a:lnTo>
                    <a:lnTo>
                      <a:pt x="216" y="672"/>
                    </a:lnTo>
                    <a:lnTo>
                      <a:pt x="194" y="671"/>
                    </a:lnTo>
                    <a:lnTo>
                      <a:pt x="174" y="671"/>
                    </a:lnTo>
                    <a:lnTo>
                      <a:pt x="158" y="671"/>
                    </a:lnTo>
                    <a:lnTo>
                      <a:pt x="144" y="670"/>
                    </a:lnTo>
                    <a:lnTo>
                      <a:pt x="133" y="670"/>
                    </a:lnTo>
                    <a:lnTo>
                      <a:pt x="124" y="670"/>
                    </a:lnTo>
                    <a:lnTo>
                      <a:pt x="117" y="670"/>
                    </a:lnTo>
                    <a:lnTo>
                      <a:pt x="112" y="670"/>
                    </a:lnTo>
                    <a:lnTo>
                      <a:pt x="108" y="670"/>
                    </a:lnTo>
                    <a:lnTo>
                      <a:pt x="105" y="670"/>
                    </a:lnTo>
                    <a:lnTo>
                      <a:pt x="104" y="670"/>
                    </a:lnTo>
                    <a:lnTo>
                      <a:pt x="103" y="670"/>
                    </a:lnTo>
                    <a:lnTo>
                      <a:pt x="103" y="670"/>
                    </a:lnTo>
                    <a:lnTo>
                      <a:pt x="103" y="670"/>
                    </a:lnTo>
                    <a:lnTo>
                      <a:pt x="87" y="672"/>
                    </a:lnTo>
                    <a:lnTo>
                      <a:pt x="70" y="674"/>
                    </a:lnTo>
                    <a:lnTo>
                      <a:pt x="67" y="677"/>
                    </a:lnTo>
                    <a:lnTo>
                      <a:pt x="63" y="679"/>
                    </a:lnTo>
                    <a:lnTo>
                      <a:pt x="60" y="680"/>
                    </a:lnTo>
                    <a:lnTo>
                      <a:pt x="57" y="681"/>
                    </a:lnTo>
                    <a:lnTo>
                      <a:pt x="53" y="681"/>
                    </a:lnTo>
                    <a:lnTo>
                      <a:pt x="53" y="685"/>
                    </a:lnTo>
                    <a:lnTo>
                      <a:pt x="52" y="686"/>
                    </a:lnTo>
                    <a:lnTo>
                      <a:pt x="51" y="688"/>
                    </a:lnTo>
                    <a:lnTo>
                      <a:pt x="49" y="689"/>
                    </a:lnTo>
                    <a:lnTo>
                      <a:pt x="47" y="691"/>
                    </a:lnTo>
                    <a:lnTo>
                      <a:pt x="44" y="695"/>
                    </a:lnTo>
                    <a:lnTo>
                      <a:pt x="44" y="661"/>
                    </a:lnTo>
                    <a:lnTo>
                      <a:pt x="46" y="636"/>
                    </a:lnTo>
                    <a:lnTo>
                      <a:pt x="46" y="616"/>
                    </a:lnTo>
                    <a:lnTo>
                      <a:pt x="46" y="600"/>
                    </a:lnTo>
                    <a:lnTo>
                      <a:pt x="46" y="589"/>
                    </a:lnTo>
                    <a:lnTo>
                      <a:pt x="46" y="583"/>
                    </a:lnTo>
                    <a:lnTo>
                      <a:pt x="46" y="578"/>
                    </a:lnTo>
                    <a:lnTo>
                      <a:pt x="46" y="575"/>
                    </a:lnTo>
                    <a:lnTo>
                      <a:pt x="46" y="575"/>
                    </a:lnTo>
                    <a:lnTo>
                      <a:pt x="46" y="575"/>
                    </a:lnTo>
                    <a:lnTo>
                      <a:pt x="49" y="563"/>
                    </a:lnTo>
                    <a:lnTo>
                      <a:pt x="50" y="551"/>
                    </a:lnTo>
                    <a:lnTo>
                      <a:pt x="53" y="539"/>
                    </a:lnTo>
                    <a:lnTo>
                      <a:pt x="59" y="529"/>
                    </a:lnTo>
                    <a:lnTo>
                      <a:pt x="66" y="520"/>
                    </a:lnTo>
                    <a:lnTo>
                      <a:pt x="72" y="514"/>
                    </a:lnTo>
                    <a:lnTo>
                      <a:pt x="82" y="504"/>
                    </a:lnTo>
                    <a:lnTo>
                      <a:pt x="87" y="500"/>
                    </a:lnTo>
                    <a:lnTo>
                      <a:pt x="92" y="497"/>
                    </a:lnTo>
                    <a:lnTo>
                      <a:pt x="104" y="494"/>
                    </a:lnTo>
                    <a:lnTo>
                      <a:pt x="115" y="487"/>
                    </a:lnTo>
                    <a:lnTo>
                      <a:pt x="128" y="485"/>
                    </a:lnTo>
                    <a:lnTo>
                      <a:pt x="115" y="487"/>
                    </a:lnTo>
                    <a:lnTo>
                      <a:pt x="104" y="494"/>
                    </a:lnTo>
                    <a:lnTo>
                      <a:pt x="92" y="497"/>
                    </a:lnTo>
                    <a:lnTo>
                      <a:pt x="87" y="500"/>
                    </a:lnTo>
                    <a:lnTo>
                      <a:pt x="92" y="496"/>
                    </a:lnTo>
                    <a:lnTo>
                      <a:pt x="103" y="493"/>
                    </a:lnTo>
                    <a:lnTo>
                      <a:pt x="113" y="488"/>
                    </a:lnTo>
                    <a:lnTo>
                      <a:pt x="124" y="485"/>
                    </a:lnTo>
                    <a:lnTo>
                      <a:pt x="135" y="484"/>
                    </a:lnTo>
                    <a:close/>
                    <a:moveTo>
                      <a:pt x="1618" y="375"/>
                    </a:moveTo>
                    <a:lnTo>
                      <a:pt x="1616" y="381"/>
                    </a:lnTo>
                    <a:lnTo>
                      <a:pt x="1615" y="385"/>
                    </a:lnTo>
                    <a:lnTo>
                      <a:pt x="1615" y="387"/>
                    </a:lnTo>
                    <a:lnTo>
                      <a:pt x="1614" y="389"/>
                    </a:lnTo>
                    <a:lnTo>
                      <a:pt x="1614" y="391"/>
                    </a:lnTo>
                    <a:lnTo>
                      <a:pt x="1614" y="392"/>
                    </a:lnTo>
                    <a:lnTo>
                      <a:pt x="1614" y="392"/>
                    </a:lnTo>
                    <a:lnTo>
                      <a:pt x="1614" y="392"/>
                    </a:lnTo>
                    <a:lnTo>
                      <a:pt x="1642" y="392"/>
                    </a:lnTo>
                    <a:lnTo>
                      <a:pt x="1663" y="393"/>
                    </a:lnTo>
                    <a:lnTo>
                      <a:pt x="1678" y="393"/>
                    </a:lnTo>
                    <a:lnTo>
                      <a:pt x="1688" y="393"/>
                    </a:lnTo>
                    <a:lnTo>
                      <a:pt x="1694" y="393"/>
                    </a:lnTo>
                    <a:lnTo>
                      <a:pt x="1696" y="393"/>
                    </a:lnTo>
                    <a:lnTo>
                      <a:pt x="1698" y="393"/>
                    </a:lnTo>
                    <a:lnTo>
                      <a:pt x="1698" y="393"/>
                    </a:lnTo>
                    <a:lnTo>
                      <a:pt x="1698" y="387"/>
                    </a:lnTo>
                    <a:lnTo>
                      <a:pt x="1696" y="383"/>
                    </a:lnTo>
                    <a:lnTo>
                      <a:pt x="1696" y="381"/>
                    </a:lnTo>
                    <a:lnTo>
                      <a:pt x="1696" y="378"/>
                    </a:lnTo>
                    <a:lnTo>
                      <a:pt x="1696" y="377"/>
                    </a:lnTo>
                    <a:lnTo>
                      <a:pt x="1696" y="376"/>
                    </a:lnTo>
                    <a:lnTo>
                      <a:pt x="1696" y="376"/>
                    </a:lnTo>
                    <a:lnTo>
                      <a:pt x="1696" y="376"/>
                    </a:lnTo>
                    <a:lnTo>
                      <a:pt x="1670" y="375"/>
                    </a:lnTo>
                    <a:lnTo>
                      <a:pt x="1651" y="375"/>
                    </a:lnTo>
                    <a:lnTo>
                      <a:pt x="1636" y="375"/>
                    </a:lnTo>
                    <a:lnTo>
                      <a:pt x="1628" y="375"/>
                    </a:lnTo>
                    <a:lnTo>
                      <a:pt x="1622" y="375"/>
                    </a:lnTo>
                    <a:lnTo>
                      <a:pt x="1619" y="375"/>
                    </a:lnTo>
                    <a:lnTo>
                      <a:pt x="1618" y="375"/>
                    </a:lnTo>
                    <a:lnTo>
                      <a:pt x="1618" y="375"/>
                    </a:lnTo>
                    <a:close/>
                    <a:moveTo>
                      <a:pt x="1867" y="321"/>
                    </a:moveTo>
                    <a:lnTo>
                      <a:pt x="1880" y="334"/>
                    </a:lnTo>
                    <a:lnTo>
                      <a:pt x="1888" y="344"/>
                    </a:lnTo>
                    <a:lnTo>
                      <a:pt x="1894" y="349"/>
                    </a:lnTo>
                    <a:lnTo>
                      <a:pt x="1897" y="354"/>
                    </a:lnTo>
                    <a:lnTo>
                      <a:pt x="1900" y="355"/>
                    </a:lnTo>
                    <a:lnTo>
                      <a:pt x="1900" y="356"/>
                    </a:lnTo>
                    <a:lnTo>
                      <a:pt x="1900" y="356"/>
                    </a:lnTo>
                    <a:lnTo>
                      <a:pt x="1887" y="368"/>
                    </a:lnTo>
                    <a:lnTo>
                      <a:pt x="1877" y="377"/>
                    </a:lnTo>
                    <a:lnTo>
                      <a:pt x="1872" y="383"/>
                    </a:lnTo>
                    <a:lnTo>
                      <a:pt x="1867" y="386"/>
                    </a:lnTo>
                    <a:lnTo>
                      <a:pt x="1866" y="388"/>
                    </a:lnTo>
                    <a:lnTo>
                      <a:pt x="1865" y="389"/>
                    </a:lnTo>
                    <a:lnTo>
                      <a:pt x="1865" y="389"/>
                    </a:lnTo>
                    <a:lnTo>
                      <a:pt x="1876" y="391"/>
                    </a:lnTo>
                    <a:lnTo>
                      <a:pt x="1883" y="392"/>
                    </a:lnTo>
                    <a:lnTo>
                      <a:pt x="1886" y="392"/>
                    </a:lnTo>
                    <a:lnTo>
                      <a:pt x="1887" y="392"/>
                    </a:lnTo>
                    <a:lnTo>
                      <a:pt x="1887" y="392"/>
                    </a:lnTo>
                    <a:lnTo>
                      <a:pt x="1898" y="381"/>
                    </a:lnTo>
                    <a:lnTo>
                      <a:pt x="1905" y="374"/>
                    </a:lnTo>
                    <a:lnTo>
                      <a:pt x="1910" y="369"/>
                    </a:lnTo>
                    <a:lnTo>
                      <a:pt x="1912" y="367"/>
                    </a:lnTo>
                    <a:lnTo>
                      <a:pt x="1912" y="366"/>
                    </a:lnTo>
                    <a:lnTo>
                      <a:pt x="1913" y="366"/>
                    </a:lnTo>
                    <a:lnTo>
                      <a:pt x="1915" y="369"/>
                    </a:lnTo>
                    <a:lnTo>
                      <a:pt x="1916" y="373"/>
                    </a:lnTo>
                    <a:lnTo>
                      <a:pt x="1918" y="375"/>
                    </a:lnTo>
                    <a:lnTo>
                      <a:pt x="1918" y="376"/>
                    </a:lnTo>
                    <a:lnTo>
                      <a:pt x="1920" y="376"/>
                    </a:lnTo>
                    <a:lnTo>
                      <a:pt x="1920" y="376"/>
                    </a:lnTo>
                    <a:lnTo>
                      <a:pt x="1920" y="376"/>
                    </a:lnTo>
                    <a:lnTo>
                      <a:pt x="1923" y="382"/>
                    </a:lnTo>
                    <a:lnTo>
                      <a:pt x="1926" y="385"/>
                    </a:lnTo>
                    <a:lnTo>
                      <a:pt x="1928" y="387"/>
                    </a:lnTo>
                    <a:lnTo>
                      <a:pt x="1931" y="389"/>
                    </a:lnTo>
                    <a:lnTo>
                      <a:pt x="1932" y="391"/>
                    </a:lnTo>
                    <a:lnTo>
                      <a:pt x="1932" y="392"/>
                    </a:lnTo>
                    <a:lnTo>
                      <a:pt x="1932" y="392"/>
                    </a:lnTo>
                    <a:lnTo>
                      <a:pt x="1933" y="392"/>
                    </a:lnTo>
                    <a:lnTo>
                      <a:pt x="1933" y="392"/>
                    </a:lnTo>
                    <a:lnTo>
                      <a:pt x="1944" y="393"/>
                    </a:lnTo>
                    <a:lnTo>
                      <a:pt x="1951" y="394"/>
                    </a:lnTo>
                    <a:lnTo>
                      <a:pt x="1954" y="395"/>
                    </a:lnTo>
                    <a:lnTo>
                      <a:pt x="1955" y="395"/>
                    </a:lnTo>
                    <a:lnTo>
                      <a:pt x="1955" y="395"/>
                    </a:lnTo>
                    <a:lnTo>
                      <a:pt x="1943" y="382"/>
                    </a:lnTo>
                    <a:lnTo>
                      <a:pt x="1934" y="372"/>
                    </a:lnTo>
                    <a:lnTo>
                      <a:pt x="1928" y="366"/>
                    </a:lnTo>
                    <a:lnTo>
                      <a:pt x="1925" y="362"/>
                    </a:lnTo>
                    <a:lnTo>
                      <a:pt x="1924" y="359"/>
                    </a:lnTo>
                    <a:lnTo>
                      <a:pt x="1923" y="359"/>
                    </a:lnTo>
                    <a:lnTo>
                      <a:pt x="1923" y="359"/>
                    </a:lnTo>
                    <a:lnTo>
                      <a:pt x="1935" y="345"/>
                    </a:lnTo>
                    <a:lnTo>
                      <a:pt x="1944" y="335"/>
                    </a:lnTo>
                    <a:lnTo>
                      <a:pt x="1951" y="328"/>
                    </a:lnTo>
                    <a:lnTo>
                      <a:pt x="1954" y="324"/>
                    </a:lnTo>
                    <a:lnTo>
                      <a:pt x="1956" y="322"/>
                    </a:lnTo>
                    <a:lnTo>
                      <a:pt x="1957" y="321"/>
                    </a:lnTo>
                    <a:lnTo>
                      <a:pt x="1957" y="321"/>
                    </a:lnTo>
                    <a:lnTo>
                      <a:pt x="1946" y="323"/>
                    </a:lnTo>
                    <a:lnTo>
                      <a:pt x="1940" y="323"/>
                    </a:lnTo>
                    <a:lnTo>
                      <a:pt x="1936" y="324"/>
                    </a:lnTo>
                    <a:lnTo>
                      <a:pt x="1935" y="324"/>
                    </a:lnTo>
                    <a:lnTo>
                      <a:pt x="1935" y="324"/>
                    </a:lnTo>
                    <a:lnTo>
                      <a:pt x="1924" y="332"/>
                    </a:lnTo>
                    <a:lnTo>
                      <a:pt x="1917" y="338"/>
                    </a:lnTo>
                    <a:lnTo>
                      <a:pt x="1913" y="342"/>
                    </a:lnTo>
                    <a:lnTo>
                      <a:pt x="1911" y="343"/>
                    </a:lnTo>
                    <a:lnTo>
                      <a:pt x="1910" y="344"/>
                    </a:lnTo>
                    <a:lnTo>
                      <a:pt x="1910" y="344"/>
                    </a:lnTo>
                    <a:lnTo>
                      <a:pt x="1902" y="335"/>
                    </a:lnTo>
                    <a:lnTo>
                      <a:pt x="1896" y="329"/>
                    </a:lnTo>
                    <a:lnTo>
                      <a:pt x="1893" y="326"/>
                    </a:lnTo>
                    <a:lnTo>
                      <a:pt x="1891" y="324"/>
                    </a:lnTo>
                    <a:lnTo>
                      <a:pt x="1891" y="324"/>
                    </a:lnTo>
                    <a:lnTo>
                      <a:pt x="1891" y="324"/>
                    </a:lnTo>
                    <a:lnTo>
                      <a:pt x="1880" y="322"/>
                    </a:lnTo>
                    <a:lnTo>
                      <a:pt x="1873" y="322"/>
                    </a:lnTo>
                    <a:lnTo>
                      <a:pt x="1870" y="321"/>
                    </a:lnTo>
                    <a:lnTo>
                      <a:pt x="1867" y="321"/>
                    </a:lnTo>
                    <a:lnTo>
                      <a:pt x="1867" y="321"/>
                    </a:lnTo>
                    <a:close/>
                    <a:moveTo>
                      <a:pt x="1744" y="319"/>
                    </a:moveTo>
                    <a:lnTo>
                      <a:pt x="1744" y="344"/>
                    </a:lnTo>
                    <a:lnTo>
                      <a:pt x="1743" y="363"/>
                    </a:lnTo>
                    <a:lnTo>
                      <a:pt x="1743" y="375"/>
                    </a:lnTo>
                    <a:lnTo>
                      <a:pt x="1742" y="382"/>
                    </a:lnTo>
                    <a:lnTo>
                      <a:pt x="1742" y="386"/>
                    </a:lnTo>
                    <a:lnTo>
                      <a:pt x="1742" y="387"/>
                    </a:lnTo>
                    <a:lnTo>
                      <a:pt x="1742" y="387"/>
                    </a:lnTo>
                    <a:lnTo>
                      <a:pt x="1767" y="388"/>
                    </a:lnTo>
                    <a:lnTo>
                      <a:pt x="1785" y="389"/>
                    </a:lnTo>
                    <a:lnTo>
                      <a:pt x="1796" y="389"/>
                    </a:lnTo>
                    <a:lnTo>
                      <a:pt x="1804" y="391"/>
                    </a:lnTo>
                    <a:lnTo>
                      <a:pt x="1807" y="391"/>
                    </a:lnTo>
                    <a:lnTo>
                      <a:pt x="1810" y="391"/>
                    </a:lnTo>
                    <a:lnTo>
                      <a:pt x="1810" y="391"/>
                    </a:lnTo>
                    <a:lnTo>
                      <a:pt x="1811" y="365"/>
                    </a:lnTo>
                    <a:lnTo>
                      <a:pt x="1811" y="347"/>
                    </a:lnTo>
                    <a:lnTo>
                      <a:pt x="1812" y="335"/>
                    </a:lnTo>
                    <a:lnTo>
                      <a:pt x="1812" y="327"/>
                    </a:lnTo>
                    <a:lnTo>
                      <a:pt x="1812" y="324"/>
                    </a:lnTo>
                    <a:lnTo>
                      <a:pt x="1812" y="322"/>
                    </a:lnTo>
                    <a:lnTo>
                      <a:pt x="1812" y="322"/>
                    </a:lnTo>
                    <a:lnTo>
                      <a:pt x="1787" y="321"/>
                    </a:lnTo>
                    <a:lnTo>
                      <a:pt x="1770" y="321"/>
                    </a:lnTo>
                    <a:lnTo>
                      <a:pt x="1757" y="319"/>
                    </a:lnTo>
                    <a:lnTo>
                      <a:pt x="1750" y="319"/>
                    </a:lnTo>
                    <a:lnTo>
                      <a:pt x="1746" y="319"/>
                    </a:lnTo>
                    <a:lnTo>
                      <a:pt x="1745" y="319"/>
                    </a:lnTo>
                    <a:lnTo>
                      <a:pt x="1744" y="319"/>
                    </a:lnTo>
                    <a:close/>
                    <a:moveTo>
                      <a:pt x="2113" y="275"/>
                    </a:moveTo>
                    <a:lnTo>
                      <a:pt x="2227" y="277"/>
                    </a:lnTo>
                    <a:lnTo>
                      <a:pt x="2238" y="278"/>
                    </a:lnTo>
                    <a:lnTo>
                      <a:pt x="2249" y="281"/>
                    </a:lnTo>
                    <a:lnTo>
                      <a:pt x="2260" y="285"/>
                    </a:lnTo>
                    <a:lnTo>
                      <a:pt x="2270" y="289"/>
                    </a:lnTo>
                    <a:lnTo>
                      <a:pt x="2279" y="295"/>
                    </a:lnTo>
                    <a:lnTo>
                      <a:pt x="2290" y="303"/>
                    </a:lnTo>
                    <a:lnTo>
                      <a:pt x="2296" y="314"/>
                    </a:lnTo>
                    <a:lnTo>
                      <a:pt x="2301" y="324"/>
                    </a:lnTo>
                    <a:lnTo>
                      <a:pt x="2305" y="335"/>
                    </a:lnTo>
                    <a:lnTo>
                      <a:pt x="2309" y="345"/>
                    </a:lnTo>
                    <a:lnTo>
                      <a:pt x="2313" y="357"/>
                    </a:lnTo>
                    <a:lnTo>
                      <a:pt x="2315" y="373"/>
                    </a:lnTo>
                    <a:lnTo>
                      <a:pt x="2311" y="483"/>
                    </a:lnTo>
                    <a:lnTo>
                      <a:pt x="2308" y="584"/>
                    </a:lnTo>
                    <a:lnTo>
                      <a:pt x="2306" y="678"/>
                    </a:lnTo>
                    <a:lnTo>
                      <a:pt x="2304" y="766"/>
                    </a:lnTo>
                    <a:lnTo>
                      <a:pt x="2301" y="846"/>
                    </a:lnTo>
                    <a:lnTo>
                      <a:pt x="2299" y="919"/>
                    </a:lnTo>
                    <a:lnTo>
                      <a:pt x="2297" y="987"/>
                    </a:lnTo>
                    <a:lnTo>
                      <a:pt x="2295" y="1048"/>
                    </a:lnTo>
                    <a:lnTo>
                      <a:pt x="2294" y="1102"/>
                    </a:lnTo>
                    <a:lnTo>
                      <a:pt x="2293" y="1152"/>
                    </a:lnTo>
                    <a:lnTo>
                      <a:pt x="2290" y="1196"/>
                    </a:lnTo>
                    <a:lnTo>
                      <a:pt x="2289" y="1236"/>
                    </a:lnTo>
                    <a:lnTo>
                      <a:pt x="2288" y="1271"/>
                    </a:lnTo>
                    <a:lnTo>
                      <a:pt x="2288" y="1301"/>
                    </a:lnTo>
                    <a:lnTo>
                      <a:pt x="2287" y="1327"/>
                    </a:lnTo>
                    <a:lnTo>
                      <a:pt x="2286" y="1351"/>
                    </a:lnTo>
                    <a:lnTo>
                      <a:pt x="2286" y="1370"/>
                    </a:lnTo>
                    <a:lnTo>
                      <a:pt x="2285" y="1385"/>
                    </a:lnTo>
                    <a:lnTo>
                      <a:pt x="2285" y="1398"/>
                    </a:lnTo>
                    <a:lnTo>
                      <a:pt x="2285" y="1410"/>
                    </a:lnTo>
                    <a:lnTo>
                      <a:pt x="2285" y="1417"/>
                    </a:lnTo>
                    <a:lnTo>
                      <a:pt x="2284" y="1424"/>
                    </a:lnTo>
                    <a:lnTo>
                      <a:pt x="2284" y="1428"/>
                    </a:lnTo>
                    <a:lnTo>
                      <a:pt x="2284" y="1431"/>
                    </a:lnTo>
                    <a:lnTo>
                      <a:pt x="2284" y="1433"/>
                    </a:lnTo>
                    <a:lnTo>
                      <a:pt x="2284" y="1434"/>
                    </a:lnTo>
                    <a:lnTo>
                      <a:pt x="2284" y="1434"/>
                    </a:lnTo>
                    <a:lnTo>
                      <a:pt x="2284" y="1434"/>
                    </a:lnTo>
                    <a:lnTo>
                      <a:pt x="2281" y="1449"/>
                    </a:lnTo>
                    <a:lnTo>
                      <a:pt x="2279" y="1463"/>
                    </a:lnTo>
                    <a:lnTo>
                      <a:pt x="2273" y="1474"/>
                    </a:lnTo>
                    <a:lnTo>
                      <a:pt x="2268" y="1485"/>
                    </a:lnTo>
                    <a:lnTo>
                      <a:pt x="2263" y="1494"/>
                    </a:lnTo>
                    <a:lnTo>
                      <a:pt x="2255" y="1505"/>
                    </a:lnTo>
                    <a:lnTo>
                      <a:pt x="2225" y="1525"/>
                    </a:lnTo>
                    <a:lnTo>
                      <a:pt x="2193" y="1528"/>
                    </a:lnTo>
                    <a:lnTo>
                      <a:pt x="2165" y="1527"/>
                    </a:lnTo>
                    <a:lnTo>
                      <a:pt x="2143" y="1526"/>
                    </a:lnTo>
                    <a:lnTo>
                      <a:pt x="2127" y="1525"/>
                    </a:lnTo>
                    <a:lnTo>
                      <a:pt x="2115" y="1525"/>
                    </a:lnTo>
                    <a:lnTo>
                      <a:pt x="2107" y="1524"/>
                    </a:lnTo>
                    <a:lnTo>
                      <a:pt x="2103" y="1524"/>
                    </a:lnTo>
                    <a:lnTo>
                      <a:pt x="2101" y="1524"/>
                    </a:lnTo>
                    <a:lnTo>
                      <a:pt x="2099" y="1524"/>
                    </a:lnTo>
                    <a:lnTo>
                      <a:pt x="2099" y="1524"/>
                    </a:lnTo>
                    <a:lnTo>
                      <a:pt x="2101" y="1495"/>
                    </a:lnTo>
                    <a:lnTo>
                      <a:pt x="2102" y="1473"/>
                    </a:lnTo>
                    <a:lnTo>
                      <a:pt x="2103" y="1456"/>
                    </a:lnTo>
                    <a:lnTo>
                      <a:pt x="2103" y="1445"/>
                    </a:lnTo>
                    <a:lnTo>
                      <a:pt x="2104" y="1437"/>
                    </a:lnTo>
                    <a:lnTo>
                      <a:pt x="2104" y="1432"/>
                    </a:lnTo>
                    <a:lnTo>
                      <a:pt x="2104" y="1430"/>
                    </a:lnTo>
                    <a:lnTo>
                      <a:pt x="2104" y="1428"/>
                    </a:lnTo>
                    <a:lnTo>
                      <a:pt x="2104" y="1428"/>
                    </a:lnTo>
                    <a:lnTo>
                      <a:pt x="2133" y="1431"/>
                    </a:lnTo>
                    <a:lnTo>
                      <a:pt x="2155" y="1432"/>
                    </a:lnTo>
                    <a:lnTo>
                      <a:pt x="2170" y="1433"/>
                    </a:lnTo>
                    <a:lnTo>
                      <a:pt x="2180" y="1434"/>
                    </a:lnTo>
                    <a:lnTo>
                      <a:pt x="2187" y="1434"/>
                    </a:lnTo>
                    <a:lnTo>
                      <a:pt x="2190" y="1434"/>
                    </a:lnTo>
                    <a:lnTo>
                      <a:pt x="2192" y="1434"/>
                    </a:lnTo>
                    <a:lnTo>
                      <a:pt x="2192" y="1434"/>
                    </a:lnTo>
                    <a:lnTo>
                      <a:pt x="2195" y="1325"/>
                    </a:lnTo>
                    <a:lnTo>
                      <a:pt x="2198" y="1223"/>
                    </a:lnTo>
                    <a:lnTo>
                      <a:pt x="2200" y="1129"/>
                    </a:lnTo>
                    <a:lnTo>
                      <a:pt x="2203" y="1041"/>
                    </a:lnTo>
                    <a:lnTo>
                      <a:pt x="2205" y="961"/>
                    </a:lnTo>
                    <a:lnTo>
                      <a:pt x="2207" y="888"/>
                    </a:lnTo>
                    <a:lnTo>
                      <a:pt x="2209" y="821"/>
                    </a:lnTo>
                    <a:lnTo>
                      <a:pt x="2212" y="760"/>
                    </a:lnTo>
                    <a:lnTo>
                      <a:pt x="2213" y="705"/>
                    </a:lnTo>
                    <a:lnTo>
                      <a:pt x="2214" y="655"/>
                    </a:lnTo>
                    <a:lnTo>
                      <a:pt x="2216" y="610"/>
                    </a:lnTo>
                    <a:lnTo>
                      <a:pt x="2217" y="571"/>
                    </a:lnTo>
                    <a:lnTo>
                      <a:pt x="2218" y="536"/>
                    </a:lnTo>
                    <a:lnTo>
                      <a:pt x="2218" y="506"/>
                    </a:lnTo>
                    <a:lnTo>
                      <a:pt x="2219" y="479"/>
                    </a:lnTo>
                    <a:lnTo>
                      <a:pt x="2220" y="456"/>
                    </a:lnTo>
                    <a:lnTo>
                      <a:pt x="2220" y="437"/>
                    </a:lnTo>
                    <a:lnTo>
                      <a:pt x="2222" y="422"/>
                    </a:lnTo>
                    <a:lnTo>
                      <a:pt x="2222" y="408"/>
                    </a:lnTo>
                    <a:lnTo>
                      <a:pt x="2222" y="397"/>
                    </a:lnTo>
                    <a:lnTo>
                      <a:pt x="2222" y="389"/>
                    </a:lnTo>
                    <a:lnTo>
                      <a:pt x="2223" y="384"/>
                    </a:lnTo>
                    <a:lnTo>
                      <a:pt x="2223" y="379"/>
                    </a:lnTo>
                    <a:lnTo>
                      <a:pt x="2223" y="376"/>
                    </a:lnTo>
                    <a:lnTo>
                      <a:pt x="2223" y="374"/>
                    </a:lnTo>
                    <a:lnTo>
                      <a:pt x="2223" y="373"/>
                    </a:lnTo>
                    <a:lnTo>
                      <a:pt x="2223" y="373"/>
                    </a:lnTo>
                    <a:lnTo>
                      <a:pt x="2223" y="373"/>
                    </a:lnTo>
                    <a:lnTo>
                      <a:pt x="2195" y="372"/>
                    </a:lnTo>
                    <a:lnTo>
                      <a:pt x="2174" y="371"/>
                    </a:lnTo>
                    <a:lnTo>
                      <a:pt x="2157" y="369"/>
                    </a:lnTo>
                    <a:lnTo>
                      <a:pt x="2145" y="368"/>
                    </a:lnTo>
                    <a:lnTo>
                      <a:pt x="2137" y="368"/>
                    </a:lnTo>
                    <a:lnTo>
                      <a:pt x="2133" y="368"/>
                    </a:lnTo>
                    <a:lnTo>
                      <a:pt x="2130" y="368"/>
                    </a:lnTo>
                    <a:lnTo>
                      <a:pt x="2129" y="367"/>
                    </a:lnTo>
                    <a:lnTo>
                      <a:pt x="2129" y="367"/>
                    </a:lnTo>
                    <a:lnTo>
                      <a:pt x="2130" y="364"/>
                    </a:lnTo>
                    <a:lnTo>
                      <a:pt x="2132" y="361"/>
                    </a:lnTo>
                    <a:lnTo>
                      <a:pt x="2133" y="358"/>
                    </a:lnTo>
                    <a:lnTo>
                      <a:pt x="2133" y="357"/>
                    </a:lnTo>
                    <a:lnTo>
                      <a:pt x="2134" y="356"/>
                    </a:lnTo>
                    <a:lnTo>
                      <a:pt x="2134" y="356"/>
                    </a:lnTo>
                    <a:lnTo>
                      <a:pt x="2134" y="356"/>
                    </a:lnTo>
                    <a:lnTo>
                      <a:pt x="2133" y="349"/>
                    </a:lnTo>
                    <a:lnTo>
                      <a:pt x="2132" y="341"/>
                    </a:lnTo>
                    <a:lnTo>
                      <a:pt x="2130" y="334"/>
                    </a:lnTo>
                    <a:lnTo>
                      <a:pt x="2129" y="327"/>
                    </a:lnTo>
                    <a:lnTo>
                      <a:pt x="2129" y="319"/>
                    </a:lnTo>
                    <a:lnTo>
                      <a:pt x="2128" y="313"/>
                    </a:lnTo>
                    <a:lnTo>
                      <a:pt x="2126" y="307"/>
                    </a:lnTo>
                    <a:lnTo>
                      <a:pt x="2123" y="301"/>
                    </a:lnTo>
                    <a:lnTo>
                      <a:pt x="2121" y="291"/>
                    </a:lnTo>
                    <a:lnTo>
                      <a:pt x="2119" y="287"/>
                    </a:lnTo>
                    <a:lnTo>
                      <a:pt x="2117" y="285"/>
                    </a:lnTo>
                    <a:lnTo>
                      <a:pt x="2115" y="282"/>
                    </a:lnTo>
                    <a:lnTo>
                      <a:pt x="2114" y="278"/>
                    </a:lnTo>
                    <a:lnTo>
                      <a:pt x="2113" y="275"/>
                    </a:lnTo>
                    <a:close/>
                    <a:moveTo>
                      <a:pt x="373" y="246"/>
                    </a:moveTo>
                    <a:lnTo>
                      <a:pt x="1977" y="256"/>
                    </a:lnTo>
                    <a:lnTo>
                      <a:pt x="2012" y="268"/>
                    </a:lnTo>
                    <a:lnTo>
                      <a:pt x="2023" y="274"/>
                    </a:lnTo>
                    <a:lnTo>
                      <a:pt x="2032" y="280"/>
                    </a:lnTo>
                    <a:lnTo>
                      <a:pt x="2043" y="287"/>
                    </a:lnTo>
                    <a:lnTo>
                      <a:pt x="2048" y="298"/>
                    </a:lnTo>
                    <a:lnTo>
                      <a:pt x="2054" y="308"/>
                    </a:lnTo>
                    <a:lnTo>
                      <a:pt x="2057" y="319"/>
                    </a:lnTo>
                    <a:lnTo>
                      <a:pt x="2063" y="331"/>
                    </a:lnTo>
                    <a:lnTo>
                      <a:pt x="2064" y="343"/>
                    </a:lnTo>
                    <a:lnTo>
                      <a:pt x="2062" y="358"/>
                    </a:lnTo>
                    <a:lnTo>
                      <a:pt x="2062" y="394"/>
                    </a:lnTo>
                    <a:lnTo>
                      <a:pt x="2062" y="423"/>
                    </a:lnTo>
                    <a:lnTo>
                      <a:pt x="2062" y="444"/>
                    </a:lnTo>
                    <a:lnTo>
                      <a:pt x="2062" y="460"/>
                    </a:lnTo>
                    <a:lnTo>
                      <a:pt x="2062" y="473"/>
                    </a:lnTo>
                    <a:lnTo>
                      <a:pt x="2062" y="480"/>
                    </a:lnTo>
                    <a:lnTo>
                      <a:pt x="2062" y="486"/>
                    </a:lnTo>
                    <a:lnTo>
                      <a:pt x="2062" y="488"/>
                    </a:lnTo>
                    <a:lnTo>
                      <a:pt x="2062" y="489"/>
                    </a:lnTo>
                    <a:lnTo>
                      <a:pt x="2062" y="489"/>
                    </a:lnTo>
                    <a:lnTo>
                      <a:pt x="2058" y="486"/>
                    </a:lnTo>
                    <a:lnTo>
                      <a:pt x="2056" y="483"/>
                    </a:lnTo>
                    <a:lnTo>
                      <a:pt x="2054" y="479"/>
                    </a:lnTo>
                    <a:lnTo>
                      <a:pt x="2052" y="477"/>
                    </a:lnTo>
                    <a:lnTo>
                      <a:pt x="2048" y="474"/>
                    </a:lnTo>
                    <a:lnTo>
                      <a:pt x="2031" y="459"/>
                    </a:lnTo>
                    <a:lnTo>
                      <a:pt x="2026" y="459"/>
                    </a:lnTo>
                    <a:lnTo>
                      <a:pt x="2023" y="458"/>
                    </a:lnTo>
                    <a:lnTo>
                      <a:pt x="2019" y="457"/>
                    </a:lnTo>
                    <a:lnTo>
                      <a:pt x="2016" y="456"/>
                    </a:lnTo>
                    <a:lnTo>
                      <a:pt x="2013" y="456"/>
                    </a:lnTo>
                    <a:lnTo>
                      <a:pt x="2005" y="453"/>
                    </a:lnTo>
                    <a:lnTo>
                      <a:pt x="1997" y="452"/>
                    </a:lnTo>
                    <a:lnTo>
                      <a:pt x="1991" y="453"/>
                    </a:lnTo>
                    <a:lnTo>
                      <a:pt x="1849" y="450"/>
                    </a:lnTo>
                    <a:lnTo>
                      <a:pt x="1716" y="449"/>
                    </a:lnTo>
                    <a:lnTo>
                      <a:pt x="1591" y="447"/>
                    </a:lnTo>
                    <a:lnTo>
                      <a:pt x="1474" y="446"/>
                    </a:lnTo>
                    <a:lnTo>
                      <a:pt x="1364" y="445"/>
                    </a:lnTo>
                    <a:lnTo>
                      <a:pt x="1262" y="443"/>
                    </a:lnTo>
                    <a:lnTo>
                      <a:pt x="1167" y="442"/>
                    </a:lnTo>
                    <a:lnTo>
                      <a:pt x="1078" y="440"/>
                    </a:lnTo>
                    <a:lnTo>
                      <a:pt x="997" y="439"/>
                    </a:lnTo>
                    <a:lnTo>
                      <a:pt x="920" y="439"/>
                    </a:lnTo>
                    <a:lnTo>
                      <a:pt x="852" y="438"/>
                    </a:lnTo>
                    <a:lnTo>
                      <a:pt x="787" y="437"/>
                    </a:lnTo>
                    <a:lnTo>
                      <a:pt x="729" y="436"/>
                    </a:lnTo>
                    <a:lnTo>
                      <a:pt x="676" y="436"/>
                    </a:lnTo>
                    <a:lnTo>
                      <a:pt x="628" y="435"/>
                    </a:lnTo>
                    <a:lnTo>
                      <a:pt x="585" y="435"/>
                    </a:lnTo>
                    <a:lnTo>
                      <a:pt x="547" y="434"/>
                    </a:lnTo>
                    <a:lnTo>
                      <a:pt x="513" y="434"/>
                    </a:lnTo>
                    <a:lnTo>
                      <a:pt x="483" y="433"/>
                    </a:lnTo>
                    <a:lnTo>
                      <a:pt x="456" y="433"/>
                    </a:lnTo>
                    <a:lnTo>
                      <a:pt x="433" y="433"/>
                    </a:lnTo>
                    <a:lnTo>
                      <a:pt x="413" y="433"/>
                    </a:lnTo>
                    <a:lnTo>
                      <a:pt x="396" y="432"/>
                    </a:lnTo>
                    <a:lnTo>
                      <a:pt x="383" y="432"/>
                    </a:lnTo>
                    <a:lnTo>
                      <a:pt x="372" y="432"/>
                    </a:lnTo>
                    <a:lnTo>
                      <a:pt x="362" y="432"/>
                    </a:lnTo>
                    <a:lnTo>
                      <a:pt x="355" y="432"/>
                    </a:lnTo>
                    <a:lnTo>
                      <a:pt x="350" y="432"/>
                    </a:lnTo>
                    <a:lnTo>
                      <a:pt x="346" y="432"/>
                    </a:lnTo>
                    <a:lnTo>
                      <a:pt x="343" y="432"/>
                    </a:lnTo>
                    <a:lnTo>
                      <a:pt x="342" y="432"/>
                    </a:lnTo>
                    <a:lnTo>
                      <a:pt x="341" y="432"/>
                    </a:lnTo>
                    <a:lnTo>
                      <a:pt x="341" y="432"/>
                    </a:lnTo>
                    <a:lnTo>
                      <a:pt x="341" y="432"/>
                    </a:lnTo>
                    <a:lnTo>
                      <a:pt x="338" y="432"/>
                    </a:lnTo>
                    <a:lnTo>
                      <a:pt x="336" y="432"/>
                    </a:lnTo>
                    <a:lnTo>
                      <a:pt x="335" y="432"/>
                    </a:lnTo>
                    <a:lnTo>
                      <a:pt x="335" y="432"/>
                    </a:lnTo>
                    <a:lnTo>
                      <a:pt x="335" y="432"/>
                    </a:lnTo>
                    <a:lnTo>
                      <a:pt x="330" y="433"/>
                    </a:lnTo>
                    <a:lnTo>
                      <a:pt x="330" y="433"/>
                    </a:lnTo>
                    <a:lnTo>
                      <a:pt x="330" y="433"/>
                    </a:lnTo>
                    <a:lnTo>
                      <a:pt x="329" y="433"/>
                    </a:lnTo>
                    <a:lnTo>
                      <a:pt x="326" y="433"/>
                    </a:lnTo>
                    <a:lnTo>
                      <a:pt x="324" y="434"/>
                    </a:lnTo>
                    <a:lnTo>
                      <a:pt x="308" y="433"/>
                    </a:lnTo>
                    <a:lnTo>
                      <a:pt x="296" y="433"/>
                    </a:lnTo>
                    <a:lnTo>
                      <a:pt x="290" y="433"/>
                    </a:lnTo>
                    <a:lnTo>
                      <a:pt x="286" y="433"/>
                    </a:lnTo>
                    <a:lnTo>
                      <a:pt x="285" y="433"/>
                    </a:lnTo>
                    <a:lnTo>
                      <a:pt x="285" y="433"/>
                    </a:lnTo>
                    <a:lnTo>
                      <a:pt x="286" y="404"/>
                    </a:lnTo>
                    <a:lnTo>
                      <a:pt x="288" y="382"/>
                    </a:lnTo>
                    <a:lnTo>
                      <a:pt x="289" y="365"/>
                    </a:lnTo>
                    <a:lnTo>
                      <a:pt x="289" y="353"/>
                    </a:lnTo>
                    <a:lnTo>
                      <a:pt x="290" y="344"/>
                    </a:lnTo>
                    <a:lnTo>
                      <a:pt x="290" y="339"/>
                    </a:lnTo>
                    <a:lnTo>
                      <a:pt x="290" y="337"/>
                    </a:lnTo>
                    <a:lnTo>
                      <a:pt x="290" y="336"/>
                    </a:lnTo>
                    <a:lnTo>
                      <a:pt x="290" y="336"/>
                    </a:lnTo>
                    <a:lnTo>
                      <a:pt x="290" y="325"/>
                    </a:lnTo>
                    <a:lnTo>
                      <a:pt x="293" y="313"/>
                    </a:lnTo>
                    <a:lnTo>
                      <a:pt x="296" y="301"/>
                    </a:lnTo>
                    <a:lnTo>
                      <a:pt x="301" y="291"/>
                    </a:lnTo>
                    <a:lnTo>
                      <a:pt x="306" y="282"/>
                    </a:lnTo>
                    <a:lnTo>
                      <a:pt x="315" y="271"/>
                    </a:lnTo>
                    <a:lnTo>
                      <a:pt x="325" y="261"/>
                    </a:lnTo>
                    <a:lnTo>
                      <a:pt x="341" y="251"/>
                    </a:lnTo>
                    <a:lnTo>
                      <a:pt x="373" y="246"/>
                    </a:lnTo>
                    <a:close/>
                    <a:moveTo>
                      <a:pt x="1870" y="119"/>
                    </a:moveTo>
                    <a:lnTo>
                      <a:pt x="1871" y="124"/>
                    </a:lnTo>
                    <a:lnTo>
                      <a:pt x="1871" y="127"/>
                    </a:lnTo>
                    <a:lnTo>
                      <a:pt x="1871" y="131"/>
                    </a:lnTo>
                    <a:lnTo>
                      <a:pt x="1872" y="133"/>
                    </a:lnTo>
                    <a:lnTo>
                      <a:pt x="1872" y="134"/>
                    </a:lnTo>
                    <a:lnTo>
                      <a:pt x="1872" y="134"/>
                    </a:lnTo>
                    <a:lnTo>
                      <a:pt x="1872" y="135"/>
                    </a:lnTo>
                    <a:lnTo>
                      <a:pt x="1872" y="135"/>
                    </a:lnTo>
                    <a:lnTo>
                      <a:pt x="1900" y="135"/>
                    </a:lnTo>
                    <a:lnTo>
                      <a:pt x="1921" y="135"/>
                    </a:lnTo>
                    <a:lnTo>
                      <a:pt x="1935" y="135"/>
                    </a:lnTo>
                    <a:lnTo>
                      <a:pt x="1945" y="135"/>
                    </a:lnTo>
                    <a:lnTo>
                      <a:pt x="1952" y="135"/>
                    </a:lnTo>
                    <a:lnTo>
                      <a:pt x="1955" y="135"/>
                    </a:lnTo>
                    <a:lnTo>
                      <a:pt x="1956" y="135"/>
                    </a:lnTo>
                    <a:lnTo>
                      <a:pt x="1956" y="135"/>
                    </a:lnTo>
                    <a:lnTo>
                      <a:pt x="1955" y="130"/>
                    </a:lnTo>
                    <a:lnTo>
                      <a:pt x="1955" y="126"/>
                    </a:lnTo>
                    <a:lnTo>
                      <a:pt x="1954" y="123"/>
                    </a:lnTo>
                    <a:lnTo>
                      <a:pt x="1954" y="121"/>
                    </a:lnTo>
                    <a:lnTo>
                      <a:pt x="1954" y="120"/>
                    </a:lnTo>
                    <a:lnTo>
                      <a:pt x="1954" y="120"/>
                    </a:lnTo>
                    <a:lnTo>
                      <a:pt x="1954" y="119"/>
                    </a:lnTo>
                    <a:lnTo>
                      <a:pt x="1954" y="119"/>
                    </a:lnTo>
                    <a:lnTo>
                      <a:pt x="1926" y="119"/>
                    </a:lnTo>
                    <a:lnTo>
                      <a:pt x="1905" y="119"/>
                    </a:lnTo>
                    <a:lnTo>
                      <a:pt x="1891" y="119"/>
                    </a:lnTo>
                    <a:lnTo>
                      <a:pt x="1880" y="119"/>
                    </a:lnTo>
                    <a:lnTo>
                      <a:pt x="1874" y="119"/>
                    </a:lnTo>
                    <a:lnTo>
                      <a:pt x="1871" y="119"/>
                    </a:lnTo>
                    <a:lnTo>
                      <a:pt x="1870" y="119"/>
                    </a:lnTo>
                    <a:lnTo>
                      <a:pt x="1870" y="119"/>
                    </a:lnTo>
                    <a:close/>
                    <a:moveTo>
                      <a:pt x="2217" y="64"/>
                    </a:moveTo>
                    <a:lnTo>
                      <a:pt x="2206" y="65"/>
                    </a:lnTo>
                    <a:lnTo>
                      <a:pt x="2199" y="66"/>
                    </a:lnTo>
                    <a:lnTo>
                      <a:pt x="2196" y="66"/>
                    </a:lnTo>
                    <a:lnTo>
                      <a:pt x="2195" y="66"/>
                    </a:lnTo>
                    <a:lnTo>
                      <a:pt x="2195" y="66"/>
                    </a:lnTo>
                    <a:lnTo>
                      <a:pt x="2184" y="75"/>
                    </a:lnTo>
                    <a:lnTo>
                      <a:pt x="2177" y="81"/>
                    </a:lnTo>
                    <a:lnTo>
                      <a:pt x="2173" y="84"/>
                    </a:lnTo>
                    <a:lnTo>
                      <a:pt x="2170" y="86"/>
                    </a:lnTo>
                    <a:lnTo>
                      <a:pt x="2169" y="86"/>
                    </a:lnTo>
                    <a:lnTo>
                      <a:pt x="2169" y="86"/>
                    </a:lnTo>
                    <a:lnTo>
                      <a:pt x="2160" y="79"/>
                    </a:lnTo>
                    <a:lnTo>
                      <a:pt x="2155" y="73"/>
                    </a:lnTo>
                    <a:lnTo>
                      <a:pt x="2152" y="69"/>
                    </a:lnTo>
                    <a:lnTo>
                      <a:pt x="2150" y="67"/>
                    </a:lnTo>
                    <a:lnTo>
                      <a:pt x="2149" y="66"/>
                    </a:lnTo>
                    <a:lnTo>
                      <a:pt x="2149" y="66"/>
                    </a:lnTo>
                    <a:lnTo>
                      <a:pt x="2138" y="65"/>
                    </a:lnTo>
                    <a:lnTo>
                      <a:pt x="2132" y="64"/>
                    </a:lnTo>
                    <a:lnTo>
                      <a:pt x="2128" y="64"/>
                    </a:lnTo>
                    <a:lnTo>
                      <a:pt x="2127" y="64"/>
                    </a:lnTo>
                    <a:lnTo>
                      <a:pt x="2127" y="64"/>
                    </a:lnTo>
                    <a:lnTo>
                      <a:pt x="2139" y="76"/>
                    </a:lnTo>
                    <a:lnTo>
                      <a:pt x="2147" y="86"/>
                    </a:lnTo>
                    <a:lnTo>
                      <a:pt x="2154" y="92"/>
                    </a:lnTo>
                    <a:lnTo>
                      <a:pt x="2157" y="96"/>
                    </a:lnTo>
                    <a:lnTo>
                      <a:pt x="2158" y="99"/>
                    </a:lnTo>
                    <a:lnTo>
                      <a:pt x="2159" y="99"/>
                    </a:lnTo>
                    <a:lnTo>
                      <a:pt x="2159" y="99"/>
                    </a:lnTo>
                    <a:lnTo>
                      <a:pt x="2148" y="112"/>
                    </a:lnTo>
                    <a:lnTo>
                      <a:pt x="2139" y="121"/>
                    </a:lnTo>
                    <a:lnTo>
                      <a:pt x="2133" y="127"/>
                    </a:lnTo>
                    <a:lnTo>
                      <a:pt x="2129" y="132"/>
                    </a:lnTo>
                    <a:lnTo>
                      <a:pt x="2126" y="135"/>
                    </a:lnTo>
                    <a:lnTo>
                      <a:pt x="2125" y="136"/>
                    </a:lnTo>
                    <a:lnTo>
                      <a:pt x="2125" y="137"/>
                    </a:lnTo>
                    <a:lnTo>
                      <a:pt x="2125" y="137"/>
                    </a:lnTo>
                    <a:lnTo>
                      <a:pt x="2136" y="135"/>
                    </a:lnTo>
                    <a:lnTo>
                      <a:pt x="2142" y="135"/>
                    </a:lnTo>
                    <a:lnTo>
                      <a:pt x="2145" y="134"/>
                    </a:lnTo>
                    <a:lnTo>
                      <a:pt x="2147" y="134"/>
                    </a:lnTo>
                    <a:lnTo>
                      <a:pt x="2147" y="134"/>
                    </a:lnTo>
                    <a:lnTo>
                      <a:pt x="2157" y="123"/>
                    </a:lnTo>
                    <a:lnTo>
                      <a:pt x="2165" y="116"/>
                    </a:lnTo>
                    <a:lnTo>
                      <a:pt x="2168" y="112"/>
                    </a:lnTo>
                    <a:lnTo>
                      <a:pt x="2170" y="110"/>
                    </a:lnTo>
                    <a:lnTo>
                      <a:pt x="2172" y="109"/>
                    </a:lnTo>
                    <a:lnTo>
                      <a:pt x="2172" y="109"/>
                    </a:lnTo>
                    <a:lnTo>
                      <a:pt x="2174" y="113"/>
                    </a:lnTo>
                    <a:lnTo>
                      <a:pt x="2176" y="115"/>
                    </a:lnTo>
                    <a:lnTo>
                      <a:pt x="2177" y="117"/>
                    </a:lnTo>
                    <a:lnTo>
                      <a:pt x="2178" y="119"/>
                    </a:lnTo>
                    <a:lnTo>
                      <a:pt x="2178" y="119"/>
                    </a:lnTo>
                    <a:lnTo>
                      <a:pt x="2178" y="119"/>
                    </a:lnTo>
                    <a:lnTo>
                      <a:pt x="2178" y="119"/>
                    </a:lnTo>
                    <a:lnTo>
                      <a:pt x="2183" y="124"/>
                    </a:lnTo>
                    <a:lnTo>
                      <a:pt x="2186" y="127"/>
                    </a:lnTo>
                    <a:lnTo>
                      <a:pt x="2188" y="130"/>
                    </a:lnTo>
                    <a:lnTo>
                      <a:pt x="2189" y="132"/>
                    </a:lnTo>
                    <a:lnTo>
                      <a:pt x="2190" y="133"/>
                    </a:lnTo>
                    <a:lnTo>
                      <a:pt x="2192" y="134"/>
                    </a:lnTo>
                    <a:lnTo>
                      <a:pt x="2192" y="134"/>
                    </a:lnTo>
                    <a:lnTo>
                      <a:pt x="2192" y="134"/>
                    </a:lnTo>
                    <a:lnTo>
                      <a:pt x="2192" y="134"/>
                    </a:lnTo>
                    <a:lnTo>
                      <a:pt x="2203" y="135"/>
                    </a:lnTo>
                    <a:lnTo>
                      <a:pt x="2209" y="136"/>
                    </a:lnTo>
                    <a:lnTo>
                      <a:pt x="2213" y="137"/>
                    </a:lnTo>
                    <a:lnTo>
                      <a:pt x="2215" y="137"/>
                    </a:lnTo>
                    <a:lnTo>
                      <a:pt x="2215" y="137"/>
                    </a:lnTo>
                    <a:lnTo>
                      <a:pt x="2203" y="124"/>
                    </a:lnTo>
                    <a:lnTo>
                      <a:pt x="2194" y="115"/>
                    </a:lnTo>
                    <a:lnTo>
                      <a:pt x="2188" y="109"/>
                    </a:lnTo>
                    <a:lnTo>
                      <a:pt x="2185" y="104"/>
                    </a:lnTo>
                    <a:lnTo>
                      <a:pt x="2183" y="103"/>
                    </a:lnTo>
                    <a:lnTo>
                      <a:pt x="2183" y="102"/>
                    </a:lnTo>
                    <a:lnTo>
                      <a:pt x="2182" y="102"/>
                    </a:lnTo>
                    <a:lnTo>
                      <a:pt x="2194" y="90"/>
                    </a:lnTo>
                    <a:lnTo>
                      <a:pt x="2203" y="80"/>
                    </a:lnTo>
                    <a:lnTo>
                      <a:pt x="2208" y="73"/>
                    </a:lnTo>
                    <a:lnTo>
                      <a:pt x="2213" y="69"/>
                    </a:lnTo>
                    <a:lnTo>
                      <a:pt x="2215" y="66"/>
                    </a:lnTo>
                    <a:lnTo>
                      <a:pt x="2216" y="64"/>
                    </a:lnTo>
                    <a:lnTo>
                      <a:pt x="2217" y="64"/>
                    </a:lnTo>
                    <a:lnTo>
                      <a:pt x="2217" y="64"/>
                    </a:lnTo>
                    <a:close/>
                    <a:moveTo>
                      <a:pt x="2003" y="62"/>
                    </a:moveTo>
                    <a:lnTo>
                      <a:pt x="2003" y="86"/>
                    </a:lnTo>
                    <a:lnTo>
                      <a:pt x="2002" y="105"/>
                    </a:lnTo>
                    <a:lnTo>
                      <a:pt x="2002" y="117"/>
                    </a:lnTo>
                    <a:lnTo>
                      <a:pt x="2002" y="126"/>
                    </a:lnTo>
                    <a:lnTo>
                      <a:pt x="2001" y="132"/>
                    </a:lnTo>
                    <a:lnTo>
                      <a:pt x="2001" y="134"/>
                    </a:lnTo>
                    <a:lnTo>
                      <a:pt x="2001" y="135"/>
                    </a:lnTo>
                    <a:lnTo>
                      <a:pt x="2001" y="135"/>
                    </a:lnTo>
                    <a:lnTo>
                      <a:pt x="2026" y="134"/>
                    </a:lnTo>
                    <a:lnTo>
                      <a:pt x="2044" y="134"/>
                    </a:lnTo>
                    <a:lnTo>
                      <a:pt x="2055" y="133"/>
                    </a:lnTo>
                    <a:lnTo>
                      <a:pt x="2063" y="133"/>
                    </a:lnTo>
                    <a:lnTo>
                      <a:pt x="2066" y="133"/>
                    </a:lnTo>
                    <a:lnTo>
                      <a:pt x="2068" y="133"/>
                    </a:lnTo>
                    <a:lnTo>
                      <a:pt x="2068" y="133"/>
                    </a:lnTo>
                    <a:lnTo>
                      <a:pt x="2069" y="107"/>
                    </a:lnTo>
                    <a:lnTo>
                      <a:pt x="2069" y="90"/>
                    </a:lnTo>
                    <a:lnTo>
                      <a:pt x="2071" y="77"/>
                    </a:lnTo>
                    <a:lnTo>
                      <a:pt x="2071" y="71"/>
                    </a:lnTo>
                    <a:lnTo>
                      <a:pt x="2071" y="66"/>
                    </a:lnTo>
                    <a:lnTo>
                      <a:pt x="2071" y="65"/>
                    </a:lnTo>
                    <a:lnTo>
                      <a:pt x="2071" y="65"/>
                    </a:lnTo>
                    <a:lnTo>
                      <a:pt x="2046" y="64"/>
                    </a:lnTo>
                    <a:lnTo>
                      <a:pt x="2027" y="63"/>
                    </a:lnTo>
                    <a:lnTo>
                      <a:pt x="2016" y="63"/>
                    </a:lnTo>
                    <a:lnTo>
                      <a:pt x="2008" y="63"/>
                    </a:lnTo>
                    <a:lnTo>
                      <a:pt x="2005" y="63"/>
                    </a:lnTo>
                    <a:lnTo>
                      <a:pt x="2003" y="62"/>
                    </a:lnTo>
                    <a:lnTo>
                      <a:pt x="2003" y="62"/>
                    </a:lnTo>
                    <a:close/>
                    <a:moveTo>
                      <a:pt x="2237" y="0"/>
                    </a:moveTo>
                    <a:lnTo>
                      <a:pt x="2246" y="2"/>
                    </a:lnTo>
                    <a:lnTo>
                      <a:pt x="2256" y="3"/>
                    </a:lnTo>
                    <a:lnTo>
                      <a:pt x="2265" y="4"/>
                    </a:lnTo>
                    <a:lnTo>
                      <a:pt x="2271" y="6"/>
                    </a:lnTo>
                    <a:lnTo>
                      <a:pt x="2284" y="15"/>
                    </a:lnTo>
                    <a:lnTo>
                      <a:pt x="2294" y="22"/>
                    </a:lnTo>
                    <a:lnTo>
                      <a:pt x="2303" y="31"/>
                    </a:lnTo>
                    <a:lnTo>
                      <a:pt x="2324" y="62"/>
                    </a:lnTo>
                    <a:lnTo>
                      <a:pt x="2325" y="73"/>
                    </a:lnTo>
                    <a:lnTo>
                      <a:pt x="2326" y="85"/>
                    </a:lnTo>
                    <a:lnTo>
                      <a:pt x="2328" y="101"/>
                    </a:lnTo>
                    <a:lnTo>
                      <a:pt x="2326" y="135"/>
                    </a:lnTo>
                    <a:lnTo>
                      <a:pt x="2325" y="164"/>
                    </a:lnTo>
                    <a:lnTo>
                      <a:pt x="2324" y="186"/>
                    </a:lnTo>
                    <a:lnTo>
                      <a:pt x="2324" y="202"/>
                    </a:lnTo>
                    <a:lnTo>
                      <a:pt x="2323" y="214"/>
                    </a:lnTo>
                    <a:lnTo>
                      <a:pt x="2323" y="222"/>
                    </a:lnTo>
                    <a:lnTo>
                      <a:pt x="2321" y="227"/>
                    </a:lnTo>
                    <a:lnTo>
                      <a:pt x="2321" y="230"/>
                    </a:lnTo>
                    <a:lnTo>
                      <a:pt x="2321" y="231"/>
                    </a:lnTo>
                    <a:lnTo>
                      <a:pt x="2321" y="231"/>
                    </a:lnTo>
                    <a:lnTo>
                      <a:pt x="2320" y="227"/>
                    </a:lnTo>
                    <a:lnTo>
                      <a:pt x="2318" y="224"/>
                    </a:lnTo>
                    <a:lnTo>
                      <a:pt x="2316" y="221"/>
                    </a:lnTo>
                    <a:lnTo>
                      <a:pt x="2313" y="218"/>
                    </a:lnTo>
                    <a:lnTo>
                      <a:pt x="2308" y="215"/>
                    </a:lnTo>
                    <a:lnTo>
                      <a:pt x="2290" y="201"/>
                    </a:lnTo>
                    <a:lnTo>
                      <a:pt x="2287" y="201"/>
                    </a:lnTo>
                    <a:lnTo>
                      <a:pt x="2283" y="200"/>
                    </a:lnTo>
                    <a:lnTo>
                      <a:pt x="2279" y="198"/>
                    </a:lnTo>
                    <a:lnTo>
                      <a:pt x="2276" y="197"/>
                    </a:lnTo>
                    <a:lnTo>
                      <a:pt x="2273" y="197"/>
                    </a:lnTo>
                    <a:lnTo>
                      <a:pt x="2266" y="194"/>
                    </a:lnTo>
                    <a:lnTo>
                      <a:pt x="2259" y="193"/>
                    </a:lnTo>
                    <a:lnTo>
                      <a:pt x="2249" y="194"/>
                    </a:lnTo>
                    <a:lnTo>
                      <a:pt x="2106" y="194"/>
                    </a:lnTo>
                    <a:lnTo>
                      <a:pt x="1972" y="193"/>
                    </a:lnTo>
                    <a:lnTo>
                      <a:pt x="1844" y="192"/>
                    </a:lnTo>
                    <a:lnTo>
                      <a:pt x="1725" y="191"/>
                    </a:lnTo>
                    <a:lnTo>
                      <a:pt x="1614" y="191"/>
                    </a:lnTo>
                    <a:lnTo>
                      <a:pt x="1510" y="190"/>
                    </a:lnTo>
                    <a:lnTo>
                      <a:pt x="1413" y="190"/>
                    </a:lnTo>
                    <a:lnTo>
                      <a:pt x="1323" y="188"/>
                    </a:lnTo>
                    <a:lnTo>
                      <a:pt x="1240" y="188"/>
                    </a:lnTo>
                    <a:lnTo>
                      <a:pt x="1164" y="187"/>
                    </a:lnTo>
                    <a:lnTo>
                      <a:pt x="1092" y="187"/>
                    </a:lnTo>
                    <a:lnTo>
                      <a:pt x="1028" y="186"/>
                    </a:lnTo>
                    <a:lnTo>
                      <a:pt x="969" y="186"/>
                    </a:lnTo>
                    <a:lnTo>
                      <a:pt x="915" y="186"/>
                    </a:lnTo>
                    <a:lnTo>
                      <a:pt x="867" y="186"/>
                    </a:lnTo>
                    <a:lnTo>
                      <a:pt x="823" y="185"/>
                    </a:lnTo>
                    <a:lnTo>
                      <a:pt x="784" y="185"/>
                    </a:lnTo>
                    <a:lnTo>
                      <a:pt x="749" y="185"/>
                    </a:lnTo>
                    <a:lnTo>
                      <a:pt x="718" y="185"/>
                    </a:lnTo>
                    <a:lnTo>
                      <a:pt x="692" y="185"/>
                    </a:lnTo>
                    <a:lnTo>
                      <a:pt x="668" y="184"/>
                    </a:lnTo>
                    <a:lnTo>
                      <a:pt x="648" y="184"/>
                    </a:lnTo>
                    <a:lnTo>
                      <a:pt x="631" y="184"/>
                    </a:lnTo>
                    <a:lnTo>
                      <a:pt x="617" y="184"/>
                    </a:lnTo>
                    <a:lnTo>
                      <a:pt x="605" y="184"/>
                    </a:lnTo>
                    <a:lnTo>
                      <a:pt x="596" y="184"/>
                    </a:lnTo>
                    <a:lnTo>
                      <a:pt x="588" y="184"/>
                    </a:lnTo>
                    <a:lnTo>
                      <a:pt x="584" y="184"/>
                    </a:lnTo>
                    <a:lnTo>
                      <a:pt x="580" y="184"/>
                    </a:lnTo>
                    <a:lnTo>
                      <a:pt x="577" y="184"/>
                    </a:lnTo>
                    <a:lnTo>
                      <a:pt x="575" y="184"/>
                    </a:lnTo>
                    <a:lnTo>
                      <a:pt x="575" y="184"/>
                    </a:lnTo>
                    <a:lnTo>
                      <a:pt x="574" y="184"/>
                    </a:lnTo>
                    <a:lnTo>
                      <a:pt x="574" y="184"/>
                    </a:lnTo>
                    <a:lnTo>
                      <a:pt x="572" y="184"/>
                    </a:lnTo>
                    <a:lnTo>
                      <a:pt x="570" y="184"/>
                    </a:lnTo>
                    <a:lnTo>
                      <a:pt x="570" y="184"/>
                    </a:lnTo>
                    <a:lnTo>
                      <a:pt x="568" y="184"/>
                    </a:lnTo>
                    <a:lnTo>
                      <a:pt x="568" y="184"/>
                    </a:lnTo>
                    <a:lnTo>
                      <a:pt x="566" y="185"/>
                    </a:lnTo>
                    <a:lnTo>
                      <a:pt x="564" y="185"/>
                    </a:lnTo>
                    <a:lnTo>
                      <a:pt x="564" y="185"/>
                    </a:lnTo>
                    <a:lnTo>
                      <a:pt x="563" y="185"/>
                    </a:lnTo>
                    <a:lnTo>
                      <a:pt x="563" y="185"/>
                    </a:lnTo>
                    <a:lnTo>
                      <a:pt x="557" y="186"/>
                    </a:lnTo>
                    <a:lnTo>
                      <a:pt x="541" y="185"/>
                    </a:lnTo>
                    <a:lnTo>
                      <a:pt x="530" y="185"/>
                    </a:lnTo>
                    <a:lnTo>
                      <a:pt x="523" y="185"/>
                    </a:lnTo>
                    <a:lnTo>
                      <a:pt x="520" y="185"/>
                    </a:lnTo>
                    <a:lnTo>
                      <a:pt x="518" y="185"/>
                    </a:lnTo>
                    <a:lnTo>
                      <a:pt x="518" y="185"/>
                    </a:lnTo>
                    <a:lnTo>
                      <a:pt x="518" y="155"/>
                    </a:lnTo>
                    <a:lnTo>
                      <a:pt x="518" y="133"/>
                    </a:lnTo>
                    <a:lnTo>
                      <a:pt x="518" y="117"/>
                    </a:lnTo>
                    <a:lnTo>
                      <a:pt x="518" y="106"/>
                    </a:lnTo>
                    <a:lnTo>
                      <a:pt x="518" y="101"/>
                    </a:lnTo>
                    <a:lnTo>
                      <a:pt x="518" y="97"/>
                    </a:lnTo>
                    <a:lnTo>
                      <a:pt x="518" y="95"/>
                    </a:lnTo>
                    <a:lnTo>
                      <a:pt x="518" y="95"/>
                    </a:lnTo>
                    <a:lnTo>
                      <a:pt x="521" y="80"/>
                    </a:lnTo>
                    <a:lnTo>
                      <a:pt x="524" y="67"/>
                    </a:lnTo>
                    <a:lnTo>
                      <a:pt x="531" y="55"/>
                    </a:lnTo>
                    <a:lnTo>
                      <a:pt x="535" y="44"/>
                    </a:lnTo>
                    <a:lnTo>
                      <a:pt x="541" y="36"/>
                    </a:lnTo>
                    <a:lnTo>
                      <a:pt x="550" y="30"/>
                    </a:lnTo>
                    <a:lnTo>
                      <a:pt x="555" y="20"/>
                    </a:lnTo>
                    <a:lnTo>
                      <a:pt x="565" y="13"/>
                    </a:lnTo>
                    <a:lnTo>
                      <a:pt x="575" y="10"/>
                    </a:lnTo>
                    <a:lnTo>
                      <a:pt x="586" y="4"/>
                    </a:lnTo>
                    <a:lnTo>
                      <a:pt x="596" y="2"/>
                    </a:lnTo>
                    <a:lnTo>
                      <a:pt x="607" y="0"/>
                    </a:lnTo>
                    <a:lnTo>
                      <a:pt x="2237"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5" name="Group 14"/>
          <p:cNvGrpSpPr/>
          <p:nvPr/>
        </p:nvGrpSpPr>
        <p:grpSpPr>
          <a:xfrm>
            <a:off x="9046141" y="4723197"/>
            <a:ext cx="1387282" cy="1882495"/>
            <a:chOff x="9046542" y="4723370"/>
            <a:chExt cx="1387479" cy="1882762"/>
          </a:xfrm>
        </p:grpSpPr>
        <p:grpSp>
          <p:nvGrpSpPr>
            <p:cNvPr id="9" name="Group 8"/>
            <p:cNvGrpSpPr/>
            <p:nvPr/>
          </p:nvGrpSpPr>
          <p:grpSpPr>
            <a:xfrm>
              <a:off x="9046542" y="4723370"/>
              <a:ext cx="1387479" cy="1882762"/>
              <a:chOff x="8895710" y="4704320"/>
              <a:chExt cx="1387479" cy="1882762"/>
            </a:xfrm>
          </p:grpSpPr>
          <p:grpSp>
            <p:nvGrpSpPr>
              <p:cNvPr id="378" name="Group 377"/>
              <p:cNvGrpSpPr/>
              <p:nvPr/>
            </p:nvGrpSpPr>
            <p:grpSpPr>
              <a:xfrm>
                <a:off x="9061799" y="4704320"/>
                <a:ext cx="1221390" cy="1882762"/>
                <a:chOff x="8522533" y="3512012"/>
                <a:chExt cx="1480444" cy="2282101"/>
              </a:xfrm>
            </p:grpSpPr>
            <p:sp>
              <p:nvSpPr>
                <p:cNvPr id="380" name="Rectangle 379"/>
                <p:cNvSpPr/>
                <p:nvPr/>
              </p:nvSpPr>
              <p:spPr>
                <a:xfrm>
                  <a:off x="8522533" y="5561192"/>
                  <a:ext cx="546582" cy="232921"/>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Files</a:t>
                  </a:r>
                </a:p>
              </p:txBody>
            </p:sp>
            <p:grpSp>
              <p:nvGrpSpPr>
                <p:cNvPr id="381" name="Group 380"/>
                <p:cNvGrpSpPr>
                  <a:grpSpLocks noChangeAspect="1"/>
                </p:cNvGrpSpPr>
                <p:nvPr/>
              </p:nvGrpSpPr>
              <p:grpSpPr>
                <a:xfrm>
                  <a:off x="9378404" y="3512012"/>
                  <a:ext cx="624573" cy="721126"/>
                  <a:chOff x="2484438" y="3657600"/>
                  <a:chExt cx="985837" cy="1138238"/>
                </a:xfrm>
              </p:grpSpPr>
              <p:sp>
                <p:nvSpPr>
                  <p:cNvPr id="382" name="AutoShape 7"/>
                  <p:cNvSpPr>
                    <a:spLocks noChangeAspect="1" noChangeArrowheads="1" noTextEdit="1"/>
                  </p:cNvSpPr>
                  <p:nvPr/>
                </p:nvSpPr>
                <p:spPr bwMode="auto">
                  <a:xfrm>
                    <a:off x="2484438" y="3657600"/>
                    <a:ext cx="985837" cy="113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7" name="AutoShape 12"/>
                  <p:cNvSpPr>
                    <a:spLocks noChangeAspect="1" noChangeArrowheads="1" noTextEdit="1"/>
                  </p:cNvSpPr>
                  <p:nvPr/>
                </p:nvSpPr>
                <p:spPr bwMode="auto">
                  <a:xfrm>
                    <a:off x="2586436" y="3955862"/>
                    <a:ext cx="603145" cy="4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sp>
                <p:nvSpPr>
                  <p:cNvPr id="388" name="Freeform 387"/>
                  <p:cNvSpPr>
                    <a:spLocks/>
                  </p:cNvSpPr>
                  <p:nvPr/>
                </p:nvSpPr>
                <p:spPr bwMode="auto">
                  <a:xfrm>
                    <a:off x="3172303" y="4424978"/>
                    <a:ext cx="0" cy="3760"/>
                  </a:xfrm>
                  <a:custGeom>
                    <a:avLst/>
                    <a:gdLst>
                      <a:gd name="T0" fmla="*/ 0 w 1"/>
                      <a:gd name="T1" fmla="*/ 7 h 7"/>
                      <a:gd name="T2" fmla="*/ 1 w 1"/>
                      <a:gd name="T3" fmla="*/ 0 h 7"/>
                      <a:gd name="T4" fmla="*/ 0 w 1"/>
                      <a:gd name="T5" fmla="*/ 7 h 7"/>
                    </a:gdLst>
                    <a:ahLst/>
                    <a:cxnLst>
                      <a:cxn ang="0">
                        <a:pos x="T0" y="T1"/>
                      </a:cxn>
                      <a:cxn ang="0">
                        <a:pos x="T2" y="T3"/>
                      </a:cxn>
                      <a:cxn ang="0">
                        <a:pos x="T4" y="T5"/>
                      </a:cxn>
                    </a:cxnLst>
                    <a:rect l="0" t="0" r="r" b="b"/>
                    <a:pathLst>
                      <a:path w="1" h="7">
                        <a:moveTo>
                          <a:pt x="0" y="7"/>
                        </a:moveTo>
                        <a:cubicBezTo>
                          <a:pt x="0" y="5"/>
                          <a:pt x="1" y="3"/>
                          <a:pt x="1" y="0"/>
                        </a:cubicBezTo>
                        <a:lnTo>
                          <a:pt x="0" y="7"/>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4" tIns="45706" rIns="91414" bIns="45706" numCol="1" anchor="t" anchorCtr="0" compatLnSpc="1">
                    <a:prstTxWarp prst="textNoShape">
                      <a:avLst/>
                    </a:prstTxWarp>
                  </a:bodyPr>
                  <a:lstStyle/>
                  <a:p>
                    <a:pPr defTabSz="932384"/>
                    <a:endParaRPr lang="en-US" dirty="0">
                      <a:solidFill>
                        <a:srgbClr val="FFFFFF"/>
                      </a:solidFill>
                    </a:endParaRPr>
                  </a:p>
                </p:txBody>
              </p:sp>
            </p:grpSp>
          </p:grpSp>
          <p:sp>
            <p:nvSpPr>
              <p:cNvPr id="376" name="Rectangle 375"/>
              <p:cNvSpPr/>
              <p:nvPr/>
            </p:nvSpPr>
            <p:spPr>
              <a:xfrm>
                <a:off x="8895710" y="5379198"/>
                <a:ext cx="832929" cy="192162"/>
              </a:xfrm>
              <a:prstGeom prst="rect">
                <a:avLst/>
              </a:prstGeom>
              <a:noFill/>
              <a:ln>
                <a:noFill/>
              </a:ln>
            </p:spPr>
            <p:txBody>
              <a:bodyPr wrap="square" lIns="0" tIns="0" rIns="0" bIns="0" anchor="ctr">
                <a:spAutoFit/>
              </a:bodyPr>
              <a:lstStyle/>
              <a:p>
                <a:pPr algn="ctr" defTabSz="1118108" fontAlgn="base">
                  <a:spcAft>
                    <a:spcPct val="0"/>
                  </a:spcAft>
                </a:pPr>
                <a:r>
                  <a:rPr lang="en-US" sz="1224" dirty="0">
                    <a:ln>
                      <a:solidFill>
                        <a:srgbClr val="FFFFFF">
                          <a:alpha val="0"/>
                        </a:srgbClr>
                      </a:solidFill>
                    </a:ln>
                    <a:solidFill>
                      <a:srgbClr val="FFFFFF"/>
                    </a:solidFill>
                    <a:latin typeface="Segoe"/>
                  </a:rPr>
                  <a:t>LOB Apps</a:t>
                </a:r>
              </a:p>
            </p:txBody>
          </p:sp>
          <p:grpSp>
            <p:nvGrpSpPr>
              <p:cNvPr id="8" name="Group 7"/>
              <p:cNvGrpSpPr/>
              <p:nvPr/>
            </p:nvGrpSpPr>
            <p:grpSpPr>
              <a:xfrm>
                <a:off x="8924232" y="4771449"/>
                <a:ext cx="789096" cy="583101"/>
                <a:chOff x="8924232" y="4771449"/>
                <a:chExt cx="789096" cy="583101"/>
              </a:xfrm>
            </p:grpSpPr>
            <p:sp>
              <p:nvSpPr>
                <p:cNvPr id="95" name="Rectangle 36"/>
                <p:cNvSpPr>
                  <a:spLocks noChangeArrowheads="1"/>
                </p:cNvSpPr>
                <p:nvPr/>
              </p:nvSpPr>
              <p:spPr bwMode="auto">
                <a:xfrm>
                  <a:off x="8924232" y="4771449"/>
                  <a:ext cx="789096" cy="583101"/>
                </a:xfrm>
                <a:prstGeom prst="rect">
                  <a:avLst/>
                </a:prstGeom>
                <a:noFill/>
                <a:ln w="317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6" name="Freeform 37"/>
                <p:cNvSpPr>
                  <a:spLocks noEditPoints="1"/>
                </p:cNvSpPr>
                <p:nvPr/>
              </p:nvSpPr>
              <p:spPr bwMode="auto">
                <a:xfrm>
                  <a:off x="8924232" y="4850572"/>
                  <a:ext cx="789096" cy="396209"/>
                </a:xfrm>
                <a:custGeom>
                  <a:avLst/>
                  <a:gdLst>
                    <a:gd name="T0" fmla="*/ 0 w 950"/>
                    <a:gd name="T1" fmla="*/ 102 h 477"/>
                    <a:gd name="T2" fmla="*/ 950 w 950"/>
                    <a:gd name="T3" fmla="*/ 102 h 477"/>
                    <a:gd name="T4" fmla="*/ 950 w 950"/>
                    <a:gd name="T5" fmla="*/ 225 h 477"/>
                    <a:gd name="T6" fmla="*/ 0 w 950"/>
                    <a:gd name="T7" fmla="*/ 225 h 477"/>
                    <a:gd name="T8" fmla="*/ 0 w 950"/>
                    <a:gd name="T9" fmla="*/ 354 h 477"/>
                    <a:gd name="T10" fmla="*/ 950 w 950"/>
                    <a:gd name="T11" fmla="*/ 354 h 477"/>
                    <a:gd name="T12" fmla="*/ 0 w 950"/>
                    <a:gd name="T13" fmla="*/ 477 h 477"/>
                    <a:gd name="T14" fmla="*/ 950 w 950"/>
                    <a:gd name="T15" fmla="*/ 477 h 477"/>
                    <a:gd name="T16" fmla="*/ 0 w 950"/>
                    <a:gd name="T17" fmla="*/ 0 h 477"/>
                    <a:gd name="T18" fmla="*/ 950 w 950"/>
                    <a:gd name="T19" fmla="*/ 0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0" h="477">
                      <a:moveTo>
                        <a:pt x="0" y="102"/>
                      </a:moveTo>
                      <a:lnTo>
                        <a:pt x="950" y="102"/>
                      </a:lnTo>
                      <a:moveTo>
                        <a:pt x="950" y="225"/>
                      </a:moveTo>
                      <a:lnTo>
                        <a:pt x="0" y="225"/>
                      </a:lnTo>
                      <a:moveTo>
                        <a:pt x="0" y="354"/>
                      </a:moveTo>
                      <a:lnTo>
                        <a:pt x="950" y="354"/>
                      </a:lnTo>
                      <a:moveTo>
                        <a:pt x="0" y="477"/>
                      </a:moveTo>
                      <a:lnTo>
                        <a:pt x="950" y="477"/>
                      </a:lnTo>
                      <a:moveTo>
                        <a:pt x="0" y="0"/>
                      </a:moveTo>
                      <a:lnTo>
                        <a:pt x="950" y="0"/>
                      </a:lnTo>
                    </a:path>
                  </a:pathLst>
                </a:custGeom>
                <a:noFill/>
                <a:ln w="2222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97" name="Freeform 38"/>
                <p:cNvSpPr>
                  <a:spLocks/>
                </p:cNvSpPr>
                <p:nvPr/>
              </p:nvSpPr>
              <p:spPr bwMode="auto">
                <a:xfrm>
                  <a:off x="8932815" y="4805413"/>
                  <a:ext cx="739258" cy="503360"/>
                </a:xfrm>
                <a:custGeom>
                  <a:avLst/>
                  <a:gdLst>
                    <a:gd name="T0" fmla="*/ 0 w 1777"/>
                    <a:gd name="T1" fmla="*/ 1150 h 1150"/>
                    <a:gd name="T2" fmla="*/ 195 w 1777"/>
                    <a:gd name="T3" fmla="*/ 1111 h 1150"/>
                    <a:gd name="T4" fmla="*/ 306 w 1777"/>
                    <a:gd name="T5" fmla="*/ 1088 h 1150"/>
                    <a:gd name="T6" fmla="*/ 367 w 1777"/>
                    <a:gd name="T7" fmla="*/ 1075 h 1150"/>
                    <a:gd name="T8" fmla="*/ 398 w 1777"/>
                    <a:gd name="T9" fmla="*/ 1068 h 1150"/>
                    <a:gd name="T10" fmla="*/ 405 w 1777"/>
                    <a:gd name="T11" fmla="*/ 1067 h 1150"/>
                    <a:gd name="T12" fmla="*/ 409 w 1777"/>
                    <a:gd name="T13" fmla="*/ 1066 h 1150"/>
                    <a:gd name="T14" fmla="*/ 411 w 1777"/>
                    <a:gd name="T15" fmla="*/ 1065 h 1150"/>
                    <a:gd name="T16" fmla="*/ 412 w 1777"/>
                    <a:gd name="T17" fmla="*/ 1063 h 1150"/>
                    <a:gd name="T18" fmla="*/ 420 w 1777"/>
                    <a:gd name="T19" fmla="*/ 1050 h 1150"/>
                    <a:gd name="T20" fmla="*/ 548 w 1777"/>
                    <a:gd name="T21" fmla="*/ 854 h 1150"/>
                    <a:gd name="T22" fmla="*/ 608 w 1777"/>
                    <a:gd name="T23" fmla="*/ 761 h 1150"/>
                    <a:gd name="T24" fmla="*/ 635 w 1777"/>
                    <a:gd name="T25" fmla="*/ 720 h 1150"/>
                    <a:gd name="T26" fmla="*/ 677 w 1777"/>
                    <a:gd name="T27" fmla="*/ 696 h 1150"/>
                    <a:gd name="T28" fmla="*/ 1021 w 1777"/>
                    <a:gd name="T29" fmla="*/ 653 h 1150"/>
                    <a:gd name="T30" fmla="*/ 1385 w 1777"/>
                    <a:gd name="T31" fmla="*/ 282 h 1150"/>
                    <a:gd name="T32" fmla="*/ 1394 w 1777"/>
                    <a:gd name="T33" fmla="*/ 277 h 1150"/>
                    <a:gd name="T34" fmla="*/ 1518 w 1777"/>
                    <a:gd name="T35" fmla="*/ 481 h 1150"/>
                    <a:gd name="T36" fmla="*/ 1777 w 1777"/>
                    <a:gd name="T37" fmla="*/ 0 h 1150"/>
                    <a:gd name="T38" fmla="*/ 1237 w 1777"/>
                    <a:gd name="T39" fmla="*/ 16 h 1150"/>
                    <a:gd name="T40" fmla="*/ 1360 w 1777"/>
                    <a:gd name="T41" fmla="*/ 220 h 1150"/>
                    <a:gd name="T42" fmla="*/ 1351 w 1777"/>
                    <a:gd name="T43" fmla="*/ 226 h 1150"/>
                    <a:gd name="T44" fmla="*/ 974 w 1777"/>
                    <a:gd name="T45" fmla="*/ 604 h 1150"/>
                    <a:gd name="T46" fmla="*/ 642 w 1777"/>
                    <a:gd name="T47" fmla="*/ 640 h 1150"/>
                    <a:gd name="T48" fmla="*/ 588 w 1777"/>
                    <a:gd name="T49" fmla="*/ 672 h 1150"/>
                    <a:gd name="T50" fmla="*/ 554 w 1777"/>
                    <a:gd name="T51" fmla="*/ 724 h 1150"/>
                    <a:gd name="T52" fmla="*/ 493 w 1777"/>
                    <a:gd name="T53" fmla="*/ 818 h 1150"/>
                    <a:gd name="T54" fmla="*/ 378 w 1777"/>
                    <a:gd name="T55" fmla="*/ 995 h 1150"/>
                    <a:gd name="T56" fmla="*/ 371 w 1777"/>
                    <a:gd name="T57" fmla="*/ 1005 h 1150"/>
                    <a:gd name="T58" fmla="*/ 369 w 1777"/>
                    <a:gd name="T59" fmla="*/ 1007 h 1150"/>
                    <a:gd name="T60" fmla="*/ 366 w 1777"/>
                    <a:gd name="T61" fmla="*/ 1008 h 1150"/>
                    <a:gd name="T62" fmla="*/ 360 w 1777"/>
                    <a:gd name="T63" fmla="*/ 1009 h 1150"/>
                    <a:gd name="T64" fmla="*/ 336 w 1777"/>
                    <a:gd name="T65" fmla="*/ 1014 h 1150"/>
                    <a:gd name="T66" fmla="*/ 288 w 1777"/>
                    <a:gd name="T67" fmla="*/ 1024 h 1150"/>
                    <a:gd name="T68" fmla="*/ 182 w 1777"/>
                    <a:gd name="T69" fmla="*/ 1046 h 1150"/>
                    <a:gd name="T70" fmla="*/ 1 w 1777"/>
                    <a:gd name="T71" fmla="*/ 1085 h 1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777" h="1150">
                      <a:moveTo>
                        <a:pt x="0" y="1150"/>
                      </a:moveTo>
                      <a:cubicBezTo>
                        <a:pt x="195" y="1111"/>
                        <a:pt x="195" y="1111"/>
                        <a:pt x="195" y="1111"/>
                      </a:cubicBezTo>
                      <a:cubicBezTo>
                        <a:pt x="306" y="1088"/>
                        <a:pt x="306" y="1088"/>
                        <a:pt x="306" y="1088"/>
                      </a:cubicBezTo>
                      <a:cubicBezTo>
                        <a:pt x="367" y="1075"/>
                        <a:pt x="367" y="1075"/>
                        <a:pt x="367" y="1075"/>
                      </a:cubicBezTo>
                      <a:cubicBezTo>
                        <a:pt x="398" y="1068"/>
                        <a:pt x="398" y="1068"/>
                        <a:pt x="398" y="1068"/>
                      </a:cubicBezTo>
                      <a:cubicBezTo>
                        <a:pt x="405" y="1067"/>
                        <a:pt x="405" y="1067"/>
                        <a:pt x="405" y="1067"/>
                      </a:cubicBezTo>
                      <a:cubicBezTo>
                        <a:pt x="409" y="1066"/>
                        <a:pt x="409" y="1066"/>
                        <a:pt x="409" y="1066"/>
                      </a:cubicBezTo>
                      <a:cubicBezTo>
                        <a:pt x="410" y="1066"/>
                        <a:pt x="410" y="1066"/>
                        <a:pt x="411" y="1065"/>
                      </a:cubicBezTo>
                      <a:cubicBezTo>
                        <a:pt x="412" y="1063"/>
                        <a:pt x="412" y="1063"/>
                        <a:pt x="412" y="1063"/>
                      </a:cubicBezTo>
                      <a:cubicBezTo>
                        <a:pt x="420" y="1050"/>
                        <a:pt x="420" y="1050"/>
                        <a:pt x="420" y="1050"/>
                      </a:cubicBezTo>
                      <a:cubicBezTo>
                        <a:pt x="548" y="854"/>
                        <a:pt x="548" y="854"/>
                        <a:pt x="548" y="854"/>
                      </a:cubicBezTo>
                      <a:cubicBezTo>
                        <a:pt x="608" y="761"/>
                        <a:pt x="608" y="761"/>
                        <a:pt x="608" y="761"/>
                      </a:cubicBezTo>
                      <a:cubicBezTo>
                        <a:pt x="617" y="748"/>
                        <a:pt x="625" y="734"/>
                        <a:pt x="635" y="720"/>
                      </a:cubicBezTo>
                      <a:cubicBezTo>
                        <a:pt x="677" y="696"/>
                        <a:pt x="677" y="696"/>
                        <a:pt x="677" y="696"/>
                      </a:cubicBezTo>
                      <a:cubicBezTo>
                        <a:pt x="1021" y="653"/>
                        <a:pt x="1021" y="653"/>
                        <a:pt x="1021" y="653"/>
                      </a:cubicBezTo>
                      <a:cubicBezTo>
                        <a:pt x="1385" y="282"/>
                        <a:pt x="1385" y="282"/>
                        <a:pt x="1385" y="282"/>
                      </a:cubicBezTo>
                      <a:cubicBezTo>
                        <a:pt x="1394" y="277"/>
                        <a:pt x="1394" y="277"/>
                        <a:pt x="1394" y="277"/>
                      </a:cubicBezTo>
                      <a:cubicBezTo>
                        <a:pt x="1518" y="481"/>
                        <a:pt x="1518" y="481"/>
                        <a:pt x="1518" y="481"/>
                      </a:cubicBezTo>
                      <a:cubicBezTo>
                        <a:pt x="1605" y="320"/>
                        <a:pt x="1692" y="160"/>
                        <a:pt x="1777" y="0"/>
                      </a:cubicBezTo>
                      <a:cubicBezTo>
                        <a:pt x="1596" y="6"/>
                        <a:pt x="1416" y="11"/>
                        <a:pt x="1237" y="16"/>
                      </a:cubicBezTo>
                      <a:cubicBezTo>
                        <a:pt x="1360" y="220"/>
                        <a:pt x="1360" y="220"/>
                        <a:pt x="1360" y="220"/>
                      </a:cubicBezTo>
                      <a:cubicBezTo>
                        <a:pt x="1351" y="226"/>
                        <a:pt x="1351" y="226"/>
                        <a:pt x="1351" y="226"/>
                      </a:cubicBezTo>
                      <a:cubicBezTo>
                        <a:pt x="974" y="604"/>
                        <a:pt x="974" y="604"/>
                        <a:pt x="974" y="604"/>
                      </a:cubicBezTo>
                      <a:cubicBezTo>
                        <a:pt x="642" y="640"/>
                        <a:pt x="642" y="640"/>
                        <a:pt x="642" y="640"/>
                      </a:cubicBezTo>
                      <a:cubicBezTo>
                        <a:pt x="588" y="672"/>
                        <a:pt x="588" y="672"/>
                        <a:pt x="588" y="672"/>
                      </a:cubicBezTo>
                      <a:cubicBezTo>
                        <a:pt x="576" y="689"/>
                        <a:pt x="565" y="706"/>
                        <a:pt x="554" y="724"/>
                      </a:cubicBezTo>
                      <a:cubicBezTo>
                        <a:pt x="493" y="818"/>
                        <a:pt x="493" y="818"/>
                        <a:pt x="493" y="818"/>
                      </a:cubicBezTo>
                      <a:cubicBezTo>
                        <a:pt x="378" y="995"/>
                        <a:pt x="378" y="995"/>
                        <a:pt x="378" y="995"/>
                      </a:cubicBezTo>
                      <a:cubicBezTo>
                        <a:pt x="371" y="1005"/>
                        <a:pt x="371" y="1005"/>
                        <a:pt x="371" y="1005"/>
                      </a:cubicBezTo>
                      <a:cubicBezTo>
                        <a:pt x="371" y="1006"/>
                        <a:pt x="370" y="1007"/>
                        <a:pt x="369" y="1007"/>
                      </a:cubicBezTo>
                      <a:cubicBezTo>
                        <a:pt x="366" y="1008"/>
                        <a:pt x="366" y="1008"/>
                        <a:pt x="366" y="1008"/>
                      </a:cubicBezTo>
                      <a:cubicBezTo>
                        <a:pt x="360" y="1009"/>
                        <a:pt x="360" y="1009"/>
                        <a:pt x="360" y="1009"/>
                      </a:cubicBezTo>
                      <a:cubicBezTo>
                        <a:pt x="336" y="1014"/>
                        <a:pt x="336" y="1014"/>
                        <a:pt x="336" y="1014"/>
                      </a:cubicBezTo>
                      <a:cubicBezTo>
                        <a:pt x="288" y="1024"/>
                        <a:pt x="288" y="1024"/>
                        <a:pt x="288" y="1024"/>
                      </a:cubicBezTo>
                      <a:cubicBezTo>
                        <a:pt x="182" y="1046"/>
                        <a:pt x="182" y="1046"/>
                        <a:pt x="182" y="1046"/>
                      </a:cubicBezTo>
                      <a:cubicBezTo>
                        <a:pt x="1" y="1085"/>
                        <a:pt x="1" y="1085"/>
                        <a:pt x="1" y="1085"/>
                      </a:cubicBezTo>
                    </a:path>
                  </a:pathLst>
                </a:custGeom>
                <a:solidFill>
                  <a:srgbClr val="FFFFFF"/>
                </a:solidFill>
                <a:ln w="19050" cap="flat">
                  <a:solidFill>
                    <a:srgbClr val="FFFFFF"/>
                  </a:solidFill>
                  <a:prstDash val="solid"/>
                  <a:miter lim="800000"/>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grpSp>
          <p:nvGrpSpPr>
            <p:cNvPr id="14" name="Group 13"/>
            <p:cNvGrpSpPr/>
            <p:nvPr/>
          </p:nvGrpSpPr>
          <p:grpSpPr>
            <a:xfrm>
              <a:off x="9064821" y="5642995"/>
              <a:ext cx="543741" cy="762486"/>
              <a:chOff x="8226354" y="5693963"/>
              <a:chExt cx="648704" cy="909675"/>
            </a:xfrm>
          </p:grpSpPr>
          <p:sp>
            <p:nvSpPr>
              <p:cNvPr id="130" name="Freeform 730"/>
              <p:cNvSpPr>
                <a:spLocks noEditPoints="1"/>
              </p:cNvSpPr>
              <p:nvPr/>
            </p:nvSpPr>
            <p:spPr bwMode="auto">
              <a:xfrm>
                <a:off x="8410469" y="5693963"/>
                <a:ext cx="464589" cy="909675"/>
              </a:xfrm>
              <a:custGeom>
                <a:avLst/>
                <a:gdLst>
                  <a:gd name="T0" fmla="*/ 2121 w 2429"/>
                  <a:gd name="T1" fmla="*/ 4239 h 4758"/>
                  <a:gd name="T2" fmla="*/ 268 w 2429"/>
                  <a:gd name="T3" fmla="*/ 4074 h 4758"/>
                  <a:gd name="T4" fmla="*/ 268 w 2429"/>
                  <a:gd name="T5" fmla="*/ 4278 h 4758"/>
                  <a:gd name="T6" fmla="*/ 307 w 2429"/>
                  <a:gd name="T7" fmla="*/ 3875 h 4758"/>
                  <a:gd name="T8" fmla="*/ 307 w 2429"/>
                  <a:gd name="T9" fmla="*/ 3749 h 4758"/>
                  <a:gd name="T10" fmla="*/ 677 w 2429"/>
                  <a:gd name="T11" fmla="*/ 3914 h 4758"/>
                  <a:gd name="T12" fmla="*/ 307 w 2429"/>
                  <a:gd name="T13" fmla="*/ 3386 h 4758"/>
                  <a:gd name="T14" fmla="*/ 638 w 2429"/>
                  <a:gd name="T15" fmla="*/ 3386 h 4758"/>
                  <a:gd name="T16" fmla="*/ 677 w 2429"/>
                  <a:gd name="T17" fmla="*/ 3347 h 4758"/>
                  <a:gd name="T18" fmla="*/ 268 w 2429"/>
                  <a:gd name="T19" fmla="*/ 3347 h 4758"/>
                  <a:gd name="T20" fmla="*/ 2160 w 2429"/>
                  <a:gd name="T21" fmla="*/ 1162 h 4758"/>
                  <a:gd name="T22" fmla="*/ 2121 w 2429"/>
                  <a:gd name="T23" fmla="*/ 1123 h 4758"/>
                  <a:gd name="T24" fmla="*/ 307 w 2429"/>
                  <a:gd name="T25" fmla="*/ 1123 h 4758"/>
                  <a:gd name="T26" fmla="*/ 268 w 2429"/>
                  <a:gd name="T27" fmla="*/ 1162 h 4758"/>
                  <a:gd name="T28" fmla="*/ 307 w 2429"/>
                  <a:gd name="T29" fmla="*/ 707 h 4758"/>
                  <a:gd name="T30" fmla="*/ 307 w 2429"/>
                  <a:gd name="T31" fmla="*/ 522 h 4758"/>
                  <a:gd name="T32" fmla="*/ 2160 w 2429"/>
                  <a:gd name="T33" fmla="*/ 746 h 4758"/>
                  <a:gd name="T34" fmla="*/ 336 w 2429"/>
                  <a:gd name="T35" fmla="*/ 0 h 4758"/>
                  <a:gd name="T36" fmla="*/ 2198 w 2429"/>
                  <a:gd name="T37" fmla="*/ 15 h 4758"/>
                  <a:gd name="T38" fmla="*/ 2329 w 2429"/>
                  <a:gd name="T39" fmla="*/ 88 h 4758"/>
                  <a:gd name="T40" fmla="*/ 2412 w 2429"/>
                  <a:gd name="T41" fmla="*/ 206 h 4758"/>
                  <a:gd name="T42" fmla="*/ 2429 w 2429"/>
                  <a:gd name="T43" fmla="*/ 4456 h 4758"/>
                  <a:gd name="T44" fmla="*/ 2391 w 2429"/>
                  <a:gd name="T45" fmla="*/ 4595 h 4758"/>
                  <a:gd name="T46" fmla="*/ 2290 w 2429"/>
                  <a:gd name="T47" fmla="*/ 4700 h 4758"/>
                  <a:gd name="T48" fmla="*/ 2146 w 2429"/>
                  <a:gd name="T49" fmla="*/ 4754 h 4758"/>
                  <a:gd name="T50" fmla="*/ 283 w 2429"/>
                  <a:gd name="T51" fmla="*/ 4754 h 4758"/>
                  <a:gd name="T52" fmla="*/ 138 w 2429"/>
                  <a:gd name="T53" fmla="*/ 4700 h 4758"/>
                  <a:gd name="T54" fmla="*/ 37 w 2429"/>
                  <a:gd name="T55" fmla="*/ 4595 h 4758"/>
                  <a:gd name="T56" fmla="*/ 0 w 2429"/>
                  <a:gd name="T57" fmla="*/ 4456 h 4758"/>
                  <a:gd name="T58" fmla="*/ 39 w 2429"/>
                  <a:gd name="T59" fmla="*/ 4456 h 4758"/>
                  <a:gd name="T60" fmla="*/ 72 w 2429"/>
                  <a:gd name="T61" fmla="*/ 4577 h 4758"/>
                  <a:gd name="T62" fmla="*/ 161 w 2429"/>
                  <a:gd name="T63" fmla="*/ 4668 h 4758"/>
                  <a:gd name="T64" fmla="*/ 289 w 2429"/>
                  <a:gd name="T65" fmla="*/ 4716 h 4758"/>
                  <a:gd name="T66" fmla="*/ 2140 w 2429"/>
                  <a:gd name="T67" fmla="*/ 4716 h 4758"/>
                  <a:gd name="T68" fmla="*/ 2267 w 2429"/>
                  <a:gd name="T69" fmla="*/ 4668 h 4758"/>
                  <a:gd name="T70" fmla="*/ 2357 w 2429"/>
                  <a:gd name="T71" fmla="*/ 4577 h 4758"/>
                  <a:gd name="T72" fmla="*/ 2390 w 2429"/>
                  <a:gd name="T73" fmla="*/ 4456 h 4758"/>
                  <a:gd name="T74" fmla="*/ 2374 w 2429"/>
                  <a:gd name="T75" fmla="*/ 218 h 4758"/>
                  <a:gd name="T76" fmla="*/ 2302 w 2429"/>
                  <a:gd name="T77" fmla="*/ 115 h 4758"/>
                  <a:gd name="T78" fmla="*/ 2186 w 2429"/>
                  <a:gd name="T79" fmla="*/ 52 h 4758"/>
                  <a:gd name="T80" fmla="*/ 336 w 2429"/>
                  <a:gd name="T81" fmla="*/ 39 h 4758"/>
                  <a:gd name="T82" fmla="*/ 200 w 2429"/>
                  <a:gd name="T83" fmla="*/ 68 h 4758"/>
                  <a:gd name="T84" fmla="*/ 96 w 2429"/>
                  <a:gd name="T85" fmla="*/ 147 h 4758"/>
                  <a:gd name="T86" fmla="*/ 43 w 2429"/>
                  <a:gd name="T87" fmla="*/ 258 h 4758"/>
                  <a:gd name="T88" fmla="*/ 0 w 2429"/>
                  <a:gd name="T89" fmla="*/ 1318 h 4758"/>
                  <a:gd name="T90" fmla="*/ 17 w 2429"/>
                  <a:gd name="T91" fmla="*/ 206 h 4758"/>
                  <a:gd name="T92" fmla="*/ 98 w 2429"/>
                  <a:gd name="T93" fmla="*/ 88 h 4758"/>
                  <a:gd name="T94" fmla="*/ 231 w 2429"/>
                  <a:gd name="T95" fmla="*/ 15 h 4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29" h="4758">
                    <a:moveTo>
                      <a:pt x="307" y="4113"/>
                    </a:moveTo>
                    <a:lnTo>
                      <a:pt x="307" y="4239"/>
                    </a:lnTo>
                    <a:lnTo>
                      <a:pt x="2121" y="4239"/>
                    </a:lnTo>
                    <a:lnTo>
                      <a:pt x="2121" y="4113"/>
                    </a:lnTo>
                    <a:lnTo>
                      <a:pt x="307" y="4113"/>
                    </a:lnTo>
                    <a:close/>
                    <a:moveTo>
                      <a:pt x="268" y="4074"/>
                    </a:moveTo>
                    <a:lnTo>
                      <a:pt x="2160" y="4074"/>
                    </a:lnTo>
                    <a:lnTo>
                      <a:pt x="2160" y="4278"/>
                    </a:lnTo>
                    <a:lnTo>
                      <a:pt x="268" y="4278"/>
                    </a:lnTo>
                    <a:lnTo>
                      <a:pt x="268" y="4074"/>
                    </a:lnTo>
                    <a:close/>
                    <a:moveTo>
                      <a:pt x="307" y="3749"/>
                    </a:moveTo>
                    <a:lnTo>
                      <a:pt x="307" y="3875"/>
                    </a:lnTo>
                    <a:lnTo>
                      <a:pt x="638" y="3875"/>
                    </a:lnTo>
                    <a:lnTo>
                      <a:pt x="638" y="3749"/>
                    </a:lnTo>
                    <a:lnTo>
                      <a:pt x="307" y="3749"/>
                    </a:lnTo>
                    <a:close/>
                    <a:moveTo>
                      <a:pt x="268" y="3710"/>
                    </a:moveTo>
                    <a:lnTo>
                      <a:pt x="677" y="3710"/>
                    </a:lnTo>
                    <a:lnTo>
                      <a:pt x="677" y="3914"/>
                    </a:lnTo>
                    <a:lnTo>
                      <a:pt x="268" y="3914"/>
                    </a:lnTo>
                    <a:lnTo>
                      <a:pt x="268" y="3710"/>
                    </a:lnTo>
                    <a:close/>
                    <a:moveTo>
                      <a:pt x="307" y="3386"/>
                    </a:moveTo>
                    <a:lnTo>
                      <a:pt x="307" y="3510"/>
                    </a:lnTo>
                    <a:lnTo>
                      <a:pt x="638" y="3510"/>
                    </a:lnTo>
                    <a:lnTo>
                      <a:pt x="638" y="3386"/>
                    </a:lnTo>
                    <a:lnTo>
                      <a:pt x="307" y="3386"/>
                    </a:lnTo>
                    <a:close/>
                    <a:moveTo>
                      <a:pt x="268" y="3347"/>
                    </a:moveTo>
                    <a:lnTo>
                      <a:pt x="677" y="3347"/>
                    </a:lnTo>
                    <a:lnTo>
                      <a:pt x="677" y="3549"/>
                    </a:lnTo>
                    <a:lnTo>
                      <a:pt x="268" y="3549"/>
                    </a:lnTo>
                    <a:lnTo>
                      <a:pt x="268" y="3347"/>
                    </a:lnTo>
                    <a:close/>
                    <a:moveTo>
                      <a:pt x="268" y="877"/>
                    </a:moveTo>
                    <a:lnTo>
                      <a:pt x="2160" y="877"/>
                    </a:lnTo>
                    <a:lnTo>
                      <a:pt x="2160" y="1162"/>
                    </a:lnTo>
                    <a:lnTo>
                      <a:pt x="1737" y="1162"/>
                    </a:lnTo>
                    <a:lnTo>
                      <a:pt x="1737" y="1123"/>
                    </a:lnTo>
                    <a:lnTo>
                      <a:pt x="2121" y="1123"/>
                    </a:lnTo>
                    <a:lnTo>
                      <a:pt x="2121" y="916"/>
                    </a:lnTo>
                    <a:lnTo>
                      <a:pt x="307" y="916"/>
                    </a:lnTo>
                    <a:lnTo>
                      <a:pt x="307" y="1123"/>
                    </a:lnTo>
                    <a:lnTo>
                      <a:pt x="404" y="1123"/>
                    </a:lnTo>
                    <a:lnTo>
                      <a:pt x="404" y="1162"/>
                    </a:lnTo>
                    <a:lnTo>
                      <a:pt x="268" y="1162"/>
                    </a:lnTo>
                    <a:lnTo>
                      <a:pt x="268" y="877"/>
                    </a:lnTo>
                    <a:close/>
                    <a:moveTo>
                      <a:pt x="307" y="522"/>
                    </a:moveTo>
                    <a:lnTo>
                      <a:pt x="307" y="707"/>
                    </a:lnTo>
                    <a:lnTo>
                      <a:pt x="2121" y="707"/>
                    </a:lnTo>
                    <a:lnTo>
                      <a:pt x="2121" y="522"/>
                    </a:lnTo>
                    <a:lnTo>
                      <a:pt x="307" y="522"/>
                    </a:lnTo>
                    <a:close/>
                    <a:moveTo>
                      <a:pt x="268" y="482"/>
                    </a:moveTo>
                    <a:lnTo>
                      <a:pt x="2160" y="482"/>
                    </a:lnTo>
                    <a:lnTo>
                      <a:pt x="2160" y="746"/>
                    </a:lnTo>
                    <a:lnTo>
                      <a:pt x="268" y="746"/>
                    </a:lnTo>
                    <a:lnTo>
                      <a:pt x="268" y="482"/>
                    </a:lnTo>
                    <a:close/>
                    <a:moveTo>
                      <a:pt x="336" y="0"/>
                    </a:moveTo>
                    <a:lnTo>
                      <a:pt x="2091" y="0"/>
                    </a:lnTo>
                    <a:lnTo>
                      <a:pt x="2146" y="4"/>
                    </a:lnTo>
                    <a:lnTo>
                      <a:pt x="2198" y="15"/>
                    </a:lnTo>
                    <a:lnTo>
                      <a:pt x="2247" y="33"/>
                    </a:lnTo>
                    <a:lnTo>
                      <a:pt x="2290" y="57"/>
                    </a:lnTo>
                    <a:lnTo>
                      <a:pt x="2329" y="88"/>
                    </a:lnTo>
                    <a:lnTo>
                      <a:pt x="2364" y="124"/>
                    </a:lnTo>
                    <a:lnTo>
                      <a:pt x="2391" y="163"/>
                    </a:lnTo>
                    <a:lnTo>
                      <a:pt x="2412" y="206"/>
                    </a:lnTo>
                    <a:lnTo>
                      <a:pt x="2425" y="253"/>
                    </a:lnTo>
                    <a:lnTo>
                      <a:pt x="2429" y="302"/>
                    </a:lnTo>
                    <a:lnTo>
                      <a:pt x="2429" y="4456"/>
                    </a:lnTo>
                    <a:lnTo>
                      <a:pt x="2425" y="4505"/>
                    </a:lnTo>
                    <a:lnTo>
                      <a:pt x="2412" y="4551"/>
                    </a:lnTo>
                    <a:lnTo>
                      <a:pt x="2391" y="4595"/>
                    </a:lnTo>
                    <a:lnTo>
                      <a:pt x="2364" y="4634"/>
                    </a:lnTo>
                    <a:lnTo>
                      <a:pt x="2329" y="4670"/>
                    </a:lnTo>
                    <a:lnTo>
                      <a:pt x="2290" y="4700"/>
                    </a:lnTo>
                    <a:lnTo>
                      <a:pt x="2247" y="4725"/>
                    </a:lnTo>
                    <a:lnTo>
                      <a:pt x="2198" y="4742"/>
                    </a:lnTo>
                    <a:lnTo>
                      <a:pt x="2146" y="4754"/>
                    </a:lnTo>
                    <a:lnTo>
                      <a:pt x="2091" y="4758"/>
                    </a:lnTo>
                    <a:lnTo>
                      <a:pt x="336" y="4758"/>
                    </a:lnTo>
                    <a:lnTo>
                      <a:pt x="283" y="4754"/>
                    </a:lnTo>
                    <a:lnTo>
                      <a:pt x="231" y="4742"/>
                    </a:lnTo>
                    <a:lnTo>
                      <a:pt x="182" y="4725"/>
                    </a:lnTo>
                    <a:lnTo>
                      <a:pt x="138" y="4700"/>
                    </a:lnTo>
                    <a:lnTo>
                      <a:pt x="98" y="4670"/>
                    </a:lnTo>
                    <a:lnTo>
                      <a:pt x="65" y="4634"/>
                    </a:lnTo>
                    <a:lnTo>
                      <a:pt x="37" y="4595"/>
                    </a:lnTo>
                    <a:lnTo>
                      <a:pt x="17" y="4551"/>
                    </a:lnTo>
                    <a:lnTo>
                      <a:pt x="4" y="4505"/>
                    </a:lnTo>
                    <a:lnTo>
                      <a:pt x="0" y="4456"/>
                    </a:lnTo>
                    <a:lnTo>
                      <a:pt x="0" y="3351"/>
                    </a:lnTo>
                    <a:lnTo>
                      <a:pt x="39" y="3351"/>
                    </a:lnTo>
                    <a:lnTo>
                      <a:pt x="39" y="4456"/>
                    </a:lnTo>
                    <a:lnTo>
                      <a:pt x="43" y="4499"/>
                    </a:lnTo>
                    <a:lnTo>
                      <a:pt x="53" y="4540"/>
                    </a:lnTo>
                    <a:lnTo>
                      <a:pt x="72" y="4577"/>
                    </a:lnTo>
                    <a:lnTo>
                      <a:pt x="96" y="4612"/>
                    </a:lnTo>
                    <a:lnTo>
                      <a:pt x="125" y="4642"/>
                    </a:lnTo>
                    <a:lnTo>
                      <a:pt x="161" y="4668"/>
                    </a:lnTo>
                    <a:lnTo>
                      <a:pt x="200" y="4690"/>
                    </a:lnTo>
                    <a:lnTo>
                      <a:pt x="242" y="4706"/>
                    </a:lnTo>
                    <a:lnTo>
                      <a:pt x="289" y="4716"/>
                    </a:lnTo>
                    <a:lnTo>
                      <a:pt x="336" y="4719"/>
                    </a:lnTo>
                    <a:lnTo>
                      <a:pt x="2091" y="4719"/>
                    </a:lnTo>
                    <a:lnTo>
                      <a:pt x="2140" y="4716"/>
                    </a:lnTo>
                    <a:lnTo>
                      <a:pt x="2186" y="4706"/>
                    </a:lnTo>
                    <a:lnTo>
                      <a:pt x="2228" y="4690"/>
                    </a:lnTo>
                    <a:lnTo>
                      <a:pt x="2267" y="4668"/>
                    </a:lnTo>
                    <a:lnTo>
                      <a:pt x="2302" y="4642"/>
                    </a:lnTo>
                    <a:lnTo>
                      <a:pt x="2332" y="4612"/>
                    </a:lnTo>
                    <a:lnTo>
                      <a:pt x="2357" y="4577"/>
                    </a:lnTo>
                    <a:lnTo>
                      <a:pt x="2374" y="4540"/>
                    </a:lnTo>
                    <a:lnTo>
                      <a:pt x="2386" y="4499"/>
                    </a:lnTo>
                    <a:lnTo>
                      <a:pt x="2390" y="4456"/>
                    </a:lnTo>
                    <a:lnTo>
                      <a:pt x="2390" y="302"/>
                    </a:lnTo>
                    <a:lnTo>
                      <a:pt x="2386" y="258"/>
                    </a:lnTo>
                    <a:lnTo>
                      <a:pt x="2374" y="218"/>
                    </a:lnTo>
                    <a:lnTo>
                      <a:pt x="2357" y="180"/>
                    </a:lnTo>
                    <a:lnTo>
                      <a:pt x="2332" y="147"/>
                    </a:lnTo>
                    <a:lnTo>
                      <a:pt x="2302" y="115"/>
                    </a:lnTo>
                    <a:lnTo>
                      <a:pt x="2267" y="89"/>
                    </a:lnTo>
                    <a:lnTo>
                      <a:pt x="2228" y="68"/>
                    </a:lnTo>
                    <a:lnTo>
                      <a:pt x="2186" y="52"/>
                    </a:lnTo>
                    <a:lnTo>
                      <a:pt x="2140" y="41"/>
                    </a:lnTo>
                    <a:lnTo>
                      <a:pt x="2091" y="39"/>
                    </a:lnTo>
                    <a:lnTo>
                      <a:pt x="336" y="39"/>
                    </a:lnTo>
                    <a:lnTo>
                      <a:pt x="289" y="41"/>
                    </a:lnTo>
                    <a:lnTo>
                      <a:pt x="242" y="52"/>
                    </a:lnTo>
                    <a:lnTo>
                      <a:pt x="200" y="68"/>
                    </a:lnTo>
                    <a:lnTo>
                      <a:pt x="161" y="89"/>
                    </a:lnTo>
                    <a:lnTo>
                      <a:pt x="125" y="115"/>
                    </a:lnTo>
                    <a:lnTo>
                      <a:pt x="96" y="147"/>
                    </a:lnTo>
                    <a:lnTo>
                      <a:pt x="72" y="180"/>
                    </a:lnTo>
                    <a:lnTo>
                      <a:pt x="53" y="218"/>
                    </a:lnTo>
                    <a:lnTo>
                      <a:pt x="43" y="258"/>
                    </a:lnTo>
                    <a:lnTo>
                      <a:pt x="39" y="302"/>
                    </a:lnTo>
                    <a:lnTo>
                      <a:pt x="39" y="1318"/>
                    </a:lnTo>
                    <a:lnTo>
                      <a:pt x="0" y="1318"/>
                    </a:lnTo>
                    <a:lnTo>
                      <a:pt x="0" y="302"/>
                    </a:lnTo>
                    <a:lnTo>
                      <a:pt x="4" y="253"/>
                    </a:lnTo>
                    <a:lnTo>
                      <a:pt x="17" y="206"/>
                    </a:lnTo>
                    <a:lnTo>
                      <a:pt x="37" y="163"/>
                    </a:lnTo>
                    <a:lnTo>
                      <a:pt x="65" y="124"/>
                    </a:lnTo>
                    <a:lnTo>
                      <a:pt x="98" y="88"/>
                    </a:lnTo>
                    <a:lnTo>
                      <a:pt x="138" y="57"/>
                    </a:lnTo>
                    <a:lnTo>
                      <a:pt x="182" y="33"/>
                    </a:lnTo>
                    <a:lnTo>
                      <a:pt x="231" y="15"/>
                    </a:lnTo>
                    <a:lnTo>
                      <a:pt x="283" y="4"/>
                    </a:lnTo>
                    <a:lnTo>
                      <a:pt x="336" y="0"/>
                    </a:lnTo>
                    <a:close/>
                  </a:path>
                </a:pathLst>
              </a:custGeom>
              <a:solidFill>
                <a:srgbClr val="FFFFFF"/>
              </a:solidFill>
              <a:ln w="0">
                <a:solidFill>
                  <a:srgbClr val="FFFFFF"/>
                </a:solid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sp>
            <p:nvSpPr>
              <p:cNvPr id="131" name="Freeform 731"/>
              <p:cNvSpPr>
                <a:spLocks noEditPoints="1"/>
              </p:cNvSpPr>
              <p:nvPr/>
            </p:nvSpPr>
            <p:spPr bwMode="auto">
              <a:xfrm>
                <a:off x="8226354" y="5878651"/>
                <a:ext cx="543741" cy="465735"/>
              </a:xfrm>
              <a:custGeom>
                <a:avLst/>
                <a:gdLst>
                  <a:gd name="T0" fmla="*/ 263 w 2844"/>
                  <a:gd name="T1" fmla="*/ 611 h 2438"/>
                  <a:gd name="T2" fmla="*/ 250 w 2844"/>
                  <a:gd name="T3" fmla="*/ 747 h 2438"/>
                  <a:gd name="T4" fmla="*/ 231 w 2844"/>
                  <a:gd name="T5" fmla="*/ 1425 h 2438"/>
                  <a:gd name="T6" fmla="*/ 2588 w 2844"/>
                  <a:gd name="T7" fmla="*/ 2321 h 2438"/>
                  <a:gd name="T8" fmla="*/ 2665 w 2844"/>
                  <a:gd name="T9" fmla="*/ 2292 h 2438"/>
                  <a:gd name="T10" fmla="*/ 2718 w 2844"/>
                  <a:gd name="T11" fmla="*/ 1401 h 2438"/>
                  <a:gd name="T12" fmla="*/ 2730 w 2844"/>
                  <a:gd name="T13" fmla="*/ 1253 h 2438"/>
                  <a:gd name="T14" fmla="*/ 2746 w 2844"/>
                  <a:gd name="T15" fmla="*/ 1008 h 2438"/>
                  <a:gd name="T16" fmla="*/ 2749 w 2844"/>
                  <a:gd name="T17" fmla="*/ 780 h 2438"/>
                  <a:gd name="T18" fmla="*/ 2721 w 2844"/>
                  <a:gd name="T19" fmla="*/ 679 h 2438"/>
                  <a:gd name="T20" fmla="*/ 2444 w 2844"/>
                  <a:gd name="T21" fmla="*/ 77 h 2438"/>
                  <a:gd name="T22" fmla="*/ 1506 w 2844"/>
                  <a:gd name="T23" fmla="*/ 81 h 2438"/>
                  <a:gd name="T24" fmla="*/ 1450 w 2844"/>
                  <a:gd name="T25" fmla="*/ 149 h 2438"/>
                  <a:gd name="T26" fmla="*/ 1438 w 2844"/>
                  <a:gd name="T27" fmla="*/ 251 h 2438"/>
                  <a:gd name="T28" fmla="*/ 1344 w 2844"/>
                  <a:gd name="T29" fmla="*/ 376 h 2438"/>
                  <a:gd name="T30" fmla="*/ 124 w 2844"/>
                  <a:gd name="T31" fmla="*/ 405 h 2438"/>
                  <a:gd name="T32" fmla="*/ 79 w 2844"/>
                  <a:gd name="T33" fmla="*/ 517 h 2438"/>
                  <a:gd name="T34" fmla="*/ 78 w 2844"/>
                  <a:gd name="T35" fmla="*/ 661 h 2438"/>
                  <a:gd name="T36" fmla="*/ 79 w 2844"/>
                  <a:gd name="T37" fmla="*/ 2022 h 2438"/>
                  <a:gd name="T38" fmla="*/ 72 w 2844"/>
                  <a:gd name="T39" fmla="*/ 2179 h 2438"/>
                  <a:gd name="T40" fmla="*/ 104 w 2844"/>
                  <a:gd name="T41" fmla="*/ 2328 h 2438"/>
                  <a:gd name="T42" fmla="*/ 179 w 2844"/>
                  <a:gd name="T43" fmla="*/ 655 h 2438"/>
                  <a:gd name="T44" fmla="*/ 214 w 2844"/>
                  <a:gd name="T45" fmla="*/ 527 h 2438"/>
                  <a:gd name="T46" fmla="*/ 344 w 2844"/>
                  <a:gd name="T47" fmla="*/ 478 h 2438"/>
                  <a:gd name="T48" fmla="*/ 2294 w 2844"/>
                  <a:gd name="T49" fmla="*/ 579 h 2438"/>
                  <a:gd name="T50" fmla="*/ 2731 w 2844"/>
                  <a:gd name="T51" fmla="*/ 598 h 2438"/>
                  <a:gd name="T52" fmla="*/ 2756 w 2844"/>
                  <a:gd name="T53" fmla="*/ 482 h 2438"/>
                  <a:gd name="T54" fmla="*/ 2710 w 2844"/>
                  <a:gd name="T55" fmla="*/ 382 h 2438"/>
                  <a:gd name="T56" fmla="*/ 2642 w 2844"/>
                  <a:gd name="T57" fmla="*/ 323 h 2438"/>
                  <a:gd name="T58" fmla="*/ 2620 w 2844"/>
                  <a:gd name="T59" fmla="*/ 168 h 2438"/>
                  <a:gd name="T60" fmla="*/ 2557 w 2844"/>
                  <a:gd name="T61" fmla="*/ 89 h 2438"/>
                  <a:gd name="T62" fmla="*/ 1630 w 2844"/>
                  <a:gd name="T63" fmla="*/ 0 h 2438"/>
                  <a:gd name="T64" fmla="*/ 2632 w 2844"/>
                  <a:gd name="T65" fmla="*/ 37 h 2438"/>
                  <a:gd name="T66" fmla="*/ 2700 w 2844"/>
                  <a:gd name="T67" fmla="*/ 200 h 2438"/>
                  <a:gd name="T68" fmla="*/ 2733 w 2844"/>
                  <a:gd name="T69" fmla="*/ 310 h 2438"/>
                  <a:gd name="T70" fmla="*/ 2792 w 2844"/>
                  <a:gd name="T71" fmla="*/ 349 h 2438"/>
                  <a:gd name="T72" fmla="*/ 2843 w 2844"/>
                  <a:gd name="T73" fmla="*/ 535 h 2438"/>
                  <a:gd name="T74" fmla="*/ 2834 w 2844"/>
                  <a:gd name="T75" fmla="*/ 762 h 2438"/>
                  <a:gd name="T76" fmla="*/ 2760 w 2844"/>
                  <a:gd name="T77" fmla="*/ 2077 h 2438"/>
                  <a:gd name="T78" fmla="*/ 2756 w 2844"/>
                  <a:gd name="T79" fmla="*/ 2218 h 2438"/>
                  <a:gd name="T80" fmla="*/ 2716 w 2844"/>
                  <a:gd name="T81" fmla="*/ 2353 h 2438"/>
                  <a:gd name="T82" fmla="*/ 2570 w 2844"/>
                  <a:gd name="T83" fmla="*/ 2402 h 2438"/>
                  <a:gd name="T84" fmla="*/ 117 w 2844"/>
                  <a:gd name="T85" fmla="*/ 2438 h 2438"/>
                  <a:gd name="T86" fmla="*/ 32 w 2844"/>
                  <a:gd name="T87" fmla="*/ 2351 h 2438"/>
                  <a:gd name="T88" fmla="*/ 3 w 2844"/>
                  <a:gd name="T89" fmla="*/ 768 h 2438"/>
                  <a:gd name="T90" fmla="*/ 0 w 2844"/>
                  <a:gd name="T91" fmla="*/ 603 h 2438"/>
                  <a:gd name="T92" fmla="*/ 20 w 2844"/>
                  <a:gd name="T93" fmla="*/ 443 h 2438"/>
                  <a:gd name="T94" fmla="*/ 110 w 2844"/>
                  <a:gd name="T95" fmla="*/ 334 h 2438"/>
                  <a:gd name="T96" fmla="*/ 1293 w 2844"/>
                  <a:gd name="T97" fmla="*/ 311 h 2438"/>
                  <a:gd name="T98" fmla="*/ 1354 w 2844"/>
                  <a:gd name="T99" fmla="*/ 242 h 2438"/>
                  <a:gd name="T100" fmla="*/ 1373 w 2844"/>
                  <a:gd name="T101" fmla="*/ 120 h 2438"/>
                  <a:gd name="T102" fmla="*/ 1463 w 2844"/>
                  <a:gd name="T103" fmla="*/ 21 h 2438"/>
                  <a:gd name="T104" fmla="*/ 1600 w 2844"/>
                  <a:gd name="T105" fmla="*/ 0 h 2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4" h="2438">
                    <a:moveTo>
                      <a:pt x="314" y="557"/>
                    </a:moveTo>
                    <a:lnTo>
                      <a:pt x="296" y="561"/>
                    </a:lnTo>
                    <a:lnTo>
                      <a:pt x="282" y="573"/>
                    </a:lnTo>
                    <a:lnTo>
                      <a:pt x="270" y="590"/>
                    </a:lnTo>
                    <a:lnTo>
                      <a:pt x="263" y="611"/>
                    </a:lnTo>
                    <a:lnTo>
                      <a:pt x="257" y="635"/>
                    </a:lnTo>
                    <a:lnTo>
                      <a:pt x="253" y="663"/>
                    </a:lnTo>
                    <a:lnTo>
                      <a:pt x="250" y="690"/>
                    </a:lnTo>
                    <a:lnTo>
                      <a:pt x="250" y="719"/>
                    </a:lnTo>
                    <a:lnTo>
                      <a:pt x="250" y="747"/>
                    </a:lnTo>
                    <a:lnTo>
                      <a:pt x="250" y="773"/>
                    </a:lnTo>
                    <a:lnTo>
                      <a:pt x="251" y="796"/>
                    </a:lnTo>
                    <a:lnTo>
                      <a:pt x="251" y="816"/>
                    </a:lnTo>
                    <a:lnTo>
                      <a:pt x="251" y="830"/>
                    </a:lnTo>
                    <a:lnTo>
                      <a:pt x="231" y="1425"/>
                    </a:lnTo>
                    <a:lnTo>
                      <a:pt x="198" y="2359"/>
                    </a:lnTo>
                    <a:lnTo>
                      <a:pt x="1765" y="2334"/>
                    </a:lnTo>
                    <a:lnTo>
                      <a:pt x="2551" y="2321"/>
                    </a:lnTo>
                    <a:lnTo>
                      <a:pt x="2570" y="2321"/>
                    </a:lnTo>
                    <a:lnTo>
                      <a:pt x="2588" y="2321"/>
                    </a:lnTo>
                    <a:lnTo>
                      <a:pt x="2607" y="2321"/>
                    </a:lnTo>
                    <a:lnTo>
                      <a:pt x="2624" y="2318"/>
                    </a:lnTo>
                    <a:lnTo>
                      <a:pt x="2640" y="2314"/>
                    </a:lnTo>
                    <a:lnTo>
                      <a:pt x="2653" y="2305"/>
                    </a:lnTo>
                    <a:lnTo>
                      <a:pt x="2665" y="2292"/>
                    </a:lnTo>
                    <a:lnTo>
                      <a:pt x="2671" y="2275"/>
                    </a:lnTo>
                    <a:lnTo>
                      <a:pt x="2674" y="2252"/>
                    </a:lnTo>
                    <a:lnTo>
                      <a:pt x="2677" y="2191"/>
                    </a:lnTo>
                    <a:lnTo>
                      <a:pt x="2697" y="1796"/>
                    </a:lnTo>
                    <a:lnTo>
                      <a:pt x="2718" y="1401"/>
                    </a:lnTo>
                    <a:lnTo>
                      <a:pt x="2718" y="1384"/>
                    </a:lnTo>
                    <a:lnTo>
                      <a:pt x="2721" y="1360"/>
                    </a:lnTo>
                    <a:lnTo>
                      <a:pt x="2723" y="1329"/>
                    </a:lnTo>
                    <a:lnTo>
                      <a:pt x="2726" y="1293"/>
                    </a:lnTo>
                    <a:lnTo>
                      <a:pt x="2730" y="1253"/>
                    </a:lnTo>
                    <a:lnTo>
                      <a:pt x="2733" y="1208"/>
                    </a:lnTo>
                    <a:lnTo>
                      <a:pt x="2737" y="1160"/>
                    </a:lnTo>
                    <a:lnTo>
                      <a:pt x="2740" y="1111"/>
                    </a:lnTo>
                    <a:lnTo>
                      <a:pt x="2743" y="1060"/>
                    </a:lnTo>
                    <a:lnTo>
                      <a:pt x="2746" y="1008"/>
                    </a:lnTo>
                    <a:lnTo>
                      <a:pt x="2749" y="958"/>
                    </a:lnTo>
                    <a:lnTo>
                      <a:pt x="2750" y="910"/>
                    </a:lnTo>
                    <a:lnTo>
                      <a:pt x="2750" y="862"/>
                    </a:lnTo>
                    <a:lnTo>
                      <a:pt x="2750" y="819"/>
                    </a:lnTo>
                    <a:lnTo>
                      <a:pt x="2749" y="780"/>
                    </a:lnTo>
                    <a:lnTo>
                      <a:pt x="2747" y="747"/>
                    </a:lnTo>
                    <a:lnTo>
                      <a:pt x="2743" y="718"/>
                    </a:lnTo>
                    <a:lnTo>
                      <a:pt x="2737" y="696"/>
                    </a:lnTo>
                    <a:lnTo>
                      <a:pt x="2730" y="683"/>
                    </a:lnTo>
                    <a:lnTo>
                      <a:pt x="2721" y="679"/>
                    </a:lnTo>
                    <a:lnTo>
                      <a:pt x="2531" y="668"/>
                    </a:lnTo>
                    <a:lnTo>
                      <a:pt x="620" y="573"/>
                    </a:lnTo>
                    <a:lnTo>
                      <a:pt x="314" y="557"/>
                    </a:lnTo>
                    <a:close/>
                    <a:moveTo>
                      <a:pt x="2467" y="77"/>
                    </a:moveTo>
                    <a:lnTo>
                      <a:pt x="2444" y="77"/>
                    </a:lnTo>
                    <a:lnTo>
                      <a:pt x="2419" y="79"/>
                    </a:lnTo>
                    <a:lnTo>
                      <a:pt x="2396" y="79"/>
                    </a:lnTo>
                    <a:lnTo>
                      <a:pt x="2373" y="80"/>
                    </a:lnTo>
                    <a:lnTo>
                      <a:pt x="1529" y="80"/>
                    </a:lnTo>
                    <a:lnTo>
                      <a:pt x="1506" y="81"/>
                    </a:lnTo>
                    <a:lnTo>
                      <a:pt x="1487" y="89"/>
                    </a:lnTo>
                    <a:lnTo>
                      <a:pt x="1473" y="100"/>
                    </a:lnTo>
                    <a:lnTo>
                      <a:pt x="1463" y="113"/>
                    </a:lnTo>
                    <a:lnTo>
                      <a:pt x="1455" y="131"/>
                    </a:lnTo>
                    <a:lnTo>
                      <a:pt x="1450" y="149"/>
                    </a:lnTo>
                    <a:lnTo>
                      <a:pt x="1447" y="170"/>
                    </a:lnTo>
                    <a:lnTo>
                      <a:pt x="1444" y="190"/>
                    </a:lnTo>
                    <a:lnTo>
                      <a:pt x="1442" y="212"/>
                    </a:lnTo>
                    <a:lnTo>
                      <a:pt x="1441" y="232"/>
                    </a:lnTo>
                    <a:lnTo>
                      <a:pt x="1438" y="251"/>
                    </a:lnTo>
                    <a:lnTo>
                      <a:pt x="1434" y="268"/>
                    </a:lnTo>
                    <a:lnTo>
                      <a:pt x="1419" y="303"/>
                    </a:lnTo>
                    <a:lnTo>
                      <a:pt x="1399" y="333"/>
                    </a:lnTo>
                    <a:lnTo>
                      <a:pt x="1374" y="358"/>
                    </a:lnTo>
                    <a:lnTo>
                      <a:pt x="1344" y="376"/>
                    </a:lnTo>
                    <a:lnTo>
                      <a:pt x="1311" y="388"/>
                    </a:lnTo>
                    <a:lnTo>
                      <a:pt x="1273" y="392"/>
                    </a:lnTo>
                    <a:lnTo>
                      <a:pt x="163" y="392"/>
                    </a:lnTo>
                    <a:lnTo>
                      <a:pt x="142" y="395"/>
                    </a:lnTo>
                    <a:lnTo>
                      <a:pt x="124" y="405"/>
                    </a:lnTo>
                    <a:lnTo>
                      <a:pt x="110" y="420"/>
                    </a:lnTo>
                    <a:lnTo>
                      <a:pt x="98" y="439"/>
                    </a:lnTo>
                    <a:lnTo>
                      <a:pt x="90" y="462"/>
                    </a:lnTo>
                    <a:lnTo>
                      <a:pt x="84" y="488"/>
                    </a:lnTo>
                    <a:lnTo>
                      <a:pt x="79" y="517"/>
                    </a:lnTo>
                    <a:lnTo>
                      <a:pt x="77" y="546"/>
                    </a:lnTo>
                    <a:lnTo>
                      <a:pt x="77" y="576"/>
                    </a:lnTo>
                    <a:lnTo>
                      <a:pt x="77" y="605"/>
                    </a:lnTo>
                    <a:lnTo>
                      <a:pt x="77" y="634"/>
                    </a:lnTo>
                    <a:lnTo>
                      <a:pt x="78" y="661"/>
                    </a:lnTo>
                    <a:lnTo>
                      <a:pt x="79" y="684"/>
                    </a:lnTo>
                    <a:lnTo>
                      <a:pt x="81" y="705"/>
                    </a:lnTo>
                    <a:lnTo>
                      <a:pt x="81" y="722"/>
                    </a:lnTo>
                    <a:lnTo>
                      <a:pt x="81" y="1999"/>
                    </a:lnTo>
                    <a:lnTo>
                      <a:pt x="79" y="2022"/>
                    </a:lnTo>
                    <a:lnTo>
                      <a:pt x="78" y="2049"/>
                    </a:lnTo>
                    <a:lnTo>
                      <a:pt x="77" y="2078"/>
                    </a:lnTo>
                    <a:lnTo>
                      <a:pt x="75" y="2111"/>
                    </a:lnTo>
                    <a:lnTo>
                      <a:pt x="74" y="2146"/>
                    </a:lnTo>
                    <a:lnTo>
                      <a:pt x="72" y="2179"/>
                    </a:lnTo>
                    <a:lnTo>
                      <a:pt x="74" y="2214"/>
                    </a:lnTo>
                    <a:lnTo>
                      <a:pt x="77" y="2247"/>
                    </a:lnTo>
                    <a:lnTo>
                      <a:pt x="82" y="2278"/>
                    </a:lnTo>
                    <a:lnTo>
                      <a:pt x="92" y="2305"/>
                    </a:lnTo>
                    <a:lnTo>
                      <a:pt x="104" y="2328"/>
                    </a:lnTo>
                    <a:lnTo>
                      <a:pt x="121" y="2346"/>
                    </a:lnTo>
                    <a:lnTo>
                      <a:pt x="176" y="736"/>
                    </a:lnTo>
                    <a:lnTo>
                      <a:pt x="178" y="710"/>
                    </a:lnTo>
                    <a:lnTo>
                      <a:pt x="178" y="683"/>
                    </a:lnTo>
                    <a:lnTo>
                      <a:pt x="179" y="655"/>
                    </a:lnTo>
                    <a:lnTo>
                      <a:pt x="181" y="628"/>
                    </a:lnTo>
                    <a:lnTo>
                      <a:pt x="185" y="600"/>
                    </a:lnTo>
                    <a:lnTo>
                      <a:pt x="191" y="573"/>
                    </a:lnTo>
                    <a:lnTo>
                      <a:pt x="201" y="550"/>
                    </a:lnTo>
                    <a:lnTo>
                      <a:pt x="214" y="527"/>
                    </a:lnTo>
                    <a:lnTo>
                      <a:pt x="231" y="508"/>
                    </a:lnTo>
                    <a:lnTo>
                      <a:pt x="253" y="493"/>
                    </a:lnTo>
                    <a:lnTo>
                      <a:pt x="282" y="482"/>
                    </a:lnTo>
                    <a:lnTo>
                      <a:pt x="312" y="478"/>
                    </a:lnTo>
                    <a:lnTo>
                      <a:pt x="344" y="478"/>
                    </a:lnTo>
                    <a:lnTo>
                      <a:pt x="379" y="479"/>
                    </a:lnTo>
                    <a:lnTo>
                      <a:pt x="410" y="483"/>
                    </a:lnTo>
                    <a:lnTo>
                      <a:pt x="441" y="485"/>
                    </a:lnTo>
                    <a:lnTo>
                      <a:pt x="1302" y="528"/>
                    </a:lnTo>
                    <a:lnTo>
                      <a:pt x="2294" y="579"/>
                    </a:lnTo>
                    <a:lnTo>
                      <a:pt x="2630" y="595"/>
                    </a:lnTo>
                    <a:lnTo>
                      <a:pt x="2653" y="595"/>
                    </a:lnTo>
                    <a:lnTo>
                      <a:pt x="2679" y="595"/>
                    </a:lnTo>
                    <a:lnTo>
                      <a:pt x="2707" y="595"/>
                    </a:lnTo>
                    <a:lnTo>
                      <a:pt x="2731" y="598"/>
                    </a:lnTo>
                    <a:lnTo>
                      <a:pt x="2755" y="605"/>
                    </a:lnTo>
                    <a:lnTo>
                      <a:pt x="2755" y="576"/>
                    </a:lnTo>
                    <a:lnTo>
                      <a:pt x="2756" y="546"/>
                    </a:lnTo>
                    <a:lnTo>
                      <a:pt x="2757" y="514"/>
                    </a:lnTo>
                    <a:lnTo>
                      <a:pt x="2756" y="482"/>
                    </a:lnTo>
                    <a:lnTo>
                      <a:pt x="2752" y="452"/>
                    </a:lnTo>
                    <a:lnTo>
                      <a:pt x="2744" y="423"/>
                    </a:lnTo>
                    <a:lnTo>
                      <a:pt x="2731" y="398"/>
                    </a:lnTo>
                    <a:lnTo>
                      <a:pt x="2721" y="389"/>
                    </a:lnTo>
                    <a:lnTo>
                      <a:pt x="2710" y="382"/>
                    </a:lnTo>
                    <a:lnTo>
                      <a:pt x="2695" y="376"/>
                    </a:lnTo>
                    <a:lnTo>
                      <a:pt x="2682" y="371"/>
                    </a:lnTo>
                    <a:lnTo>
                      <a:pt x="2669" y="362"/>
                    </a:lnTo>
                    <a:lnTo>
                      <a:pt x="2658" y="350"/>
                    </a:lnTo>
                    <a:lnTo>
                      <a:pt x="2642" y="323"/>
                    </a:lnTo>
                    <a:lnTo>
                      <a:pt x="2632" y="292"/>
                    </a:lnTo>
                    <a:lnTo>
                      <a:pt x="2626" y="261"/>
                    </a:lnTo>
                    <a:lnTo>
                      <a:pt x="2623" y="230"/>
                    </a:lnTo>
                    <a:lnTo>
                      <a:pt x="2622" y="199"/>
                    </a:lnTo>
                    <a:lnTo>
                      <a:pt x="2620" y="168"/>
                    </a:lnTo>
                    <a:lnTo>
                      <a:pt x="2613" y="144"/>
                    </a:lnTo>
                    <a:lnTo>
                      <a:pt x="2604" y="125"/>
                    </a:lnTo>
                    <a:lnTo>
                      <a:pt x="2591" y="109"/>
                    </a:lnTo>
                    <a:lnTo>
                      <a:pt x="2575" y="97"/>
                    </a:lnTo>
                    <a:lnTo>
                      <a:pt x="2557" y="89"/>
                    </a:lnTo>
                    <a:lnTo>
                      <a:pt x="2536" y="83"/>
                    </a:lnTo>
                    <a:lnTo>
                      <a:pt x="2515" y="79"/>
                    </a:lnTo>
                    <a:lnTo>
                      <a:pt x="2492" y="77"/>
                    </a:lnTo>
                    <a:lnTo>
                      <a:pt x="2467" y="77"/>
                    </a:lnTo>
                    <a:close/>
                    <a:moveTo>
                      <a:pt x="1630" y="0"/>
                    </a:moveTo>
                    <a:lnTo>
                      <a:pt x="1659" y="2"/>
                    </a:lnTo>
                    <a:lnTo>
                      <a:pt x="2531" y="2"/>
                    </a:lnTo>
                    <a:lnTo>
                      <a:pt x="2568" y="5"/>
                    </a:lnTo>
                    <a:lnTo>
                      <a:pt x="2603" y="18"/>
                    </a:lnTo>
                    <a:lnTo>
                      <a:pt x="2632" y="37"/>
                    </a:lnTo>
                    <a:lnTo>
                      <a:pt x="2658" y="61"/>
                    </a:lnTo>
                    <a:lnTo>
                      <a:pt x="2678" y="92"/>
                    </a:lnTo>
                    <a:lnTo>
                      <a:pt x="2692" y="128"/>
                    </a:lnTo>
                    <a:lnTo>
                      <a:pt x="2698" y="164"/>
                    </a:lnTo>
                    <a:lnTo>
                      <a:pt x="2700" y="200"/>
                    </a:lnTo>
                    <a:lnTo>
                      <a:pt x="2701" y="238"/>
                    </a:lnTo>
                    <a:lnTo>
                      <a:pt x="2708" y="274"/>
                    </a:lnTo>
                    <a:lnTo>
                      <a:pt x="2714" y="291"/>
                    </a:lnTo>
                    <a:lnTo>
                      <a:pt x="2723" y="303"/>
                    </a:lnTo>
                    <a:lnTo>
                      <a:pt x="2733" y="310"/>
                    </a:lnTo>
                    <a:lnTo>
                      <a:pt x="2743" y="316"/>
                    </a:lnTo>
                    <a:lnTo>
                      <a:pt x="2755" y="321"/>
                    </a:lnTo>
                    <a:lnTo>
                      <a:pt x="2768" y="327"/>
                    </a:lnTo>
                    <a:lnTo>
                      <a:pt x="2779" y="336"/>
                    </a:lnTo>
                    <a:lnTo>
                      <a:pt x="2792" y="349"/>
                    </a:lnTo>
                    <a:lnTo>
                      <a:pt x="2809" y="378"/>
                    </a:lnTo>
                    <a:lnTo>
                      <a:pt x="2824" y="413"/>
                    </a:lnTo>
                    <a:lnTo>
                      <a:pt x="2833" y="450"/>
                    </a:lnTo>
                    <a:lnTo>
                      <a:pt x="2840" y="492"/>
                    </a:lnTo>
                    <a:lnTo>
                      <a:pt x="2843" y="535"/>
                    </a:lnTo>
                    <a:lnTo>
                      <a:pt x="2844" y="580"/>
                    </a:lnTo>
                    <a:lnTo>
                      <a:pt x="2844" y="626"/>
                    </a:lnTo>
                    <a:lnTo>
                      <a:pt x="2841" y="673"/>
                    </a:lnTo>
                    <a:lnTo>
                      <a:pt x="2838" y="719"/>
                    </a:lnTo>
                    <a:lnTo>
                      <a:pt x="2834" y="762"/>
                    </a:lnTo>
                    <a:lnTo>
                      <a:pt x="2831" y="803"/>
                    </a:lnTo>
                    <a:lnTo>
                      <a:pt x="2828" y="840"/>
                    </a:lnTo>
                    <a:lnTo>
                      <a:pt x="2825" y="875"/>
                    </a:lnTo>
                    <a:lnTo>
                      <a:pt x="2792" y="1475"/>
                    </a:lnTo>
                    <a:lnTo>
                      <a:pt x="2760" y="2077"/>
                    </a:lnTo>
                    <a:lnTo>
                      <a:pt x="2759" y="2101"/>
                    </a:lnTo>
                    <a:lnTo>
                      <a:pt x="2759" y="2129"/>
                    </a:lnTo>
                    <a:lnTo>
                      <a:pt x="2759" y="2158"/>
                    </a:lnTo>
                    <a:lnTo>
                      <a:pt x="2757" y="2188"/>
                    </a:lnTo>
                    <a:lnTo>
                      <a:pt x="2756" y="2218"/>
                    </a:lnTo>
                    <a:lnTo>
                      <a:pt x="2753" y="2249"/>
                    </a:lnTo>
                    <a:lnTo>
                      <a:pt x="2747" y="2278"/>
                    </a:lnTo>
                    <a:lnTo>
                      <a:pt x="2740" y="2305"/>
                    </a:lnTo>
                    <a:lnTo>
                      <a:pt x="2729" y="2331"/>
                    </a:lnTo>
                    <a:lnTo>
                      <a:pt x="2716" y="2353"/>
                    </a:lnTo>
                    <a:lnTo>
                      <a:pt x="2697" y="2372"/>
                    </a:lnTo>
                    <a:lnTo>
                      <a:pt x="2675" y="2386"/>
                    </a:lnTo>
                    <a:lnTo>
                      <a:pt x="2649" y="2396"/>
                    </a:lnTo>
                    <a:lnTo>
                      <a:pt x="2610" y="2401"/>
                    </a:lnTo>
                    <a:lnTo>
                      <a:pt x="2570" y="2402"/>
                    </a:lnTo>
                    <a:lnTo>
                      <a:pt x="2529" y="2402"/>
                    </a:lnTo>
                    <a:lnTo>
                      <a:pt x="2489" y="2401"/>
                    </a:lnTo>
                    <a:lnTo>
                      <a:pt x="2127" y="2406"/>
                    </a:lnTo>
                    <a:lnTo>
                      <a:pt x="240" y="2437"/>
                    </a:lnTo>
                    <a:lnTo>
                      <a:pt x="117" y="2438"/>
                    </a:lnTo>
                    <a:lnTo>
                      <a:pt x="98" y="2419"/>
                    </a:lnTo>
                    <a:lnTo>
                      <a:pt x="81" y="2403"/>
                    </a:lnTo>
                    <a:lnTo>
                      <a:pt x="62" y="2386"/>
                    </a:lnTo>
                    <a:lnTo>
                      <a:pt x="46" y="2369"/>
                    </a:lnTo>
                    <a:lnTo>
                      <a:pt x="32" y="2351"/>
                    </a:lnTo>
                    <a:lnTo>
                      <a:pt x="20" y="2331"/>
                    </a:lnTo>
                    <a:lnTo>
                      <a:pt x="10" y="2308"/>
                    </a:lnTo>
                    <a:lnTo>
                      <a:pt x="4" y="2281"/>
                    </a:lnTo>
                    <a:lnTo>
                      <a:pt x="3" y="2250"/>
                    </a:lnTo>
                    <a:lnTo>
                      <a:pt x="3" y="768"/>
                    </a:lnTo>
                    <a:lnTo>
                      <a:pt x="3" y="736"/>
                    </a:lnTo>
                    <a:lnTo>
                      <a:pt x="1" y="705"/>
                    </a:lnTo>
                    <a:lnTo>
                      <a:pt x="0" y="671"/>
                    </a:lnTo>
                    <a:lnTo>
                      <a:pt x="0" y="637"/>
                    </a:lnTo>
                    <a:lnTo>
                      <a:pt x="0" y="603"/>
                    </a:lnTo>
                    <a:lnTo>
                      <a:pt x="0" y="569"/>
                    </a:lnTo>
                    <a:lnTo>
                      <a:pt x="3" y="535"/>
                    </a:lnTo>
                    <a:lnTo>
                      <a:pt x="6" y="504"/>
                    </a:lnTo>
                    <a:lnTo>
                      <a:pt x="12" y="472"/>
                    </a:lnTo>
                    <a:lnTo>
                      <a:pt x="20" y="443"/>
                    </a:lnTo>
                    <a:lnTo>
                      <a:pt x="30" y="415"/>
                    </a:lnTo>
                    <a:lnTo>
                      <a:pt x="45" y="391"/>
                    </a:lnTo>
                    <a:lnTo>
                      <a:pt x="62" y="369"/>
                    </a:lnTo>
                    <a:lnTo>
                      <a:pt x="84" y="350"/>
                    </a:lnTo>
                    <a:lnTo>
                      <a:pt x="110" y="334"/>
                    </a:lnTo>
                    <a:lnTo>
                      <a:pt x="139" y="323"/>
                    </a:lnTo>
                    <a:lnTo>
                      <a:pt x="175" y="316"/>
                    </a:lnTo>
                    <a:lnTo>
                      <a:pt x="214" y="314"/>
                    </a:lnTo>
                    <a:lnTo>
                      <a:pt x="1269" y="314"/>
                    </a:lnTo>
                    <a:lnTo>
                      <a:pt x="1293" y="311"/>
                    </a:lnTo>
                    <a:lnTo>
                      <a:pt x="1314" y="304"/>
                    </a:lnTo>
                    <a:lnTo>
                      <a:pt x="1330" y="292"/>
                    </a:lnTo>
                    <a:lnTo>
                      <a:pt x="1341" y="278"/>
                    </a:lnTo>
                    <a:lnTo>
                      <a:pt x="1348" y="261"/>
                    </a:lnTo>
                    <a:lnTo>
                      <a:pt x="1354" y="242"/>
                    </a:lnTo>
                    <a:lnTo>
                      <a:pt x="1358" y="220"/>
                    </a:lnTo>
                    <a:lnTo>
                      <a:pt x="1361" y="199"/>
                    </a:lnTo>
                    <a:lnTo>
                      <a:pt x="1363" y="177"/>
                    </a:lnTo>
                    <a:lnTo>
                      <a:pt x="1366" y="155"/>
                    </a:lnTo>
                    <a:lnTo>
                      <a:pt x="1373" y="120"/>
                    </a:lnTo>
                    <a:lnTo>
                      <a:pt x="1385" y="92"/>
                    </a:lnTo>
                    <a:lnTo>
                      <a:pt x="1400" y="67"/>
                    </a:lnTo>
                    <a:lnTo>
                      <a:pt x="1418" y="48"/>
                    </a:lnTo>
                    <a:lnTo>
                      <a:pt x="1439" y="32"/>
                    </a:lnTo>
                    <a:lnTo>
                      <a:pt x="1463" y="21"/>
                    </a:lnTo>
                    <a:lnTo>
                      <a:pt x="1487" y="12"/>
                    </a:lnTo>
                    <a:lnTo>
                      <a:pt x="1515" y="8"/>
                    </a:lnTo>
                    <a:lnTo>
                      <a:pt x="1542" y="3"/>
                    </a:lnTo>
                    <a:lnTo>
                      <a:pt x="1571" y="2"/>
                    </a:lnTo>
                    <a:lnTo>
                      <a:pt x="1600" y="0"/>
                    </a:lnTo>
                    <a:lnTo>
                      <a:pt x="1630" y="0"/>
                    </a:lnTo>
                    <a:close/>
                  </a:path>
                </a:pathLst>
              </a:custGeom>
              <a:solidFill>
                <a:srgbClr val="FFFFFF"/>
              </a:solidFill>
              <a:ln w="0">
                <a:noFill/>
                <a:prstDash val="solid"/>
                <a:round/>
                <a:headEnd/>
                <a:tailEnd/>
              </a:ln>
            </p:spPr>
            <p:txBody>
              <a:bodyPr vert="horz" wrap="square" lIns="91427" tIns="45713" rIns="91427" bIns="45713" numCol="1" anchor="t" anchorCtr="0" compatLnSpc="1">
                <a:prstTxWarp prst="textNoShape">
                  <a:avLst/>
                </a:prstTxWarp>
              </a:bodyPr>
              <a:lstStyle/>
              <a:p>
                <a:pPr defTabSz="932563"/>
                <a:endParaRPr lang="en-GB">
                  <a:solidFill>
                    <a:srgbClr val="FFFFFF"/>
                  </a:solidFill>
                </a:endParaRPr>
              </a:p>
            </p:txBody>
          </p:sp>
        </p:grpSp>
      </p:grpSp>
    </p:spTree>
    <p:extLst>
      <p:ext uri="{BB962C8B-B14F-4D97-AF65-F5344CB8AC3E}">
        <p14:creationId xmlns:p14="http://schemas.microsoft.com/office/powerpoint/2010/main" val="26705397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62"/>
                                        </p:tgtEl>
                                        <p:attrNameLst>
                                          <p:attrName>style.visibility</p:attrName>
                                        </p:attrNameLst>
                                      </p:cBhvr>
                                      <p:to>
                                        <p:strVal val="visible"/>
                                      </p:to>
                                    </p:set>
                                    <p:animEffect transition="in" filter="fade">
                                      <p:cBhvr>
                                        <p:cTn id="7" dur="500"/>
                                        <p:tgtEl>
                                          <p:spTgt spid="36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18"/>
                                        </p:tgtEl>
                                        <p:attrNameLst>
                                          <p:attrName>style.visibility</p:attrName>
                                        </p:attrNameLst>
                                      </p:cBhvr>
                                      <p:to>
                                        <p:strVal val="visible"/>
                                      </p:to>
                                    </p:set>
                                    <p:animEffect transition="in" filter="fade">
                                      <p:cBhvr>
                                        <p:cTn id="10" dur="500"/>
                                        <p:tgtEl>
                                          <p:spTgt spid="618"/>
                                        </p:tgtEl>
                                      </p:cBhvr>
                                    </p:animEffect>
                                  </p:childTnLst>
                                </p:cTn>
                              </p:par>
                            </p:childTnLst>
                          </p:cTn>
                        </p:par>
                        <p:par>
                          <p:cTn id="11" fill="hold">
                            <p:stCondLst>
                              <p:cond delay="500"/>
                            </p:stCondLst>
                            <p:childTnLst>
                              <p:par>
                                <p:cTn id="12" presetID="22" presetClass="entr" presetSubtype="8" fill="hold" nodeType="afterEffect">
                                  <p:stCondLst>
                                    <p:cond delay="0"/>
                                  </p:stCondLst>
                                  <p:childTnLst>
                                    <p:set>
                                      <p:cBhvr>
                                        <p:cTn id="13" dur="1" fill="hold">
                                          <p:stCondLst>
                                            <p:cond delay="0"/>
                                          </p:stCondLst>
                                        </p:cTn>
                                        <p:tgtEl>
                                          <p:spTgt spid="77"/>
                                        </p:tgtEl>
                                        <p:attrNameLst>
                                          <p:attrName>style.visibility</p:attrName>
                                        </p:attrNameLst>
                                      </p:cBhvr>
                                      <p:to>
                                        <p:strVal val="visible"/>
                                      </p:to>
                                    </p:set>
                                    <p:animEffect transition="in" filter="wipe(left)">
                                      <p:cBhvr>
                                        <p:cTn id="14" dur="500"/>
                                        <p:tgtEl>
                                          <p:spTgt spid="7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94"/>
                                        </p:tgtEl>
                                        <p:attrNameLst>
                                          <p:attrName>style.visibility</p:attrName>
                                        </p:attrNameLst>
                                      </p:cBhvr>
                                      <p:to>
                                        <p:strVal val="visible"/>
                                      </p:to>
                                    </p:set>
                                    <p:animEffect transition="in" filter="fade">
                                      <p:cBhvr>
                                        <p:cTn id="18" dur="500"/>
                                        <p:tgtEl>
                                          <p:spTgt spid="94"/>
                                        </p:tgtEl>
                                      </p:cBhvr>
                                    </p:animEffect>
                                  </p:childTnLst>
                                </p:cTn>
                              </p:par>
                              <p:par>
                                <p:cTn id="19" presetID="22" presetClass="entr" presetSubtype="1" fill="hold" nodeType="withEffect">
                                  <p:stCondLst>
                                    <p:cond delay="0"/>
                                  </p:stCondLst>
                                  <p:childTnLst>
                                    <p:set>
                                      <p:cBhvr>
                                        <p:cTn id="20" dur="1" fill="hold">
                                          <p:stCondLst>
                                            <p:cond delay="0"/>
                                          </p:stCondLst>
                                        </p:cTn>
                                        <p:tgtEl>
                                          <p:spTgt spid="79"/>
                                        </p:tgtEl>
                                        <p:attrNameLst>
                                          <p:attrName>style.visibility</p:attrName>
                                        </p:attrNameLst>
                                      </p:cBhvr>
                                      <p:to>
                                        <p:strVal val="visible"/>
                                      </p:to>
                                    </p:set>
                                    <p:animEffect transition="in" filter="wipe(up)">
                                      <p:cBhvr>
                                        <p:cTn id="21" dur="500"/>
                                        <p:tgtEl>
                                          <p:spTgt spid="79"/>
                                        </p:tgtEl>
                                      </p:cBhvr>
                                    </p:animEffect>
                                  </p:childTnLst>
                                </p:cTn>
                              </p:par>
                            </p:childTnLst>
                          </p:cTn>
                        </p:par>
                        <p:par>
                          <p:cTn id="22" fill="hold">
                            <p:stCondLst>
                              <p:cond delay="1500"/>
                            </p:stCondLst>
                            <p:childTnLst>
                              <p:par>
                                <p:cTn id="23" presetID="10" presetClass="entr" presetSubtype="0" fill="hold" nodeType="afterEffect">
                                  <p:stCondLst>
                                    <p:cond delay="0"/>
                                  </p:stCondLst>
                                  <p:childTnLst>
                                    <p:set>
                                      <p:cBhvr>
                                        <p:cTn id="24" dur="1" fill="hold">
                                          <p:stCondLst>
                                            <p:cond delay="0"/>
                                          </p:stCondLst>
                                        </p:cTn>
                                        <p:tgtEl>
                                          <p:spTgt spid="412"/>
                                        </p:tgtEl>
                                        <p:attrNameLst>
                                          <p:attrName>style.visibility</p:attrName>
                                        </p:attrNameLst>
                                      </p:cBhvr>
                                      <p:to>
                                        <p:strVal val="visible"/>
                                      </p:to>
                                    </p:set>
                                    <p:animEffect transition="in" filter="fade">
                                      <p:cBhvr>
                                        <p:cTn id="25" dur="500"/>
                                        <p:tgtEl>
                                          <p:spTgt spid="4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624"/>
                                        </p:tgtEl>
                                        <p:attrNameLst>
                                          <p:attrName>style.visibility</p:attrName>
                                        </p:attrNameLst>
                                      </p:cBhvr>
                                      <p:to>
                                        <p:strVal val="visible"/>
                                      </p:to>
                                    </p:set>
                                    <p:animEffect transition="in" filter="fade">
                                      <p:cBhvr>
                                        <p:cTn id="28" dur="500"/>
                                        <p:tgtEl>
                                          <p:spTgt spid="624"/>
                                        </p:tgtEl>
                                      </p:cBhvr>
                                    </p:animEffect>
                                  </p:childTnLst>
                                </p:cTn>
                              </p:par>
                              <p:par>
                                <p:cTn id="29" presetID="22" presetClass="entr" presetSubtype="4" fill="hold" nodeType="withEffect">
                                  <p:stCondLst>
                                    <p:cond delay="0"/>
                                  </p:stCondLst>
                                  <p:childTnLst>
                                    <p:set>
                                      <p:cBhvr>
                                        <p:cTn id="30" dur="1" fill="hold">
                                          <p:stCondLst>
                                            <p:cond delay="0"/>
                                          </p:stCondLst>
                                        </p:cTn>
                                        <p:tgtEl>
                                          <p:spTgt spid="82"/>
                                        </p:tgtEl>
                                        <p:attrNameLst>
                                          <p:attrName>style.visibility</p:attrName>
                                        </p:attrNameLst>
                                      </p:cBhvr>
                                      <p:to>
                                        <p:strVal val="visible"/>
                                      </p:to>
                                    </p:set>
                                    <p:animEffect transition="in" filter="wipe(down)">
                                      <p:cBhvr>
                                        <p:cTn id="31" dur="500"/>
                                        <p:tgtEl>
                                          <p:spTgt spid="8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637"/>
                                        </p:tgtEl>
                                        <p:attrNameLst>
                                          <p:attrName>style.visibility</p:attrName>
                                        </p:attrNameLst>
                                      </p:cBhvr>
                                      <p:to>
                                        <p:strVal val="visible"/>
                                      </p:to>
                                    </p:set>
                                    <p:animEffect transition="in" filter="fade">
                                      <p:cBhvr>
                                        <p:cTn id="34" dur="500"/>
                                        <p:tgtEl>
                                          <p:spTgt spid="637"/>
                                        </p:tgtEl>
                                      </p:cBhvr>
                                    </p:animEffect>
                                  </p:childTnLst>
                                </p:cTn>
                              </p:par>
                              <p:par>
                                <p:cTn id="35" presetID="1" presetClass="entr" presetSubtype="0" fill="hold" nodeType="withEffect">
                                  <p:stCondLst>
                                    <p:cond delay="0"/>
                                  </p:stCondLst>
                                  <p:childTnLst>
                                    <p:set>
                                      <p:cBhvr>
                                        <p:cTn id="36" dur="1" fill="hold">
                                          <p:stCondLst>
                                            <p:cond delay="0"/>
                                          </p:stCondLst>
                                        </p:cTn>
                                        <p:tgtEl>
                                          <p:spTgt spid="4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2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22" presetClass="entr" presetSubtype="8" fill="hold" nodeType="clickEffect">
                                  <p:stCondLst>
                                    <p:cond delay="0"/>
                                  </p:stCondLst>
                                  <p:childTnLst>
                                    <p:set>
                                      <p:cBhvr>
                                        <p:cTn id="44" dur="1" fill="hold">
                                          <p:stCondLst>
                                            <p:cond delay="0"/>
                                          </p:stCondLst>
                                        </p:cTn>
                                        <p:tgtEl>
                                          <p:spTgt spid="85"/>
                                        </p:tgtEl>
                                        <p:attrNameLst>
                                          <p:attrName>style.visibility</p:attrName>
                                        </p:attrNameLst>
                                      </p:cBhvr>
                                      <p:to>
                                        <p:strVal val="visible"/>
                                      </p:to>
                                    </p:set>
                                    <p:animEffect transition="in" filter="wipe(left)">
                                      <p:cBhvr>
                                        <p:cTn id="45" dur="500"/>
                                        <p:tgtEl>
                                          <p:spTgt spid="85"/>
                                        </p:tgtEl>
                                      </p:cBhvr>
                                    </p:animEffec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13"/>
                                        </p:tgtEl>
                                        <p:attrNameLst>
                                          <p:attrName>style.visibility</p:attrName>
                                        </p:attrNameLst>
                                      </p:cBhvr>
                                      <p:to>
                                        <p:strVal val="visible"/>
                                      </p:to>
                                    </p:set>
                                    <p:animEffect transition="in" filter="fade">
                                      <p:cBhvr>
                                        <p:cTn id="49" dur="500"/>
                                        <p:tgtEl>
                                          <p:spTgt spid="13"/>
                                        </p:tgtEl>
                                      </p:cBhvr>
                                    </p:animEffect>
                                  </p:childTnLst>
                                </p:cTn>
                              </p:par>
                            </p:childTnLst>
                          </p:cTn>
                        </p:par>
                        <p:par>
                          <p:cTn id="50" fill="hold">
                            <p:stCondLst>
                              <p:cond delay="1000"/>
                            </p:stCondLst>
                            <p:childTnLst>
                              <p:par>
                                <p:cTn id="51" presetID="22" presetClass="entr" presetSubtype="8" fill="hold" nodeType="afterEffect">
                                  <p:stCondLst>
                                    <p:cond delay="0"/>
                                  </p:stCondLst>
                                  <p:childTnLst>
                                    <p:set>
                                      <p:cBhvr>
                                        <p:cTn id="52" dur="1" fill="hold">
                                          <p:stCondLst>
                                            <p:cond delay="0"/>
                                          </p:stCondLst>
                                        </p:cTn>
                                        <p:tgtEl>
                                          <p:spTgt spid="89"/>
                                        </p:tgtEl>
                                        <p:attrNameLst>
                                          <p:attrName>style.visibility</p:attrName>
                                        </p:attrNameLst>
                                      </p:cBhvr>
                                      <p:to>
                                        <p:strVal val="visible"/>
                                      </p:to>
                                    </p:set>
                                    <p:animEffect transition="in" filter="wipe(left)">
                                      <p:cBhvr>
                                        <p:cTn id="53" dur="500"/>
                                        <p:tgtEl>
                                          <p:spTgt spid="89"/>
                                        </p:tgtEl>
                                      </p:cBhvr>
                                    </p:animEffect>
                                  </p:childTnLst>
                                </p:cTn>
                              </p:par>
                            </p:childTnLst>
                          </p:cTn>
                        </p:par>
                        <p:par>
                          <p:cTn id="54" fill="hold">
                            <p:stCondLst>
                              <p:cond delay="1500"/>
                            </p:stCondLst>
                            <p:childTnLst>
                              <p:par>
                                <p:cTn id="55" presetID="10" presetClass="entr" presetSubtype="0" fill="hold" nodeType="afterEffect">
                                  <p:stCondLst>
                                    <p:cond delay="0"/>
                                  </p:stCondLst>
                                  <p:childTnLst>
                                    <p:set>
                                      <p:cBhvr>
                                        <p:cTn id="56" dur="1" fill="hold">
                                          <p:stCondLst>
                                            <p:cond delay="0"/>
                                          </p:stCondLst>
                                        </p:cTn>
                                        <p:tgtEl>
                                          <p:spTgt spid="15"/>
                                        </p:tgtEl>
                                        <p:attrNameLst>
                                          <p:attrName>style.visibility</p:attrName>
                                        </p:attrNameLst>
                                      </p:cBhvr>
                                      <p:to>
                                        <p:strVal val="visible"/>
                                      </p:to>
                                    </p:set>
                                    <p:animEffect transition="in" filter="fade">
                                      <p:cBhvr>
                                        <p:cTn id="57" dur="500"/>
                                        <p:tgtEl>
                                          <p:spTgt spid="15"/>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415"/>
                                        </p:tgtEl>
                                        <p:attrNameLst>
                                          <p:attrName>style.visibility</p:attrName>
                                        </p:attrNameLst>
                                      </p:cBhvr>
                                      <p:to>
                                        <p:strVal val="visible"/>
                                      </p:to>
                                    </p:set>
                                    <p:animEffect transition="in" filter="fade">
                                      <p:cBhvr>
                                        <p:cTn id="60" dur="500"/>
                                        <p:tgtEl>
                                          <p:spTgt spid="415"/>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86"/>
                                        </p:tgtEl>
                                        <p:attrNameLst>
                                          <p:attrName>style.visibility</p:attrName>
                                        </p:attrNameLst>
                                      </p:cBhvr>
                                      <p:to>
                                        <p:strVal val="visible"/>
                                      </p:to>
                                    </p:set>
                                    <p:animEffect transition="in" filter="wipe(left)">
                                      <p:cBhvr>
                                        <p:cTn id="65" dur="500"/>
                                        <p:tgtEl>
                                          <p:spTgt spid="86"/>
                                        </p:tgtEl>
                                      </p:cBhvr>
                                    </p:animEffect>
                                  </p:childTnLst>
                                </p:cTn>
                              </p:par>
                            </p:childTnLst>
                          </p:cTn>
                        </p:par>
                        <p:par>
                          <p:cTn id="66" fill="hold">
                            <p:stCondLst>
                              <p:cond delay="500"/>
                            </p:stCondLst>
                            <p:childTnLst>
                              <p:par>
                                <p:cTn id="67" presetID="10" presetClass="entr" presetSubtype="0" fill="hold" nodeType="after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childTnLst>
                          </p:cTn>
                        </p:par>
                        <p:par>
                          <p:cTn id="70" fill="hold">
                            <p:stCondLst>
                              <p:cond delay="1000"/>
                            </p:stCondLst>
                            <p:childTnLst>
                              <p:par>
                                <p:cTn id="71" presetID="22" presetClass="entr" presetSubtype="8" fill="hold" nodeType="afterEffect">
                                  <p:stCondLst>
                                    <p:cond delay="0"/>
                                  </p:stCondLst>
                                  <p:childTnLst>
                                    <p:set>
                                      <p:cBhvr>
                                        <p:cTn id="72" dur="1" fill="hold">
                                          <p:stCondLst>
                                            <p:cond delay="0"/>
                                          </p:stCondLst>
                                        </p:cTn>
                                        <p:tgtEl>
                                          <p:spTgt spid="88"/>
                                        </p:tgtEl>
                                        <p:attrNameLst>
                                          <p:attrName>style.visibility</p:attrName>
                                        </p:attrNameLst>
                                      </p:cBhvr>
                                      <p:to>
                                        <p:strVal val="visible"/>
                                      </p:to>
                                    </p:set>
                                    <p:animEffect transition="in" filter="wipe(left)">
                                      <p:cBhvr>
                                        <p:cTn id="73" dur="500"/>
                                        <p:tgtEl>
                                          <p:spTgt spid="88"/>
                                        </p:tgtEl>
                                      </p:cBhvr>
                                    </p:animEffect>
                                  </p:childTnLst>
                                </p:cTn>
                              </p:par>
                            </p:childTnLst>
                          </p:cTn>
                        </p:par>
                        <p:par>
                          <p:cTn id="74" fill="hold">
                            <p:stCondLst>
                              <p:cond delay="1500"/>
                            </p:stCondLst>
                            <p:childTnLst>
                              <p:par>
                                <p:cTn id="75" presetID="10" presetClass="entr" presetSubtype="0" fill="hold" nodeType="afterEffect">
                                  <p:stCondLst>
                                    <p:cond delay="0"/>
                                  </p:stCondLst>
                                  <p:childTnLst>
                                    <p:set>
                                      <p:cBhvr>
                                        <p:cTn id="76" dur="1" fill="hold">
                                          <p:stCondLst>
                                            <p:cond delay="0"/>
                                          </p:stCondLst>
                                        </p:cTn>
                                        <p:tgtEl>
                                          <p:spTgt spid="366"/>
                                        </p:tgtEl>
                                        <p:attrNameLst>
                                          <p:attrName>style.visibility</p:attrName>
                                        </p:attrNameLst>
                                      </p:cBhvr>
                                      <p:to>
                                        <p:strVal val="visible"/>
                                      </p:to>
                                    </p:set>
                                    <p:animEffect transition="in" filter="fade">
                                      <p:cBhvr>
                                        <p:cTn id="77" dur="500"/>
                                        <p:tgtEl>
                                          <p:spTgt spid="366"/>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59"/>
                                        </p:tgtEl>
                                        <p:attrNameLst>
                                          <p:attrName>style.visibility</p:attrName>
                                        </p:attrNameLst>
                                      </p:cBhvr>
                                      <p:to>
                                        <p:strVal val="visible"/>
                                      </p:to>
                                    </p:set>
                                    <p:animEffect transition="in" filter="fade">
                                      <p:cBhvr>
                                        <p:cTn id="80" dur="500"/>
                                        <p:tgtEl>
                                          <p:spTgt spid="459"/>
                                        </p:tgtEl>
                                      </p:cBhvr>
                                    </p:animEffect>
                                  </p:childTnLst>
                                </p:cTn>
                              </p:par>
                            </p:childTnLst>
                          </p:cTn>
                        </p:par>
                      </p:childTnLst>
                    </p:cTn>
                  </p:par>
                  <p:par>
                    <p:cTn id="81" fill="hold">
                      <p:stCondLst>
                        <p:cond delay="indefinite"/>
                      </p:stCondLst>
                      <p:childTnLst>
                        <p:par>
                          <p:cTn id="82" fill="hold">
                            <p:stCondLst>
                              <p:cond delay="0"/>
                            </p:stCondLst>
                            <p:childTnLst>
                              <p:par>
                                <p:cTn id="83" presetID="22" presetClass="entr" presetSubtype="8" fill="hold" nodeType="clickEffect">
                                  <p:stCondLst>
                                    <p:cond delay="0"/>
                                  </p:stCondLst>
                                  <p:childTnLst>
                                    <p:set>
                                      <p:cBhvr>
                                        <p:cTn id="84" dur="1" fill="hold">
                                          <p:stCondLst>
                                            <p:cond delay="0"/>
                                          </p:stCondLst>
                                        </p:cTn>
                                        <p:tgtEl>
                                          <p:spTgt spid="83"/>
                                        </p:tgtEl>
                                        <p:attrNameLst>
                                          <p:attrName>style.visibility</p:attrName>
                                        </p:attrNameLst>
                                      </p:cBhvr>
                                      <p:to>
                                        <p:strVal val="visible"/>
                                      </p:to>
                                    </p:set>
                                    <p:animEffect transition="in" filter="wipe(left)">
                                      <p:cBhvr>
                                        <p:cTn id="85" dur="500"/>
                                        <p:tgtEl>
                                          <p:spTgt spid="83"/>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6"/>
                                        </p:tgtEl>
                                        <p:attrNameLst>
                                          <p:attrName>style.visibility</p:attrName>
                                        </p:attrNameLst>
                                      </p:cBhvr>
                                      <p:to>
                                        <p:strVal val="visible"/>
                                      </p:to>
                                    </p:set>
                                    <p:animEffect transition="in" filter="fade">
                                      <p:cBhvr>
                                        <p:cTn id="89" dur="500"/>
                                        <p:tgtEl>
                                          <p:spTgt spid="6"/>
                                        </p:tgtEl>
                                      </p:cBhvr>
                                    </p:animEffect>
                                  </p:childTnLst>
                                </p:cTn>
                              </p:par>
                            </p:childTnLst>
                          </p:cTn>
                        </p:par>
                        <p:par>
                          <p:cTn id="90" fill="hold">
                            <p:stCondLst>
                              <p:cond delay="1000"/>
                            </p:stCondLst>
                            <p:childTnLst>
                              <p:par>
                                <p:cTn id="91" presetID="22" presetClass="entr" presetSubtype="8" fill="hold" nodeType="afterEffect">
                                  <p:stCondLst>
                                    <p:cond delay="0"/>
                                  </p:stCondLst>
                                  <p:childTnLst>
                                    <p:set>
                                      <p:cBhvr>
                                        <p:cTn id="92" dur="1" fill="hold">
                                          <p:stCondLst>
                                            <p:cond delay="0"/>
                                          </p:stCondLst>
                                        </p:cTn>
                                        <p:tgtEl>
                                          <p:spTgt spid="90"/>
                                        </p:tgtEl>
                                        <p:attrNameLst>
                                          <p:attrName>style.visibility</p:attrName>
                                        </p:attrNameLst>
                                      </p:cBhvr>
                                      <p:to>
                                        <p:strVal val="visible"/>
                                      </p:to>
                                    </p:set>
                                    <p:animEffect transition="in" filter="wipe(left)">
                                      <p:cBhvr>
                                        <p:cTn id="93" dur="500"/>
                                        <p:tgtEl>
                                          <p:spTgt spid="9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69"/>
                                        </p:tgtEl>
                                        <p:attrNameLst>
                                          <p:attrName>style.visibility</p:attrName>
                                        </p:attrNameLst>
                                      </p:cBhvr>
                                      <p:to>
                                        <p:strVal val="visible"/>
                                      </p:to>
                                    </p:set>
                                    <p:animEffect transition="in" filter="fade">
                                      <p:cBhvr>
                                        <p:cTn id="96" dur="500"/>
                                        <p:tgtEl>
                                          <p:spTgt spid="369"/>
                                        </p:tgtEl>
                                      </p:cBhvr>
                                    </p:animEffect>
                                  </p:childTnLst>
                                </p:cTn>
                              </p:par>
                            </p:childTnLst>
                          </p:cTn>
                        </p:par>
                        <p:par>
                          <p:cTn id="97" fill="hold">
                            <p:stCondLst>
                              <p:cond delay="1500"/>
                            </p:stCondLst>
                            <p:childTnLst>
                              <p:par>
                                <p:cTn id="98" presetID="10" presetClass="entr" presetSubtype="0" fill="hold" nodeType="afterEffect">
                                  <p:stCondLst>
                                    <p:cond delay="0"/>
                                  </p:stCondLst>
                                  <p:childTnLst>
                                    <p:set>
                                      <p:cBhvr>
                                        <p:cTn id="99" dur="1" fill="hold">
                                          <p:stCondLst>
                                            <p:cond delay="0"/>
                                          </p:stCondLst>
                                        </p:cTn>
                                        <p:tgtEl>
                                          <p:spTgt spid="119"/>
                                        </p:tgtEl>
                                        <p:attrNameLst>
                                          <p:attrName>style.visibility</p:attrName>
                                        </p:attrNameLst>
                                      </p:cBhvr>
                                      <p:to>
                                        <p:strVal val="visible"/>
                                      </p:to>
                                    </p:set>
                                    <p:animEffect transition="in" filter="fade">
                                      <p:cBhvr>
                                        <p:cTn id="10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459" grpId="0"/>
      <p:bldP spid="415" grpId="0"/>
      <p:bldP spid="618" grpId="0"/>
      <p:bldP spid="624" grpId="0"/>
      <p:bldP spid="637" grpId="0"/>
      <p:bldP spid="36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chemeClr val="tx1"/>
                    </a:gs>
                    <a:gs pos="100000">
                      <a:schemeClr val="accent1">
                        <a:lumMod val="30000"/>
                        <a:lumOff val="70000"/>
                      </a:schemeClr>
                    </a:gs>
                  </a:gsLst>
                  <a:lin ang="5400000" scaled="1"/>
                </a:gradFill>
              </a:rPr>
              <a:t>Scan </a:t>
            </a:r>
            <a:r>
              <a:rPr lang="en-US" sz="4400" b="1" dirty="0">
                <a:gradFill>
                  <a:gsLst>
                    <a:gs pos="83000">
                      <a:schemeClr val="tx1"/>
                    </a:gs>
                    <a:gs pos="100000">
                      <a:schemeClr val="accent1">
                        <a:lumMod val="30000"/>
                        <a:lumOff val="70000"/>
                      </a:schemeClr>
                    </a:gs>
                  </a:gsLst>
                  <a:lin ang="5400000" scaled="1"/>
                </a:gradFill>
              </a:rPr>
              <a:t>this QR code </a:t>
            </a:r>
            <a:r>
              <a:rPr lang="en-US" sz="4400" dirty="0">
                <a:gradFill>
                  <a:gsLst>
                    <a:gs pos="83000">
                      <a:schemeClr val="tx1"/>
                    </a:gs>
                    <a:gs pos="100000">
                      <a:schemeClr val="accent1">
                        <a:lumMod val="30000"/>
                        <a:lumOff val="70000"/>
                      </a:schemeClr>
                    </a:gs>
                  </a:gsLst>
                  <a:lin ang="5400000" scaled="1"/>
                </a:gradFill>
              </a:rPr>
              <a:t>to </a:t>
            </a:r>
          </a:p>
          <a:p>
            <a:r>
              <a:rPr lang="en-US" sz="4400" dirty="0">
                <a:gradFill>
                  <a:gsLst>
                    <a:gs pos="83000">
                      <a:schemeClr val="tx1"/>
                    </a:gs>
                    <a:gs pos="100000">
                      <a:schemeClr val="accent1">
                        <a:lumMod val="30000"/>
                        <a:lumOff val="70000"/>
                      </a:scheme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3570484"/>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dentity Capabilities for BYOD</a:t>
            </a:r>
            <a:endParaRPr lang="en-US" dirty="0"/>
          </a:p>
        </p:txBody>
      </p:sp>
      <p:sp>
        <p:nvSpPr>
          <p:cNvPr id="3" name="Rectangle 2"/>
          <p:cNvSpPr/>
          <p:nvPr/>
        </p:nvSpPr>
        <p:spPr bwMode="auto">
          <a:xfrm>
            <a:off x="547359" y="1449900"/>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AD Workplace Join</a:t>
            </a:r>
          </a:p>
        </p:txBody>
      </p:sp>
      <p:sp>
        <p:nvSpPr>
          <p:cNvPr id="4" name="Rectangle 3"/>
          <p:cNvSpPr/>
          <p:nvPr/>
        </p:nvSpPr>
        <p:spPr bwMode="auto">
          <a:xfrm>
            <a:off x="3928396" y="1449900"/>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Users join their device to their workplace (Lite domain join), making the device known to the company’s Active </a:t>
            </a:r>
            <a:r>
              <a:rPr lang="en-US" sz="1632" dirty="0" smtClean="0">
                <a:solidFill>
                  <a:schemeClr val="dk1"/>
                </a:solidFill>
              </a:rPr>
              <a:t>Directory for SSO, seamless MFA &amp; authorization</a:t>
            </a:r>
            <a:endParaRPr lang="en-US" sz="1632" dirty="0">
              <a:solidFill>
                <a:schemeClr val="dk1"/>
              </a:solidFill>
            </a:endParaRPr>
          </a:p>
        </p:txBody>
      </p:sp>
      <p:sp>
        <p:nvSpPr>
          <p:cNvPr id="5" name="Rectangle 4"/>
          <p:cNvSpPr/>
          <p:nvPr/>
        </p:nvSpPr>
        <p:spPr bwMode="auto">
          <a:xfrm>
            <a:off x="547359" y="2233826"/>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Single Sign On (SSO)</a:t>
            </a:r>
          </a:p>
        </p:txBody>
      </p:sp>
      <p:sp>
        <p:nvSpPr>
          <p:cNvPr id="6" name="Rectangle 5"/>
          <p:cNvSpPr/>
          <p:nvPr/>
        </p:nvSpPr>
        <p:spPr bwMode="auto">
          <a:xfrm>
            <a:off x="3912986" y="2233826"/>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r>
              <a:rPr lang="es-CO" sz="1632" dirty="0" err="1">
                <a:solidFill>
                  <a:schemeClr val="dk1"/>
                </a:solidFill>
              </a:rPr>
              <a:t>Users</a:t>
            </a:r>
            <a:r>
              <a:rPr lang="es-CO" sz="1632" dirty="0">
                <a:solidFill>
                  <a:schemeClr val="dk1"/>
                </a:solidFill>
              </a:rPr>
              <a:t> </a:t>
            </a:r>
            <a:r>
              <a:rPr lang="es-CO" sz="1632" dirty="0" err="1">
                <a:solidFill>
                  <a:schemeClr val="dk1"/>
                </a:solidFill>
              </a:rPr>
              <a:t>sign</a:t>
            </a:r>
            <a:r>
              <a:rPr lang="es-CO" sz="1632" dirty="0">
                <a:solidFill>
                  <a:schemeClr val="dk1"/>
                </a:solidFill>
              </a:rPr>
              <a:t>-in once </a:t>
            </a:r>
            <a:r>
              <a:rPr lang="en-US" sz="1632" dirty="0">
                <a:solidFill>
                  <a:schemeClr val="dk1"/>
                </a:solidFill>
              </a:rPr>
              <a:t>to their company from any application and are not be prompted for credentials by every company application when using registered devices.</a:t>
            </a:r>
          </a:p>
        </p:txBody>
      </p:sp>
      <p:sp>
        <p:nvSpPr>
          <p:cNvPr id="7" name="Rectangle 6"/>
          <p:cNvSpPr/>
          <p:nvPr/>
        </p:nvSpPr>
        <p:spPr bwMode="auto">
          <a:xfrm>
            <a:off x="547359" y="3973552"/>
            <a:ext cx="3255796" cy="63223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uthentication</a:t>
            </a:r>
          </a:p>
        </p:txBody>
      </p:sp>
      <p:sp>
        <p:nvSpPr>
          <p:cNvPr id="8" name="Rectangle 7"/>
          <p:cNvSpPr/>
          <p:nvPr/>
        </p:nvSpPr>
        <p:spPr bwMode="auto">
          <a:xfrm>
            <a:off x="3928396" y="3973552"/>
            <a:ext cx="7986960" cy="63223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require additional factors of authentication when business critical resources are accessed or when there is perceived risk</a:t>
            </a:r>
          </a:p>
        </p:txBody>
      </p:sp>
      <p:sp>
        <p:nvSpPr>
          <p:cNvPr id="9" name="Rectangle 8"/>
          <p:cNvSpPr/>
          <p:nvPr/>
        </p:nvSpPr>
        <p:spPr bwMode="auto">
          <a:xfrm>
            <a:off x="561150" y="4757478"/>
            <a:ext cx="3255796" cy="632231"/>
          </a:xfrm>
          <a:prstGeom prst="rect">
            <a:avLst/>
          </a:prstGeom>
          <a:ln>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Multi-factor Access Control</a:t>
            </a:r>
          </a:p>
        </p:txBody>
      </p:sp>
      <p:sp>
        <p:nvSpPr>
          <p:cNvPr id="10" name="Rectangle 9"/>
          <p:cNvSpPr/>
          <p:nvPr/>
        </p:nvSpPr>
        <p:spPr bwMode="auto">
          <a:xfrm>
            <a:off x="3942187" y="4757478"/>
            <a:ext cx="7986960" cy="632231"/>
          </a:xfrm>
          <a:prstGeom prst="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set conditional access control to resources based on four core pivots: the user, the device used, the user’s network location and use of additional </a:t>
            </a:r>
            <a:r>
              <a:rPr lang="en-US" sz="1632" dirty="0" err="1">
                <a:solidFill>
                  <a:schemeClr val="dk1"/>
                </a:solidFill>
              </a:rPr>
              <a:t>auth</a:t>
            </a:r>
            <a:r>
              <a:rPr lang="en-US" sz="1632" dirty="0">
                <a:solidFill>
                  <a:schemeClr val="dk1"/>
                </a:solidFill>
              </a:rPr>
              <a:t> factors</a:t>
            </a:r>
          </a:p>
        </p:txBody>
      </p:sp>
      <p:sp>
        <p:nvSpPr>
          <p:cNvPr id="11" name="Rectangle 10"/>
          <p:cNvSpPr/>
          <p:nvPr/>
        </p:nvSpPr>
        <p:spPr bwMode="auto">
          <a:xfrm>
            <a:off x="531949" y="3016826"/>
            <a:ext cx="3255796" cy="632231"/>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a:solidFill>
                  <a:srgbClr val="FFFFFF">
                    <a:alpha val="98824"/>
                  </a:srgbClr>
                </a:solidFill>
                <a:ea typeface="Segoe UI" pitchFamily="34" charset="0"/>
                <a:cs typeface="Segoe UI" pitchFamily="34" charset="0"/>
              </a:rPr>
              <a:t>Work From Anywhere</a:t>
            </a:r>
          </a:p>
        </p:txBody>
      </p:sp>
      <p:sp>
        <p:nvSpPr>
          <p:cNvPr id="12" name="Rectangle 11"/>
          <p:cNvSpPr/>
          <p:nvPr/>
        </p:nvSpPr>
        <p:spPr bwMode="auto">
          <a:xfrm>
            <a:off x="3912986" y="3016826"/>
            <a:ext cx="7986960" cy="632231"/>
          </a:xfrm>
          <a:prstGeom prst="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3232" tIns="46617" rIns="93232" bIns="46617" numCol="1" rtlCol="0" anchor="ctr" anchorCtr="0" compatLnSpc="1">
            <a:prstTxWarp prst="textNoShape">
              <a:avLst/>
            </a:prstTxWarp>
          </a:bodyPr>
          <a:lstStyle/>
          <a:p>
            <a:pPr defTabSz="932325"/>
            <a:r>
              <a:rPr lang="en-US" sz="1632" dirty="0">
                <a:solidFill>
                  <a:schemeClr val="dk1"/>
                </a:solidFill>
              </a:rPr>
              <a:t>Businesses enable users to work from anywhere while adhering to their IT governance policies around risk management</a:t>
            </a:r>
          </a:p>
        </p:txBody>
      </p:sp>
      <p:sp>
        <p:nvSpPr>
          <p:cNvPr id="13" name="Rectangle 12"/>
          <p:cNvSpPr/>
          <p:nvPr/>
        </p:nvSpPr>
        <p:spPr bwMode="auto">
          <a:xfrm>
            <a:off x="549146" y="5722826"/>
            <a:ext cx="3255796" cy="632231"/>
          </a:xfrm>
          <a:prstGeom prst="rect">
            <a:avLst/>
          </a:prstGeom>
          <a:ln>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93232" tIns="46617" rIns="93232" bIns="46617" numCol="1" rtlCol="0" anchor="ctr" anchorCtr="0" compatLnSpc="1">
            <a:prstTxWarp prst="textNoShape">
              <a:avLst/>
            </a:prstTxWarp>
          </a:bodyPr>
          <a:lstStyle/>
          <a:p>
            <a:pPr algn="ctr" defTabSz="932056"/>
            <a:r>
              <a:rPr lang="en-US" sz="2040" dirty="0" smtClean="0">
                <a:solidFill>
                  <a:srgbClr val="FFFFFF">
                    <a:alpha val="98824"/>
                  </a:srgbClr>
                </a:solidFill>
                <a:ea typeface="Segoe UI" pitchFamily="34" charset="0"/>
                <a:cs typeface="Segoe UI" pitchFamily="34" charset="0"/>
              </a:rPr>
              <a:t>AD Authentication Library</a:t>
            </a:r>
            <a:endParaRPr lang="en-US" sz="2040" dirty="0">
              <a:solidFill>
                <a:srgbClr val="FFFFFF">
                  <a:alpha val="98824"/>
                </a:srgbClr>
              </a:solidFill>
              <a:ea typeface="Segoe UI" pitchFamily="34" charset="0"/>
              <a:cs typeface="Segoe UI" pitchFamily="34" charset="0"/>
            </a:endParaRPr>
          </a:p>
        </p:txBody>
      </p:sp>
      <p:sp>
        <p:nvSpPr>
          <p:cNvPr id="14" name="Rectangle 13"/>
          <p:cNvSpPr/>
          <p:nvPr/>
        </p:nvSpPr>
        <p:spPr bwMode="auto">
          <a:xfrm>
            <a:off x="3930183" y="5722826"/>
            <a:ext cx="7986960" cy="632231"/>
          </a:xfrm>
          <a:prstGeom prst="rect">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3232" tIns="46617" rIns="93232" bIns="46617" numCol="1" rtlCol="0" anchor="ctr" anchorCtr="0" compatLnSpc="1">
            <a:prstTxWarp prst="textNoShape">
              <a:avLst/>
            </a:prstTxWarp>
          </a:bodyPr>
          <a:lstStyle/>
          <a:p>
            <a:pPr defTabSz="932290"/>
            <a:r>
              <a:rPr lang="en-US" sz="1632" dirty="0">
                <a:solidFill>
                  <a:schemeClr val="dk1"/>
                </a:solidFill>
              </a:rPr>
              <a:t>ISVs build enterprise apps that delivery SSO and allow enterprises to set the access control policies based on user, device and network location, and MFA</a:t>
            </a:r>
            <a:endParaRPr lang="en-US" sz="1632" dirty="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6394170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fill="hold" grpId="0" nodeType="clickEffect">
                                  <p:stCondLst>
                                    <p:cond delay="0"/>
                                  </p:stCondLst>
                                  <p:childTnLst>
                                    <p:animEffect transition="out" filter="fade">
                                      <p:cBhvr>
                                        <p:cTn id="6" dur="2000" tmFilter="0, 0; .2, .5; .8, .5; 1, 0"/>
                                        <p:tgtEl>
                                          <p:spTgt spid="7"/>
                                        </p:tgtEl>
                                      </p:cBhvr>
                                    </p:animEffect>
                                    <p:animScale>
                                      <p:cBhvr>
                                        <p:cTn id="7" dur="1000" autoRev="1" fill="hold"/>
                                        <p:tgtEl>
                                          <p:spTgt spid="7"/>
                                        </p:tgtEl>
                                      </p:cBhvr>
                                      <p:by x="105000" y="105000"/>
                                    </p:animScale>
                                  </p:childTnLst>
                                </p:cTn>
                              </p:par>
                              <p:par>
                                <p:cTn id="8" presetID="26" presetClass="emph" presetSubtype="0" fill="hold" grpId="0" nodeType="withEffect">
                                  <p:stCondLst>
                                    <p:cond delay="0"/>
                                  </p:stCondLst>
                                  <p:childTnLst>
                                    <p:animEffect transition="out" filter="fade">
                                      <p:cBhvr>
                                        <p:cTn id="9" dur="2000" tmFilter="0, 0; .2, .5; .8, .5; 1, 0"/>
                                        <p:tgtEl>
                                          <p:spTgt spid="8"/>
                                        </p:tgtEl>
                                      </p:cBhvr>
                                    </p:animEffect>
                                    <p:animScale>
                                      <p:cBhvr>
                                        <p:cTn id="10" dur="1000" autoRev="1" fill="hold"/>
                                        <p:tgtEl>
                                          <p:spTgt spid="8"/>
                                        </p:tgtEl>
                                      </p:cBhvr>
                                      <p:by x="105000" y="105000"/>
                                    </p:animScale>
                                  </p:childTnLst>
                                </p:cTn>
                              </p:par>
                              <p:par>
                                <p:cTn id="11" presetID="26" presetClass="emph" presetSubtype="0" fill="hold" grpId="0" nodeType="withEffect">
                                  <p:stCondLst>
                                    <p:cond delay="0"/>
                                  </p:stCondLst>
                                  <p:childTnLst>
                                    <p:animEffect transition="out" filter="fade">
                                      <p:cBhvr>
                                        <p:cTn id="12" dur="2000" tmFilter="0, 0; .2, .5; .8, .5; 1, 0"/>
                                        <p:tgtEl>
                                          <p:spTgt spid="9"/>
                                        </p:tgtEl>
                                      </p:cBhvr>
                                    </p:animEffect>
                                    <p:animScale>
                                      <p:cBhvr>
                                        <p:cTn id="13" dur="1000" autoRev="1" fill="hold"/>
                                        <p:tgtEl>
                                          <p:spTgt spid="9"/>
                                        </p:tgtEl>
                                      </p:cBhvr>
                                      <p:by x="105000" y="105000"/>
                                    </p:animScale>
                                  </p:childTnLst>
                                </p:cTn>
                              </p:par>
                              <p:par>
                                <p:cTn id="14" presetID="26" presetClass="emph" presetSubtype="0" fill="hold" grpId="0" nodeType="withEffect">
                                  <p:stCondLst>
                                    <p:cond delay="0"/>
                                  </p:stCondLst>
                                  <p:childTnLst>
                                    <p:animEffect transition="out" filter="fade">
                                      <p:cBhvr>
                                        <p:cTn id="15" dur="2000" tmFilter="0, 0; .2, .5; .8, .5; 1, 0"/>
                                        <p:tgtEl>
                                          <p:spTgt spid="10"/>
                                        </p:tgtEl>
                                      </p:cBhvr>
                                    </p:animEffect>
                                    <p:animScale>
                                      <p:cBhvr>
                                        <p:cTn id="16" dur="100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30627" y="2125663"/>
            <a:ext cx="11887200" cy="1831975"/>
          </a:xfrm>
        </p:spPr>
        <p:txBody>
          <a:bodyPr/>
          <a:lstStyle/>
          <a:p>
            <a:r>
              <a:rPr lang="en-US" sz="7200" dirty="0" smtClean="0"/>
              <a:t>Securing Access</a:t>
            </a:r>
            <a:endParaRPr lang="en-US" sz="7200" dirty="0"/>
          </a:p>
        </p:txBody>
      </p:sp>
    </p:spTree>
    <p:extLst>
      <p:ext uri="{BB962C8B-B14F-4D97-AF65-F5344CB8AC3E}">
        <p14:creationId xmlns:p14="http://schemas.microsoft.com/office/powerpoint/2010/main" val="2585211262"/>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do I Secure Access?</a:t>
            </a:r>
            <a:endParaRPr lang="en-US" dirty="0"/>
          </a:p>
        </p:txBody>
      </p:sp>
      <p:graphicFrame>
        <p:nvGraphicFramePr>
          <p:cNvPr id="3" name="Diagram 2"/>
          <p:cNvGraphicFramePr/>
          <p:nvPr>
            <p:extLst>
              <p:ext uri="{D42A27DB-BD31-4B8C-83A1-F6EECF244321}">
                <p14:modId xmlns:p14="http://schemas.microsoft.com/office/powerpoint/2010/main" val="2571548654"/>
              </p:ext>
            </p:extLst>
          </p:nvPr>
        </p:nvGraphicFramePr>
        <p:xfrm>
          <a:off x="2207829" y="1392382"/>
          <a:ext cx="7996044" cy="52218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 name="Picture 3"/>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3004511" y="4264442"/>
            <a:ext cx="484306" cy="729449"/>
          </a:xfrm>
          <a:prstGeom prst="rect">
            <a:avLst/>
          </a:prstGeom>
          <a:blipFill dpi="0" rotWithShape="1">
            <a:blip r:embed="rId9">
              <a:alphaModFix amt="95000"/>
              <a:duotone>
                <a:schemeClr val="accent1">
                  <a:shade val="45000"/>
                  <a:satMod val="135000"/>
                </a:schemeClr>
                <a:prstClr val="white"/>
              </a:duotone>
            </a:blip>
            <a:srcRect/>
            <a:stretch>
              <a:fillRect/>
            </a:stretch>
          </a:blipFill>
          <a:ln w="55000" cap="flat" cmpd="thickThin" algn="ctr">
            <a:noFill/>
            <a:prstDash val="solid"/>
            <a:headEnd type="none" w="med" len="med"/>
            <a:tailEnd type="none" w="med" len="med"/>
          </a:ln>
          <a:effectLst/>
        </p:spPr>
      </p:pic>
      <p:grpSp>
        <p:nvGrpSpPr>
          <p:cNvPr id="21" name="Group 20"/>
          <p:cNvGrpSpPr/>
          <p:nvPr/>
        </p:nvGrpSpPr>
        <p:grpSpPr>
          <a:xfrm>
            <a:off x="2479677" y="5593890"/>
            <a:ext cx="625090" cy="524986"/>
            <a:chOff x="3405878" y="3091775"/>
            <a:chExt cx="1861327" cy="1493577"/>
          </a:xfrm>
        </p:grpSpPr>
        <p:pic>
          <p:nvPicPr>
            <p:cNvPr id="22" name="Picture 21"/>
            <p:cNvPicPr>
              <a:picLocks noChangeAspect="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730678" y="3121160"/>
              <a:ext cx="752857" cy="648688"/>
            </a:xfrm>
            <a:prstGeom prst="rect">
              <a:avLst/>
            </a:prstGeom>
          </p:spPr>
        </p:pic>
        <p:pic>
          <p:nvPicPr>
            <p:cNvPr id="23" name="Picture 22"/>
            <p:cNvPicPr>
              <a:picLocks noChangeAspect="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05878" y="3790480"/>
              <a:ext cx="1274996" cy="794872"/>
            </a:xfrm>
            <a:prstGeom prst="rect">
              <a:avLst/>
            </a:prstGeom>
          </p:spPr>
        </p:pic>
        <p:pic>
          <p:nvPicPr>
            <p:cNvPr id="24" name="Picture 23"/>
            <p:cNvPicPr>
              <a:picLocks noChangeAspect="1"/>
            </p:cNvPicPr>
            <p:nvPr/>
          </p:nvPicPr>
          <p:blipFill>
            <a:blip r:embed="rId1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792804" y="3827774"/>
              <a:ext cx="474401" cy="648813"/>
            </a:xfrm>
            <a:prstGeom prst="rect">
              <a:avLst/>
            </a:prstGeom>
          </p:spPr>
        </p:pic>
        <p:pic>
          <p:nvPicPr>
            <p:cNvPr id="25" name="Picture 24"/>
            <p:cNvPicPr>
              <a:picLocks noChangeAspect="1"/>
            </p:cNvPicPr>
            <p:nvPr/>
          </p:nvPicPr>
          <p:blipFill>
            <a:blip r:embed="rId1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664377" y="3091775"/>
              <a:ext cx="512677" cy="664847"/>
            </a:xfrm>
            <a:prstGeom prst="rect">
              <a:avLst/>
            </a:prstGeom>
          </p:spPr>
        </p:pic>
      </p:grpSp>
      <p:pic>
        <p:nvPicPr>
          <p:cNvPr id="37" name="Picture 4" descr="W:\Open Engagements\Productivity\MS-Unified Communications\#1601 BizProd MOD Team Core Content Work\New Iconography\Words\Draft\061312_Word_Icons\Tools_061312_white-04.png"/>
          <p:cNvPicPr>
            <a:picLocks noChangeAspect="1" noChangeArrowheads="1"/>
          </p:cNvPicPr>
          <p:nvPr/>
        </p:nvPicPr>
        <p:blipFill>
          <a:blip r:embed="rId14" cstate="print">
            <a:duotone>
              <a:prstClr val="black"/>
              <a:schemeClr val="accent1">
                <a:tint val="45000"/>
                <a:satMod val="400000"/>
              </a:schemeClr>
            </a:duotone>
            <a:extLst>
              <a:ext uri="{BEBA8EAE-BF5A-486C-A8C5-ECC9F3942E4B}">
                <a14:imgProps xmlns:a14="http://schemas.microsoft.com/office/drawing/2010/main">
                  <a14:imgLayer r:embed="rId15">
                    <a14:imgEffect>
                      <a14:colorTemperature colorTemp="11200"/>
                    </a14:imgEffect>
                    <a14:imgEffect>
                      <a14:saturation sat="400000"/>
                    </a14:imgEffect>
                  </a14:imgLayer>
                </a14:imgProps>
              </a:ext>
              <a:ext uri="{28A0092B-C50C-407E-A947-70E740481C1C}">
                <a14:useLocalDpi xmlns:a14="http://schemas.microsoft.com/office/drawing/2010/main" val="0"/>
              </a:ext>
            </a:extLst>
          </a:blip>
          <a:stretch>
            <a:fillRect/>
          </a:stretch>
        </p:blipFill>
        <p:spPr bwMode="auto">
          <a:xfrm>
            <a:off x="2943647" y="3068644"/>
            <a:ext cx="672939" cy="6729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8" name="Picture 3" descr="C:\Users\hannahr\Dropbox\MOD Servers Metro Icon Library\victor melniciuc\PNGs\Tech_Words\TechWords_06-13-12-Security.png"/>
          <p:cNvPicPr>
            <a:picLocks noChangeAspect="1" noChangeArrowheads="1"/>
          </p:cNvPicPr>
          <p:nvPr/>
        </p:nvPicPr>
        <p:blipFill>
          <a:blip r:embed="rId16"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2219290" y="1698406"/>
            <a:ext cx="1060826" cy="1060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026734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spTree>
    <p:extLst>
      <p:ext uri="{BB962C8B-B14F-4D97-AF65-F5344CB8AC3E}">
        <p14:creationId xmlns:p14="http://schemas.microsoft.com/office/powerpoint/2010/main" val="135351965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Authentication</a:t>
            </a:r>
            <a:endParaRPr lang="en-US" dirty="0"/>
          </a:p>
        </p:txBody>
      </p:sp>
      <p:graphicFrame>
        <p:nvGraphicFramePr>
          <p:cNvPr id="4" name="Content Placeholder 3"/>
          <p:cNvGraphicFramePr>
            <a:graphicFrameLocks noGrp="1"/>
          </p:cNvGraphicFramePr>
          <p:nvPr>
            <p:ph sz="quarter" idx="10"/>
            <p:extLst>
              <p:ext uri="{D42A27DB-BD31-4B8C-83A1-F6EECF244321}">
                <p14:modId xmlns:p14="http://schemas.microsoft.com/office/powerpoint/2010/main" val="173598649"/>
              </p:ext>
            </p:extLst>
          </p:nvPr>
        </p:nvGraphicFramePr>
        <p:xfrm>
          <a:off x="517385" y="1355349"/>
          <a:ext cx="11295583" cy="49544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8405133"/>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verning Primary Authentication</a:t>
            </a:r>
            <a:endParaRPr lang="en-US" dirty="0"/>
          </a:p>
        </p:txBody>
      </p:sp>
      <p:sp>
        <p:nvSpPr>
          <p:cNvPr id="3" name="Text Placeholder 2"/>
          <p:cNvSpPr>
            <a:spLocks noGrp="1"/>
          </p:cNvSpPr>
          <p:nvPr>
            <p:ph type="body" sz="quarter" idx="12"/>
          </p:nvPr>
        </p:nvSpPr>
        <p:spPr/>
        <p:txBody>
          <a:bodyPr/>
          <a:lstStyle/>
          <a:p>
            <a:r>
              <a:rPr lang="en-US" dirty="0" smtClean="0"/>
              <a:t>Demo</a:t>
            </a:r>
            <a:endParaRPr lang="en-US" dirty="0"/>
          </a:p>
        </p:txBody>
      </p:sp>
    </p:spTree>
    <p:extLst>
      <p:ext uri="{BB962C8B-B14F-4D97-AF65-F5344CB8AC3E}">
        <p14:creationId xmlns:p14="http://schemas.microsoft.com/office/powerpoint/2010/main" val="31297254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heme/theme1.xml><?xml version="1.0" encoding="utf-8"?>
<a:theme xmlns:a="http://schemas.openxmlformats.org/drawingml/2006/main" name="TechEd_2013_Template_r0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WCA-B204" id="{474AA362-D8BD-4643-ACBE-ED74BCAA714D}" vid="{6F81A7BE-3E86-4D2D-8EF7-40F25588C035}"/>
    </a:ext>
  </a:extLst>
</a:theme>
</file>

<file path=ppt/theme/theme2.xml><?xml version="1.0" encoding="utf-8"?>
<a:theme xmlns:a="http://schemas.openxmlformats.org/drawingml/2006/main" name="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3.xml><?xml version="1.0" encoding="utf-8"?>
<a:theme xmlns:a="http://schemas.openxmlformats.org/drawingml/2006/main" name="2_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4.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5.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 2013 IT_Leadership PPT Template.potx" id="{1BA93C0E-B782-4C3F-8DC9-C27D55B25E2A}" vid="{E18CA529-7ED7-414E-AE33-95948AB7599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990F116-B58F-4255-B05B-DA3808E0E5C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chEd_2013_WCA-B204</Template>
  <TotalTime>3564</TotalTime>
  <Words>2671</Words>
  <Application>Microsoft Office PowerPoint</Application>
  <PresentationFormat>Custom</PresentationFormat>
  <Paragraphs>244</Paragraphs>
  <Slides>32</Slides>
  <Notes>17</Notes>
  <HiddenSlides>0</HiddenSlides>
  <MMClips>0</MMClips>
  <ScaleCrop>false</ScaleCrop>
  <HeadingPairs>
    <vt:vector size="6" baseType="variant">
      <vt:variant>
        <vt:lpstr>Fonts Used</vt:lpstr>
      </vt:variant>
      <vt:variant>
        <vt:i4>7</vt:i4>
      </vt:variant>
      <vt:variant>
        <vt:lpstr>Theme</vt:lpstr>
      </vt:variant>
      <vt:variant>
        <vt:i4>5</vt:i4>
      </vt:variant>
      <vt:variant>
        <vt:lpstr>Slide Titles</vt:lpstr>
      </vt:variant>
      <vt:variant>
        <vt:i4>32</vt:i4>
      </vt:variant>
    </vt:vector>
  </HeadingPairs>
  <TitlesOfParts>
    <vt:vector size="44" baseType="lpstr">
      <vt:lpstr>Wingdings</vt:lpstr>
      <vt:lpstr>Arial</vt:lpstr>
      <vt:lpstr>Segoe UI Light</vt:lpstr>
      <vt:lpstr>Segoe UI</vt:lpstr>
      <vt:lpstr>Segoe</vt:lpstr>
      <vt:lpstr>Consolas</vt:lpstr>
      <vt:lpstr>Adobe Fan Heiti Std B</vt:lpstr>
      <vt:lpstr>TechEd_2013_Template_r09</vt:lpstr>
      <vt:lpstr>3-30070_Windows_Server_Management_Marketing_Template_16x9</vt:lpstr>
      <vt:lpstr>2_3-30070_Windows_Server_Management_Marketing_Template_16x9</vt:lpstr>
      <vt:lpstr>TechEd_2013_Template_16x9</vt:lpstr>
      <vt:lpstr>1_TechEd_2013_Template_16x9</vt:lpstr>
      <vt:lpstr>PowerPoint Presentation</vt:lpstr>
      <vt:lpstr>Secure anywhere access to corporate resources such as Windows Server Work Folders using ADFS</vt:lpstr>
      <vt:lpstr>Enabling work from anywhere</vt:lpstr>
      <vt:lpstr>Identity Capabilities for BYOD</vt:lpstr>
      <vt:lpstr>Securing Access</vt:lpstr>
      <vt:lpstr>How do I Secure Access?</vt:lpstr>
      <vt:lpstr>Governing Authentication</vt:lpstr>
      <vt:lpstr>Governing Authentication</vt:lpstr>
      <vt:lpstr>Governing Primary Authentication</vt:lpstr>
      <vt:lpstr>Governing Authentication</vt:lpstr>
      <vt:lpstr>Governing Authentication</vt:lpstr>
      <vt:lpstr>Trusted File Servers</vt:lpstr>
      <vt:lpstr>PowerPoint Presentation</vt:lpstr>
      <vt:lpstr>Introducing Work Folders</vt:lpstr>
      <vt:lpstr>Work Folders Topology</vt:lpstr>
      <vt:lpstr>Governing Additional Authentication</vt:lpstr>
      <vt:lpstr>MFA Integration with Partners</vt:lpstr>
      <vt:lpstr>Governing Authorization</vt:lpstr>
      <vt:lpstr>Governing Authorization</vt:lpstr>
      <vt:lpstr>Governing Authorization</vt:lpstr>
      <vt:lpstr>Protecting Your Users &amp; Devices</vt:lpstr>
      <vt:lpstr>Protecting your Users &amp; Devices</vt:lpstr>
      <vt:lpstr>Protecting your Users &amp; Devices</vt:lpstr>
      <vt:lpstr>Protecting your Users &amp; Devices</vt:lpstr>
      <vt:lpstr>Protection your Users &amp; Devices</vt:lpstr>
      <vt:lpstr>Related Content</vt:lpstr>
      <vt:lpstr>Track Resources</vt:lpstr>
      <vt:lpstr>Windows Track Resources</vt:lpstr>
      <vt:lpstr>For More Information</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CA-B334: Secure anywhere access to corporate resources such as Windows Server Work Folders using ADFS</dc:title>
  <dc:subject>TechEd 2013</dc:subject>
  <dc:creator>Samuel Devasahayam;  Adam Skewgar</dc:creator>
  <cp:keywords>TechEd 2013</cp:keywords>
  <dc:description>Template by: Jordan Cayabyab, Artitudes Design, Inc.
Formatting by: Dana KW, Silver Fox Productions, Inc.
Audience Type: Internal/External</dc:description>
  <cp:lastModifiedBy>Shows</cp:lastModifiedBy>
  <cp:revision>65</cp:revision>
  <dcterms:created xsi:type="dcterms:W3CDTF">2013-05-13T15:57:38Z</dcterms:created>
  <dcterms:modified xsi:type="dcterms:W3CDTF">2013-06-28T06:16: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